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heme/themeOverride2.xml" ContentType="application/vnd.openxmlformats-officedocument.themeOverride+xml"/>
  <Override PartName="/ppt/tags/tag40.xml" ContentType="application/vnd.openxmlformats-officedocument.presentationml.tags+xml"/>
  <Override PartName="/ppt/notesSlides/notesSlide34.xml" ContentType="application/vnd.openxmlformats-officedocument.presentationml.notesSlide+xml"/>
  <Override PartName="/ppt/theme/themeOverride3.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theme/themeOverride4.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62"/>
  </p:notesMasterIdLst>
  <p:handoutMasterIdLst>
    <p:handoutMasterId r:id="rId63"/>
  </p:handoutMasterIdLst>
  <p:sldIdLst>
    <p:sldId id="256" r:id="rId2"/>
    <p:sldId id="278" r:id="rId3"/>
    <p:sldId id="286" r:id="rId4"/>
    <p:sldId id="288" r:id="rId5"/>
    <p:sldId id="289" r:id="rId6"/>
    <p:sldId id="290" r:id="rId7"/>
    <p:sldId id="279" r:id="rId8"/>
    <p:sldId id="292" r:id="rId9"/>
    <p:sldId id="293" r:id="rId10"/>
    <p:sldId id="294" r:id="rId11"/>
    <p:sldId id="295" r:id="rId12"/>
    <p:sldId id="296" r:id="rId13"/>
    <p:sldId id="298" r:id="rId14"/>
    <p:sldId id="299" r:id="rId15"/>
    <p:sldId id="302" r:id="rId16"/>
    <p:sldId id="303" r:id="rId17"/>
    <p:sldId id="304" r:id="rId18"/>
    <p:sldId id="321" r:id="rId19"/>
    <p:sldId id="322" r:id="rId20"/>
    <p:sldId id="323" r:id="rId21"/>
    <p:sldId id="324" r:id="rId22"/>
    <p:sldId id="326" r:id="rId23"/>
    <p:sldId id="327" r:id="rId24"/>
    <p:sldId id="301" r:id="rId25"/>
    <p:sldId id="281" r:id="rId26"/>
    <p:sldId id="305" r:id="rId27"/>
    <p:sldId id="287" r:id="rId28"/>
    <p:sldId id="280" r:id="rId29"/>
    <p:sldId id="306" r:id="rId30"/>
    <p:sldId id="307" r:id="rId31"/>
    <p:sldId id="282" r:id="rId32"/>
    <p:sldId id="283" r:id="rId33"/>
    <p:sldId id="308" r:id="rId34"/>
    <p:sldId id="284" r:id="rId35"/>
    <p:sldId id="285" r:id="rId36"/>
    <p:sldId id="309" r:id="rId37"/>
    <p:sldId id="310" r:id="rId38"/>
    <p:sldId id="311" r:id="rId39"/>
    <p:sldId id="312" r:id="rId40"/>
    <p:sldId id="313" r:id="rId41"/>
    <p:sldId id="291" r:id="rId42"/>
    <p:sldId id="314" r:id="rId43"/>
    <p:sldId id="315" r:id="rId44"/>
    <p:sldId id="316" r:id="rId45"/>
    <p:sldId id="297" r:id="rId46"/>
    <p:sldId id="317" r:id="rId47"/>
    <p:sldId id="318" r:id="rId48"/>
    <p:sldId id="319" r:id="rId49"/>
    <p:sldId id="320" r:id="rId50"/>
    <p:sldId id="269" r:id="rId51"/>
    <p:sldId id="258" r:id="rId52"/>
    <p:sldId id="270" r:id="rId53"/>
    <p:sldId id="261" r:id="rId54"/>
    <p:sldId id="271" r:id="rId55"/>
    <p:sldId id="272" r:id="rId56"/>
    <p:sldId id="273" r:id="rId57"/>
    <p:sldId id="274" r:id="rId58"/>
    <p:sldId id="275" r:id="rId59"/>
    <p:sldId id="276" r:id="rId60"/>
    <p:sldId id="277" r:id="rId61"/>
  </p:sldIdLst>
  <p:sldSz cx="12192000" cy="6858000"/>
  <p:notesSz cx="6858000" cy="9144000"/>
  <p:custDataLst>
    <p:tags r:id="rId6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D5DC"/>
    <a:srgbClr val="E4E6EA"/>
    <a:srgbClr val="D8DBE0"/>
    <a:srgbClr val="D9250F"/>
    <a:srgbClr val="FA6116"/>
    <a:srgbClr val="FDE549"/>
    <a:srgbClr val="EA972E"/>
    <a:srgbClr val="F2BF82"/>
    <a:srgbClr val="DA640C"/>
    <a:srgbClr val="E87F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988" autoAdjust="0"/>
    <p:restoredTop sz="82521" autoAdjust="0"/>
  </p:normalViewPr>
  <p:slideViewPr>
    <p:cSldViewPr snapToGrid="0">
      <p:cViewPr varScale="1">
        <p:scale>
          <a:sx n="81" d="100"/>
          <a:sy n="81" d="100"/>
        </p:scale>
        <p:origin x="56" y="30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94" d="100"/>
        <a:sy n="94"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0/9/26</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9/2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IDEA</a:t>
            </a:r>
            <a:r>
              <a:rPr lang="zh-CN" altLang="en-US" dirty="0"/>
              <a:t>进入演示模式</a:t>
            </a:r>
            <a:endParaRPr lang="en-US" altLang="zh-CN" dirty="0"/>
          </a:p>
          <a:p>
            <a:r>
              <a:rPr lang="en-US" altLang="zh-CN" dirty="0"/>
              <a:t>2. PPT</a:t>
            </a:r>
            <a:r>
              <a:rPr lang="zh-CN" altLang="en-US" dirty="0"/>
              <a:t>开启激光笔</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871674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1]</a:t>
            </a:r>
            <a:r>
              <a:rPr lang="zh-CN" altLang="en-US" dirty="0"/>
              <a:t>代码演示：</a:t>
            </a:r>
            <a:r>
              <a:rPr lang="en-US" altLang="zh-CN" dirty="0" err="1"/>
              <a:t>DefineUseTest</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6</a:t>
            </a:fld>
            <a:endParaRPr lang="zh-CN" altLang="en-US"/>
          </a:p>
        </p:txBody>
      </p:sp>
    </p:spTree>
    <p:extLst>
      <p:ext uri="{BB962C8B-B14F-4D97-AF65-F5344CB8AC3E}">
        <p14:creationId xmlns:p14="http://schemas.microsoft.com/office/powerpoint/2010/main" val="652611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代码演示：</a:t>
            </a:r>
            <a:r>
              <a:rPr lang="en-US" altLang="zh-CN" dirty="0"/>
              <a:t>Example</a:t>
            </a:r>
            <a:r>
              <a:rPr lang="zh-CN" altLang="en-US" dirty="0"/>
              <a:t>、</a:t>
            </a:r>
            <a:r>
              <a:rPr lang="en-US" altLang="zh-CN" dirty="0"/>
              <a:t>Closure1</a:t>
            </a:r>
            <a:r>
              <a:rPr lang="zh-CN" altLang="en-US" dirty="0"/>
              <a:t>、</a:t>
            </a:r>
            <a:r>
              <a:rPr lang="en-US" altLang="zh-CN" dirty="0"/>
              <a:t>Closure2</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8</a:t>
            </a:fld>
            <a:endParaRPr lang="zh-CN" altLang="en-US"/>
          </a:p>
        </p:txBody>
      </p:sp>
    </p:spTree>
    <p:extLst>
      <p:ext uri="{BB962C8B-B14F-4D97-AF65-F5344CB8AC3E}">
        <p14:creationId xmlns:p14="http://schemas.microsoft.com/office/powerpoint/2010/main" val="2712114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代码演示：</a:t>
            </a:r>
            <a:r>
              <a:rPr lang="en-US" altLang="zh-CN" dirty="0" err="1"/>
              <a:t>HigherOrderFunctionTest</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0</a:t>
            </a:fld>
            <a:endParaRPr lang="zh-CN" altLang="en-US"/>
          </a:p>
        </p:txBody>
      </p:sp>
    </p:spTree>
    <p:extLst>
      <p:ext uri="{BB962C8B-B14F-4D97-AF65-F5344CB8AC3E}">
        <p14:creationId xmlns:p14="http://schemas.microsoft.com/office/powerpoint/2010/main" val="24096771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代码演示：</a:t>
            </a:r>
            <a:r>
              <a:rPr lang="en-US" altLang="zh-CN" dirty="0"/>
              <a:t>Example</a:t>
            </a:r>
            <a:r>
              <a:rPr lang="zh-CN" altLang="en-US" dirty="0"/>
              <a:t>、</a:t>
            </a:r>
            <a:r>
              <a:rPr lang="en-US" altLang="zh-CN" dirty="0"/>
              <a:t>Closure1</a:t>
            </a:r>
            <a:r>
              <a:rPr lang="zh-CN" altLang="en-US" dirty="0"/>
              <a:t>、</a:t>
            </a:r>
            <a:r>
              <a:rPr lang="en-US" altLang="zh-CN" dirty="0"/>
              <a:t>Closure2</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1</a:t>
            </a:fld>
            <a:endParaRPr lang="zh-CN" altLang="en-US"/>
          </a:p>
        </p:txBody>
      </p:sp>
    </p:spTree>
    <p:extLst>
      <p:ext uri="{BB962C8B-B14F-4D97-AF65-F5344CB8AC3E}">
        <p14:creationId xmlns:p14="http://schemas.microsoft.com/office/powerpoint/2010/main" val="811184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23</a:t>
            </a:fld>
            <a:endParaRPr lang="zh-CN" altLang="en-US"/>
          </a:p>
        </p:txBody>
      </p:sp>
    </p:spTree>
    <p:extLst>
      <p:ext uri="{BB962C8B-B14F-4D97-AF65-F5344CB8AC3E}">
        <p14:creationId xmlns:p14="http://schemas.microsoft.com/office/powerpoint/2010/main" val="34688437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7FD7249-F0A3-49B3-992E-9162D14BA073}" type="slidenum">
              <a:rPr lang="zh-CN" altLang="en-US" smtClean="0"/>
              <a:t>26</a:t>
            </a:fld>
            <a:endParaRPr lang="zh-CN" altLang="en-US"/>
          </a:p>
        </p:txBody>
      </p:sp>
    </p:spTree>
    <p:extLst>
      <p:ext uri="{BB962C8B-B14F-4D97-AF65-F5344CB8AC3E}">
        <p14:creationId xmlns:p14="http://schemas.microsoft.com/office/powerpoint/2010/main" val="15214647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代码演示：</a:t>
            </a:r>
            <a:r>
              <a:rPr lang="en-US" altLang="zh-CN" dirty="0"/>
              <a:t>stream.ExampleTest.java,</a:t>
            </a:r>
            <a:r>
              <a:rPr lang="zh-CN" altLang="en-US" dirty="0"/>
              <a:t>命令式编程对比函数式编程</a:t>
            </a:r>
            <a:endParaRPr lang="en-US" altLang="zh-CN" dirty="0"/>
          </a:p>
          <a:p>
            <a:r>
              <a:rPr lang="zh-CN" altLang="en-US" dirty="0"/>
              <a:t>优点：</a:t>
            </a:r>
            <a:endParaRPr lang="en-US" altLang="zh-CN" dirty="0"/>
          </a:p>
          <a:p>
            <a:r>
              <a:rPr lang="en-US" altLang="zh-CN" dirty="0"/>
              <a:t>  a. </a:t>
            </a:r>
            <a:r>
              <a:rPr lang="zh-CN" altLang="en-US" dirty="0"/>
              <a:t>代码简洁，函数式代码简洁且意图明确，使用</a:t>
            </a:r>
            <a:r>
              <a:rPr lang="en-US" altLang="zh-CN" dirty="0"/>
              <a:t>stream</a:t>
            </a:r>
            <a:r>
              <a:rPr lang="zh-CN" altLang="en-US" dirty="0"/>
              <a:t>接口从此告别</a:t>
            </a:r>
            <a:r>
              <a:rPr lang="en-US" altLang="zh-CN" dirty="0"/>
              <a:t>for</a:t>
            </a:r>
            <a:r>
              <a:rPr lang="zh-CN" altLang="en-US" dirty="0"/>
              <a:t>循环</a:t>
            </a:r>
          </a:p>
          <a:p>
            <a:r>
              <a:rPr lang="en-US" altLang="zh-CN" dirty="0"/>
              <a:t>  b. </a:t>
            </a:r>
            <a:r>
              <a:rPr lang="zh-CN" altLang="en-US" dirty="0"/>
              <a:t>多核友好，</a:t>
            </a:r>
            <a:r>
              <a:rPr lang="en-US" altLang="zh-CN" dirty="0"/>
              <a:t>Java</a:t>
            </a:r>
            <a:r>
              <a:rPr lang="zh-CN" altLang="en-US" dirty="0"/>
              <a:t>函数式编程使得编写并行程序从未如此简单，你需要的全部就是调用一下</a:t>
            </a:r>
            <a:r>
              <a:rPr lang="en-US" altLang="zh-CN" dirty="0"/>
              <a:t>parallel()</a:t>
            </a:r>
            <a:r>
              <a:rPr lang="zh-CN" altLang="en-US" dirty="0"/>
              <a:t>方法。</a:t>
            </a:r>
          </a:p>
          <a:p>
            <a:endParaRPr lang="zh-CN" altLang="en-US" dirty="0"/>
          </a:p>
        </p:txBody>
      </p:sp>
      <p:sp>
        <p:nvSpPr>
          <p:cNvPr id="4" name="灯片编号占位符 3"/>
          <p:cNvSpPr>
            <a:spLocks noGrp="1"/>
          </p:cNvSpPr>
          <p:nvPr>
            <p:ph type="sldNum" sz="quarter" idx="5"/>
          </p:nvPr>
        </p:nvSpPr>
        <p:spPr/>
        <p:txBody>
          <a:bodyPr/>
          <a:lstStyle/>
          <a:p>
            <a:fld id="{37FD7249-F0A3-49B3-992E-9162D14BA073}" type="slidenum">
              <a:rPr lang="zh-CN" altLang="en-US" smtClean="0"/>
              <a:t>27</a:t>
            </a:fld>
            <a:endParaRPr lang="zh-CN" altLang="en-US"/>
          </a:p>
        </p:txBody>
      </p:sp>
    </p:spTree>
    <p:extLst>
      <p:ext uri="{BB962C8B-B14F-4D97-AF65-F5344CB8AC3E}">
        <p14:creationId xmlns:p14="http://schemas.microsoft.com/office/powerpoint/2010/main" val="3619566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7FD7249-F0A3-49B3-992E-9162D14BA073}" type="slidenum">
              <a:rPr lang="zh-CN" altLang="en-US" smtClean="0"/>
              <a:t>28</a:t>
            </a:fld>
            <a:endParaRPr lang="zh-CN" altLang="en-US"/>
          </a:p>
        </p:txBody>
      </p:sp>
    </p:spTree>
    <p:extLst>
      <p:ext uri="{BB962C8B-B14F-4D97-AF65-F5344CB8AC3E}">
        <p14:creationId xmlns:p14="http://schemas.microsoft.com/office/powerpoint/2010/main" val="7271062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代码演示：</a:t>
            </a:r>
            <a:r>
              <a:rPr lang="en-US" altLang="zh-CN" dirty="0" err="1"/>
              <a:t>CreateStreamTest</a:t>
            </a:r>
            <a:endParaRPr lang="en-US" altLang="zh-CN" dirty="0"/>
          </a:p>
          <a:p>
            <a:r>
              <a:rPr lang="en-US" altLang="zh-CN" dirty="0"/>
              <a:t>[2] </a:t>
            </a:r>
            <a:r>
              <a:rPr lang="zh-CN" altLang="en-US" dirty="0"/>
              <a:t>提问：“</a:t>
            </a:r>
            <a:r>
              <a:rPr lang="en-US" altLang="zh-CN" dirty="0"/>
              <a:t>…</a:t>
            </a:r>
            <a:r>
              <a:rPr lang="zh-CN" altLang="en-US" dirty="0"/>
              <a:t>”运算符的含义</a:t>
            </a:r>
          </a:p>
        </p:txBody>
      </p:sp>
      <p:sp>
        <p:nvSpPr>
          <p:cNvPr id="4" name="灯片编号占位符 3"/>
          <p:cNvSpPr>
            <a:spLocks noGrp="1"/>
          </p:cNvSpPr>
          <p:nvPr>
            <p:ph type="sldNum" sz="quarter" idx="5"/>
          </p:nvPr>
        </p:nvSpPr>
        <p:spPr/>
        <p:txBody>
          <a:bodyPr/>
          <a:lstStyle/>
          <a:p>
            <a:fld id="{37FD7249-F0A3-49B3-992E-9162D14BA073}" type="slidenum">
              <a:rPr lang="zh-CN" altLang="en-US" smtClean="0"/>
              <a:t>29</a:t>
            </a:fld>
            <a:endParaRPr lang="zh-CN" altLang="en-US"/>
          </a:p>
        </p:txBody>
      </p:sp>
    </p:spTree>
    <p:extLst>
      <p:ext uri="{BB962C8B-B14F-4D97-AF65-F5344CB8AC3E}">
        <p14:creationId xmlns:p14="http://schemas.microsoft.com/office/powerpoint/2010/main" val="2198716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7FD7249-F0A3-49B3-992E-9162D14BA073}" type="slidenum">
              <a:rPr lang="zh-CN" altLang="en-US" smtClean="0"/>
              <a:t>30</a:t>
            </a:fld>
            <a:endParaRPr lang="zh-CN" altLang="en-US"/>
          </a:p>
        </p:txBody>
      </p:sp>
    </p:spTree>
    <p:extLst>
      <p:ext uri="{BB962C8B-B14F-4D97-AF65-F5344CB8AC3E}">
        <p14:creationId xmlns:p14="http://schemas.microsoft.com/office/powerpoint/2010/main" val="676268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extLst>
      <p:ext uri="{BB962C8B-B14F-4D97-AF65-F5344CB8AC3E}">
        <p14:creationId xmlns:p14="http://schemas.microsoft.com/office/powerpoint/2010/main" val="4009014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代码演示：</a:t>
            </a:r>
            <a:r>
              <a:rPr lang="en-US" altLang="zh-CN" dirty="0" err="1"/>
              <a:t>MapTest</a:t>
            </a:r>
            <a:endParaRPr lang="zh-CN" altLang="en-US" dirty="0"/>
          </a:p>
        </p:txBody>
      </p:sp>
      <p:sp>
        <p:nvSpPr>
          <p:cNvPr id="4" name="灯片编号占位符 3"/>
          <p:cNvSpPr>
            <a:spLocks noGrp="1"/>
          </p:cNvSpPr>
          <p:nvPr>
            <p:ph type="sldNum" sz="quarter" idx="5"/>
          </p:nvPr>
        </p:nvSpPr>
        <p:spPr/>
        <p:txBody>
          <a:bodyPr/>
          <a:lstStyle/>
          <a:p>
            <a:fld id="{37FD7249-F0A3-49B3-992E-9162D14BA073}" type="slidenum">
              <a:rPr lang="zh-CN" altLang="en-US" smtClean="0"/>
              <a:t>31</a:t>
            </a:fld>
            <a:endParaRPr lang="zh-CN" altLang="en-US"/>
          </a:p>
        </p:txBody>
      </p:sp>
    </p:spTree>
    <p:extLst>
      <p:ext uri="{BB962C8B-B14F-4D97-AF65-F5344CB8AC3E}">
        <p14:creationId xmlns:p14="http://schemas.microsoft.com/office/powerpoint/2010/main" val="34615737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注意：虽然名称为</a:t>
            </a:r>
            <a:r>
              <a:rPr lang="en-US" altLang="zh-CN" dirty="0"/>
              <a:t>filter</a:t>
            </a:r>
            <a:r>
              <a:rPr lang="zh-CN" altLang="en-US" dirty="0"/>
              <a:t>过滤器，但是其实际上是保留函数判断结果为真的元素</a:t>
            </a:r>
            <a:endParaRPr lang="en-US" altLang="zh-CN" dirty="0"/>
          </a:p>
          <a:p>
            <a:r>
              <a:rPr lang="en-US" altLang="zh-CN" dirty="0"/>
              <a:t>[2] </a:t>
            </a:r>
            <a:r>
              <a:rPr lang="zh-CN" altLang="en-US" dirty="0"/>
              <a:t>代码演示：同下一页的代码演示</a:t>
            </a:r>
          </a:p>
        </p:txBody>
      </p:sp>
      <p:sp>
        <p:nvSpPr>
          <p:cNvPr id="4" name="灯片编号占位符 3"/>
          <p:cNvSpPr>
            <a:spLocks noGrp="1"/>
          </p:cNvSpPr>
          <p:nvPr>
            <p:ph type="sldNum" sz="quarter" idx="5"/>
          </p:nvPr>
        </p:nvSpPr>
        <p:spPr/>
        <p:txBody>
          <a:bodyPr/>
          <a:lstStyle/>
          <a:p>
            <a:fld id="{37FD7249-F0A3-49B3-992E-9162D14BA073}" type="slidenum">
              <a:rPr lang="zh-CN" altLang="en-US" smtClean="0"/>
              <a:t>32</a:t>
            </a:fld>
            <a:endParaRPr lang="zh-CN" altLang="en-US"/>
          </a:p>
        </p:txBody>
      </p:sp>
    </p:spTree>
    <p:extLst>
      <p:ext uri="{BB962C8B-B14F-4D97-AF65-F5344CB8AC3E}">
        <p14:creationId xmlns:p14="http://schemas.microsoft.com/office/powerpoint/2010/main" val="3089734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2] </a:t>
            </a:r>
            <a:r>
              <a:rPr lang="zh-CN" altLang="en-US" dirty="0"/>
              <a:t>代码演示：</a:t>
            </a:r>
            <a:r>
              <a:rPr lang="en-US" altLang="zh-CN" dirty="0" err="1"/>
              <a:t>FilterTest</a:t>
            </a:r>
            <a:endParaRPr lang="zh-CN" altLang="en-US" dirty="0"/>
          </a:p>
        </p:txBody>
      </p:sp>
      <p:sp>
        <p:nvSpPr>
          <p:cNvPr id="4" name="灯片编号占位符 3"/>
          <p:cNvSpPr>
            <a:spLocks noGrp="1"/>
          </p:cNvSpPr>
          <p:nvPr>
            <p:ph type="sldNum" sz="quarter" idx="5"/>
          </p:nvPr>
        </p:nvSpPr>
        <p:spPr/>
        <p:txBody>
          <a:bodyPr/>
          <a:lstStyle/>
          <a:p>
            <a:fld id="{37FD7249-F0A3-49B3-992E-9162D14BA073}" type="slidenum">
              <a:rPr lang="zh-CN" altLang="en-US" smtClean="0"/>
              <a:t>33</a:t>
            </a:fld>
            <a:endParaRPr lang="zh-CN" altLang="en-US"/>
          </a:p>
        </p:txBody>
      </p:sp>
    </p:spTree>
    <p:extLst>
      <p:ext uri="{BB962C8B-B14F-4D97-AF65-F5344CB8AC3E}">
        <p14:creationId xmlns:p14="http://schemas.microsoft.com/office/powerpoint/2010/main" val="6048041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flatMap()</a:t>
            </a:r>
            <a:r>
              <a:rPr lang="zh-CN" altLang="en-US" dirty="0"/>
              <a:t>的作用就相当于把原</a:t>
            </a:r>
            <a:r>
              <a:rPr lang="en-US" altLang="zh-CN" dirty="0"/>
              <a:t>stream</a:t>
            </a:r>
            <a:r>
              <a:rPr lang="zh-CN" altLang="en-US" dirty="0"/>
              <a:t>中的所有元素都”摊平”之后组成的</a:t>
            </a:r>
            <a:r>
              <a:rPr lang="en-US" altLang="zh-CN" dirty="0"/>
              <a:t>stream</a:t>
            </a:r>
            <a:endParaRPr lang="zh-CN" altLang="en-US" dirty="0"/>
          </a:p>
        </p:txBody>
      </p:sp>
      <p:sp>
        <p:nvSpPr>
          <p:cNvPr id="4" name="灯片编号占位符 3"/>
          <p:cNvSpPr>
            <a:spLocks noGrp="1"/>
          </p:cNvSpPr>
          <p:nvPr>
            <p:ph type="sldNum" sz="quarter" idx="5"/>
          </p:nvPr>
        </p:nvSpPr>
        <p:spPr/>
        <p:txBody>
          <a:bodyPr/>
          <a:lstStyle/>
          <a:p>
            <a:fld id="{37FD7249-F0A3-49B3-992E-9162D14BA073}" type="slidenum">
              <a:rPr lang="zh-CN" altLang="en-US" smtClean="0"/>
              <a:t>34</a:t>
            </a:fld>
            <a:endParaRPr lang="zh-CN" altLang="en-US"/>
          </a:p>
        </p:txBody>
      </p:sp>
    </p:spTree>
    <p:extLst>
      <p:ext uri="{BB962C8B-B14F-4D97-AF65-F5344CB8AC3E}">
        <p14:creationId xmlns:p14="http://schemas.microsoft.com/office/powerpoint/2010/main" val="1308096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提问：并发和并行的区别</a:t>
            </a:r>
          </a:p>
        </p:txBody>
      </p:sp>
      <p:sp>
        <p:nvSpPr>
          <p:cNvPr id="4" name="灯片编号占位符 3"/>
          <p:cNvSpPr>
            <a:spLocks noGrp="1"/>
          </p:cNvSpPr>
          <p:nvPr>
            <p:ph type="sldNum" sz="quarter" idx="5"/>
          </p:nvPr>
        </p:nvSpPr>
        <p:spPr/>
        <p:txBody>
          <a:bodyPr/>
          <a:lstStyle/>
          <a:p>
            <a:fld id="{37FD7249-F0A3-49B3-992E-9162D14BA073}" type="slidenum">
              <a:rPr lang="zh-CN" altLang="en-US" smtClean="0"/>
              <a:t>35</a:t>
            </a:fld>
            <a:endParaRPr lang="zh-CN" altLang="en-US"/>
          </a:p>
        </p:txBody>
      </p:sp>
    </p:spTree>
    <p:extLst>
      <p:ext uri="{BB962C8B-B14F-4D97-AF65-F5344CB8AC3E}">
        <p14:creationId xmlns:p14="http://schemas.microsoft.com/office/powerpoint/2010/main" val="40213790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代码演示：</a:t>
            </a:r>
            <a:r>
              <a:rPr lang="en-US" altLang="zh-CN" dirty="0" err="1"/>
              <a:t>ForEachTest</a:t>
            </a:r>
            <a:endParaRPr lang="en-US" altLang="zh-CN" dirty="0"/>
          </a:p>
          <a:p>
            <a:r>
              <a:rPr lang="en-US" altLang="zh-CN" dirty="0"/>
              <a:t>[2] </a:t>
            </a:r>
            <a:r>
              <a:rPr lang="zh-CN" altLang="en-US" dirty="0"/>
              <a:t>因为方法签名一致，只要入参为</a:t>
            </a:r>
            <a:r>
              <a:rPr lang="en-US" altLang="zh-CN" dirty="0"/>
              <a:t>Consumer</a:t>
            </a:r>
            <a:r>
              <a:rPr lang="zh-CN" altLang="en-US" dirty="0"/>
              <a:t>类型，就一定能传</a:t>
            </a:r>
            <a:r>
              <a:rPr lang="en-US" altLang="zh-CN" dirty="0" err="1"/>
              <a:t>sout</a:t>
            </a:r>
            <a:endParaRPr lang="zh-CN" altLang="en-US" dirty="0"/>
          </a:p>
        </p:txBody>
      </p:sp>
      <p:sp>
        <p:nvSpPr>
          <p:cNvPr id="4" name="灯片编号占位符 3"/>
          <p:cNvSpPr>
            <a:spLocks noGrp="1"/>
          </p:cNvSpPr>
          <p:nvPr>
            <p:ph type="sldNum" sz="quarter" idx="5"/>
          </p:nvPr>
        </p:nvSpPr>
        <p:spPr/>
        <p:txBody>
          <a:bodyPr/>
          <a:lstStyle/>
          <a:p>
            <a:fld id="{37FD7249-F0A3-49B3-992E-9162D14BA073}" type="slidenum">
              <a:rPr lang="zh-CN" altLang="en-US" smtClean="0"/>
              <a:t>39</a:t>
            </a:fld>
            <a:endParaRPr lang="zh-CN" altLang="en-US"/>
          </a:p>
        </p:txBody>
      </p:sp>
    </p:spTree>
    <p:extLst>
      <p:ext uri="{BB962C8B-B14F-4D97-AF65-F5344CB8AC3E}">
        <p14:creationId xmlns:p14="http://schemas.microsoft.com/office/powerpoint/2010/main" val="20345367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en-US" altLang="zh-CN" baseline="0" dirty="0"/>
              <a:t> </a:t>
            </a:r>
            <a:r>
              <a:rPr lang="zh-CN" altLang="en-US" baseline="0" dirty="0"/>
              <a:t>代码演示：</a:t>
            </a:r>
            <a:r>
              <a:rPr lang="en-US" altLang="zh-CN" dirty="0" err="1"/>
              <a:t>ReduceTest</a:t>
            </a:r>
            <a:endParaRPr lang="en-US" altLang="zh-CN" dirty="0"/>
          </a:p>
          <a:p>
            <a:r>
              <a:rPr lang="en-US" altLang="zh-CN" dirty="0"/>
              <a:t>[2] accumulator</a:t>
            </a:r>
            <a:r>
              <a:rPr lang="zh-CN" altLang="en-US" dirty="0"/>
              <a:t>累加器，类型为</a:t>
            </a:r>
            <a:r>
              <a:rPr lang="en-US" altLang="zh-CN" dirty="0" err="1"/>
              <a:t>BinaryOperator</a:t>
            </a:r>
            <a:endParaRPr lang="en-US" altLang="zh-CN" dirty="0"/>
          </a:p>
          <a:p>
            <a:r>
              <a:rPr lang="en-US" altLang="zh-CN" dirty="0"/>
              <a:t>[3]</a:t>
            </a:r>
            <a:r>
              <a:rPr lang="en-US" altLang="zh-CN" baseline="0" dirty="0"/>
              <a:t> </a:t>
            </a:r>
            <a:r>
              <a:rPr lang="zh-CN" altLang="en-US" baseline="0" dirty="0"/>
              <a:t>功能同</a:t>
            </a:r>
            <a:r>
              <a:rPr lang="en-US" altLang="zh-CN" baseline="0" dirty="0"/>
              <a:t>[1]</a:t>
            </a:r>
            <a:r>
              <a:rPr lang="zh-CN" altLang="en-US" baseline="0" dirty="0"/>
              <a:t>，但是使用 </a:t>
            </a:r>
            <a:r>
              <a:rPr lang="en-US" altLang="zh-CN" baseline="0" dirty="0"/>
              <a:t>identity </a:t>
            </a:r>
            <a:r>
              <a:rPr lang="zh-CN" altLang="en-US" baseline="0" dirty="0"/>
              <a:t>作为其组合的初始值</a:t>
            </a:r>
            <a:endParaRPr lang="en-US" altLang="zh-CN" baseline="0" dirty="0"/>
          </a:p>
          <a:p>
            <a:r>
              <a:rPr lang="en-US" altLang="zh-CN" baseline="0" dirty="0"/>
              <a:t>[4] </a:t>
            </a:r>
            <a:r>
              <a:rPr lang="zh-CN" altLang="en-US" baseline="0" dirty="0"/>
              <a:t>最为复杂的形式，但是学会用之后可以</a:t>
            </a:r>
            <a:endParaRPr lang="zh-CN" altLang="en-US" dirty="0"/>
          </a:p>
        </p:txBody>
      </p:sp>
      <p:sp>
        <p:nvSpPr>
          <p:cNvPr id="4" name="灯片编号占位符 3"/>
          <p:cNvSpPr>
            <a:spLocks noGrp="1"/>
          </p:cNvSpPr>
          <p:nvPr>
            <p:ph type="sldNum" sz="quarter" idx="10"/>
          </p:nvPr>
        </p:nvSpPr>
        <p:spPr/>
        <p:txBody>
          <a:bodyPr/>
          <a:lstStyle/>
          <a:p>
            <a:fld id="{37FD7249-F0A3-49B3-992E-9162D14BA073}" type="slidenum">
              <a:rPr lang="zh-CN" altLang="en-US" smtClean="0"/>
              <a:t>40</a:t>
            </a:fld>
            <a:endParaRPr lang="zh-CN" altLang="en-US"/>
          </a:p>
        </p:txBody>
      </p:sp>
    </p:spTree>
    <p:extLst>
      <p:ext uri="{BB962C8B-B14F-4D97-AF65-F5344CB8AC3E}">
        <p14:creationId xmlns:p14="http://schemas.microsoft.com/office/powerpoint/2010/main" val="32242225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7FD7249-F0A3-49B3-992E-9162D14BA073}" type="slidenum">
              <a:rPr lang="zh-CN" altLang="en-US" smtClean="0"/>
              <a:t>41</a:t>
            </a:fld>
            <a:endParaRPr lang="zh-CN" altLang="en-US"/>
          </a:p>
        </p:txBody>
      </p:sp>
    </p:spTree>
    <p:extLst>
      <p:ext uri="{BB962C8B-B14F-4D97-AF65-F5344CB8AC3E}">
        <p14:creationId xmlns:p14="http://schemas.microsoft.com/office/powerpoint/2010/main" val="28938910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1]</a:t>
            </a:r>
            <a:r>
              <a:rPr lang="en-US" altLang="zh-CN" baseline="0" dirty="0"/>
              <a:t> </a:t>
            </a:r>
            <a:r>
              <a:rPr lang="zh-CN" altLang="en-US" baseline="0" dirty="0"/>
              <a:t>代码演示：</a:t>
            </a:r>
            <a:r>
              <a:rPr lang="en-US" altLang="zh-CN" dirty="0" err="1"/>
              <a:t>CollectTest</a:t>
            </a:r>
            <a:endParaRPr lang="en-US" altLang="zh-CN" dirty="0"/>
          </a:p>
          <a:p>
            <a:r>
              <a:rPr lang="en-US" altLang="zh-CN" dirty="0"/>
              <a:t>[2]</a:t>
            </a:r>
            <a:r>
              <a:rPr lang="zh-CN" altLang="en-US" dirty="0"/>
              <a:t> </a:t>
            </a:r>
            <a:r>
              <a:rPr lang="en-US" altLang="zh-CN" dirty="0"/>
              <a:t>Collectors</a:t>
            </a:r>
            <a:r>
              <a:rPr lang="zh-CN" altLang="en-US" dirty="0"/>
              <a:t>工具类应该能满足我们的绝大部分需求，自己写之前可以看看文档，看有没有自己需要的</a:t>
            </a:r>
          </a:p>
        </p:txBody>
      </p:sp>
      <p:sp>
        <p:nvSpPr>
          <p:cNvPr id="4" name="灯片编号占位符 3"/>
          <p:cNvSpPr>
            <a:spLocks noGrp="1"/>
          </p:cNvSpPr>
          <p:nvPr>
            <p:ph type="sldNum" sz="quarter" idx="10"/>
          </p:nvPr>
        </p:nvSpPr>
        <p:spPr/>
        <p:txBody>
          <a:bodyPr/>
          <a:lstStyle/>
          <a:p>
            <a:fld id="{37FD7249-F0A3-49B3-992E-9162D14BA073}" type="slidenum">
              <a:rPr lang="zh-CN" altLang="en-US" smtClean="0"/>
              <a:t>42</a:t>
            </a:fld>
            <a:endParaRPr lang="zh-CN" altLang="en-US"/>
          </a:p>
        </p:txBody>
      </p:sp>
    </p:spTree>
    <p:extLst>
      <p:ext uri="{BB962C8B-B14F-4D97-AF65-F5344CB8AC3E}">
        <p14:creationId xmlns:p14="http://schemas.microsoft.com/office/powerpoint/2010/main" val="37000215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1]</a:t>
            </a:r>
            <a:r>
              <a:rPr lang="en-US" altLang="zh-CN" baseline="0" dirty="0"/>
              <a:t> </a:t>
            </a:r>
            <a:r>
              <a:rPr lang="zh-CN" altLang="en-US" baseline="0" dirty="0"/>
              <a:t>代码演示：</a:t>
            </a:r>
            <a:r>
              <a:rPr lang="en-US" altLang="zh-CN" dirty="0" err="1"/>
              <a:t>CollectOtherTest</a:t>
            </a:r>
            <a:endParaRPr lang="en-US" altLang="zh-CN" dirty="0"/>
          </a:p>
        </p:txBody>
      </p:sp>
      <p:sp>
        <p:nvSpPr>
          <p:cNvPr id="4" name="灯片编号占位符 3"/>
          <p:cNvSpPr>
            <a:spLocks noGrp="1"/>
          </p:cNvSpPr>
          <p:nvPr>
            <p:ph type="sldNum" sz="quarter" idx="10"/>
          </p:nvPr>
        </p:nvSpPr>
        <p:spPr/>
        <p:txBody>
          <a:bodyPr/>
          <a:lstStyle/>
          <a:p>
            <a:fld id="{37FD7249-F0A3-49B3-992E-9162D14BA073}" type="slidenum">
              <a:rPr lang="zh-CN" altLang="en-US" smtClean="0"/>
              <a:t>43</a:t>
            </a:fld>
            <a:endParaRPr lang="zh-CN" altLang="en-US"/>
          </a:p>
        </p:txBody>
      </p:sp>
    </p:spTree>
    <p:extLst>
      <p:ext uri="{BB962C8B-B14F-4D97-AF65-F5344CB8AC3E}">
        <p14:creationId xmlns:p14="http://schemas.microsoft.com/office/powerpoint/2010/main" val="3760622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21070112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相邻</a:t>
            </a:r>
            <a:r>
              <a:rPr lang="en-US" altLang="zh-CN" dirty="0"/>
              <a:t>Stage</a:t>
            </a:r>
            <a:r>
              <a:rPr lang="zh-CN" altLang="en-US" dirty="0"/>
              <a:t>之间通过</a:t>
            </a:r>
            <a:r>
              <a:rPr lang="en-US" altLang="zh-CN" dirty="0"/>
              <a:t>Sink</a:t>
            </a:r>
            <a:r>
              <a:rPr lang="zh-CN" altLang="en-US" dirty="0"/>
              <a:t>传递信息，就类似于</a:t>
            </a:r>
            <a:r>
              <a:rPr lang="en-US" altLang="zh-CN" dirty="0"/>
              <a:t>[</a:t>
            </a:r>
            <a:r>
              <a:rPr lang="zh-CN" altLang="en-US" dirty="0"/>
              <a:t>处理</a:t>
            </a:r>
            <a:r>
              <a:rPr lang="en-US" altLang="zh-CN" dirty="0"/>
              <a:t>-&gt;</a:t>
            </a:r>
            <a:r>
              <a:rPr lang="zh-CN" altLang="en-US" dirty="0"/>
              <a:t>转发</a:t>
            </a:r>
            <a:r>
              <a:rPr lang="en-US" altLang="zh-CN" dirty="0"/>
              <a:t>]</a:t>
            </a:r>
            <a:r>
              <a:rPr lang="zh-CN" altLang="en-US" dirty="0"/>
              <a:t>这种模型</a:t>
            </a:r>
          </a:p>
        </p:txBody>
      </p:sp>
      <p:sp>
        <p:nvSpPr>
          <p:cNvPr id="4" name="灯片编号占位符 3"/>
          <p:cNvSpPr>
            <a:spLocks noGrp="1"/>
          </p:cNvSpPr>
          <p:nvPr>
            <p:ph type="sldNum" sz="quarter" idx="10"/>
          </p:nvPr>
        </p:nvSpPr>
        <p:spPr/>
        <p:txBody>
          <a:bodyPr/>
          <a:lstStyle/>
          <a:p>
            <a:fld id="{37FD7249-F0A3-49B3-992E-9162D14BA073}" type="slidenum">
              <a:rPr lang="zh-CN" altLang="en-US" smtClean="0"/>
              <a:t>46</a:t>
            </a:fld>
            <a:endParaRPr lang="zh-CN" altLang="en-US"/>
          </a:p>
        </p:txBody>
      </p:sp>
    </p:spTree>
    <p:extLst>
      <p:ext uri="{BB962C8B-B14F-4D97-AF65-F5344CB8AC3E}">
        <p14:creationId xmlns:p14="http://schemas.microsoft.com/office/powerpoint/2010/main" val="26909095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建议每个操作占一行，方面进行调试</a:t>
            </a:r>
            <a:endParaRPr lang="en-US" altLang="zh-CN" dirty="0"/>
          </a:p>
          <a:p>
            <a:r>
              <a:rPr lang="en-US" altLang="zh-CN" dirty="0"/>
              <a:t>[2] </a:t>
            </a:r>
            <a:r>
              <a:rPr lang="zh-CN" altLang="en-US" dirty="0"/>
              <a:t>必须在</a:t>
            </a:r>
            <a:r>
              <a:rPr lang="en-US" altLang="zh-CN" dirty="0"/>
              <a:t>stream</a:t>
            </a:r>
            <a:r>
              <a:rPr lang="zh-CN" altLang="en-US" dirty="0"/>
              <a:t>操作开始前打断点</a:t>
            </a:r>
            <a:endParaRPr lang="en-US" altLang="zh-CN" dirty="0"/>
          </a:p>
          <a:p>
            <a:r>
              <a:rPr lang="en-US" altLang="zh-CN" dirty="0"/>
              <a:t>[3] </a:t>
            </a:r>
            <a:r>
              <a:rPr lang="zh-CN" altLang="en-US" dirty="0"/>
              <a:t>演示先</a:t>
            </a:r>
            <a:r>
              <a:rPr lang="en-US" altLang="zh-CN" dirty="0"/>
              <a:t>debug</a:t>
            </a:r>
            <a:r>
              <a:rPr lang="zh-CN" altLang="en-US" dirty="0"/>
              <a:t>再</a:t>
            </a:r>
            <a:r>
              <a:rPr lang="en-US" altLang="zh-CN" dirty="0"/>
              <a:t>trace</a:t>
            </a:r>
            <a:r>
              <a:rPr lang="zh-CN" altLang="en-US" dirty="0"/>
              <a:t>、先</a:t>
            </a:r>
            <a:r>
              <a:rPr lang="en-US" altLang="zh-CN" dirty="0"/>
              <a:t>trace</a:t>
            </a:r>
            <a:r>
              <a:rPr lang="zh-CN" altLang="en-US" dirty="0"/>
              <a:t>再</a:t>
            </a:r>
            <a:r>
              <a:rPr lang="en-US" altLang="zh-CN" dirty="0"/>
              <a:t>debug</a:t>
            </a:r>
            <a:endParaRPr lang="zh-CN" altLang="en-US" dirty="0"/>
          </a:p>
        </p:txBody>
      </p:sp>
      <p:sp>
        <p:nvSpPr>
          <p:cNvPr id="4" name="灯片编号占位符 3"/>
          <p:cNvSpPr>
            <a:spLocks noGrp="1"/>
          </p:cNvSpPr>
          <p:nvPr>
            <p:ph type="sldNum" sz="quarter" idx="5"/>
          </p:nvPr>
        </p:nvSpPr>
        <p:spPr/>
        <p:txBody>
          <a:bodyPr/>
          <a:lstStyle/>
          <a:p>
            <a:fld id="{37FD7249-F0A3-49B3-992E-9162D14BA073}" type="slidenum">
              <a:rPr lang="zh-CN" altLang="en-US" smtClean="0"/>
              <a:t>47</a:t>
            </a:fld>
            <a:endParaRPr lang="zh-CN" altLang="en-US"/>
          </a:p>
        </p:txBody>
      </p:sp>
    </p:spTree>
    <p:extLst>
      <p:ext uri="{BB962C8B-B14F-4D97-AF65-F5344CB8AC3E}">
        <p14:creationId xmlns:p14="http://schemas.microsoft.com/office/powerpoint/2010/main" val="23546905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总结：使用流可以提升开发效率，但忌讳过度使用流，比如：将</a:t>
            </a:r>
            <a:r>
              <a:rPr lang="en-US" altLang="zh-CN" dirty="0"/>
              <a:t>for</a:t>
            </a:r>
            <a:r>
              <a:rPr lang="zh-CN" altLang="en-US" dirty="0"/>
              <a:t>循环改为</a:t>
            </a:r>
            <a:r>
              <a:rPr lang="en-US" altLang="zh-CN" dirty="0" err="1"/>
              <a:t>Instream.range</a:t>
            </a:r>
            <a:r>
              <a:rPr lang="zh-CN" altLang="en-US" dirty="0"/>
              <a:t>，国内基线一般是遇到复杂操作才使用流进行代码简化</a:t>
            </a:r>
          </a:p>
        </p:txBody>
      </p:sp>
      <p:sp>
        <p:nvSpPr>
          <p:cNvPr id="4" name="灯片编号占位符 3"/>
          <p:cNvSpPr>
            <a:spLocks noGrp="1"/>
          </p:cNvSpPr>
          <p:nvPr>
            <p:ph type="sldNum" sz="quarter" idx="5"/>
          </p:nvPr>
        </p:nvSpPr>
        <p:spPr/>
        <p:txBody>
          <a:bodyPr/>
          <a:lstStyle/>
          <a:p>
            <a:fld id="{37FD7249-F0A3-49B3-992E-9162D14BA073}" type="slidenum">
              <a:rPr lang="zh-CN" altLang="en-US" smtClean="0"/>
              <a:t>48</a:t>
            </a:fld>
            <a:endParaRPr lang="zh-CN" altLang="en-US"/>
          </a:p>
        </p:txBody>
      </p:sp>
    </p:spTree>
    <p:extLst>
      <p:ext uri="{BB962C8B-B14F-4D97-AF65-F5344CB8AC3E}">
        <p14:creationId xmlns:p14="http://schemas.microsoft.com/office/powerpoint/2010/main" val="32953332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7FD7249-F0A3-49B3-992E-9162D14BA073}" type="slidenum">
              <a:rPr lang="zh-CN" altLang="en-US" smtClean="0"/>
              <a:t>49</a:t>
            </a:fld>
            <a:endParaRPr lang="zh-CN" altLang="en-US"/>
          </a:p>
        </p:txBody>
      </p:sp>
    </p:spTree>
    <p:extLst>
      <p:ext uri="{BB962C8B-B14F-4D97-AF65-F5344CB8AC3E}">
        <p14:creationId xmlns:p14="http://schemas.microsoft.com/office/powerpoint/2010/main" val="21127128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0</a:t>
            </a:fld>
            <a:endParaRPr lang="zh-CN" altLang="en-US"/>
          </a:p>
        </p:txBody>
      </p:sp>
    </p:spTree>
    <p:extLst>
      <p:ext uri="{BB962C8B-B14F-4D97-AF65-F5344CB8AC3E}">
        <p14:creationId xmlns:p14="http://schemas.microsoft.com/office/powerpoint/2010/main" val="3922677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提问：多态的含义</a:t>
            </a:r>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4057784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代码演示：</a:t>
            </a:r>
            <a:r>
              <a:rPr lang="en-US" altLang="zh-CN" dirty="0" err="1"/>
              <a:t>LambdaTest</a:t>
            </a:r>
            <a:r>
              <a:rPr lang="zh-CN" altLang="en-US" dirty="0"/>
              <a:t>、</a:t>
            </a:r>
            <a:r>
              <a:rPr lang="en-US" altLang="zh-CN" dirty="0" err="1"/>
              <a:t>MethodReferenceTest</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6</a:t>
            </a:fld>
            <a:endParaRPr lang="zh-CN" altLang="en-US"/>
          </a:p>
        </p:txBody>
      </p:sp>
    </p:spTree>
    <p:extLst>
      <p:ext uri="{BB962C8B-B14F-4D97-AF65-F5344CB8AC3E}">
        <p14:creationId xmlns:p14="http://schemas.microsoft.com/office/powerpoint/2010/main" val="18564750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代码演示：</a:t>
            </a:r>
            <a:r>
              <a:rPr lang="en-US" altLang="zh-CN" dirty="0" err="1"/>
              <a:t>ExpressionsTest</a:t>
            </a:r>
            <a:endParaRPr lang="zh-CN" altLang="en-US" dirty="0"/>
          </a:p>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2775058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 </a:t>
            </a:r>
            <a:r>
              <a:rPr lang="zh-CN" altLang="en-US" dirty="0"/>
              <a:t>即函数实际执行的内容为</a:t>
            </a:r>
            <a:r>
              <a:rPr lang="en-US" altLang="zh-CN" dirty="0"/>
              <a:t>java</a:t>
            </a:r>
            <a:r>
              <a:rPr lang="zh-CN" altLang="en-US" dirty="0"/>
              <a:t>的方法体</a:t>
            </a:r>
            <a:endParaRPr lang="en-US" altLang="zh-CN" dirty="0"/>
          </a:p>
          <a:p>
            <a:r>
              <a:rPr lang="en-US" altLang="zh-CN" dirty="0"/>
              <a:t>[2] </a:t>
            </a:r>
            <a:r>
              <a:rPr lang="zh-CN" altLang="en-US" dirty="0"/>
              <a:t>代码演示：</a:t>
            </a:r>
            <a:r>
              <a:rPr lang="en-US" altLang="zh-CN" dirty="0" err="1"/>
              <a:t>MethodReferenceTest</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2538935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1] </a:t>
            </a:r>
            <a:r>
              <a:rPr lang="zh-CN" altLang="en-US" dirty="0"/>
              <a:t>使用</a:t>
            </a:r>
            <a:r>
              <a:rPr lang="en-US" altLang="zh-CN" dirty="0"/>
              <a:t>IDEA</a:t>
            </a:r>
            <a:r>
              <a:rPr lang="zh-CN" altLang="en-US" dirty="0"/>
              <a:t>查看该包，代码演示：</a:t>
            </a:r>
            <a:r>
              <a:rPr lang="en-US" altLang="zh-CN" dirty="0" err="1"/>
              <a:t>UseBuildInFunction</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30124305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t>解决自带函数不够使用的问题</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1]</a:t>
            </a:r>
            <a:r>
              <a:rPr lang="zh-CN" altLang="en-US" dirty="0"/>
              <a:t>代码演示：</a:t>
            </a:r>
            <a:r>
              <a:rPr lang="en-US" altLang="zh-CN" dirty="0" err="1"/>
              <a:t>CustomFunctional</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2]</a:t>
            </a:r>
            <a:r>
              <a:rPr lang="zh-CN" altLang="en-US" dirty="0"/>
              <a:t>代码演示：</a:t>
            </a:r>
            <a:r>
              <a:rPr lang="en-US" altLang="zh-CN" dirty="0" err="1"/>
              <a:t>FunctionalAnnotation</a:t>
            </a:r>
            <a:endParaRPr lang="en-US" altLang="zh-CN"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5</a:t>
            </a:fld>
            <a:endParaRPr lang="zh-CN" altLang="en-US"/>
          </a:p>
        </p:txBody>
      </p:sp>
    </p:spTree>
    <p:extLst>
      <p:ext uri="{BB962C8B-B14F-4D97-AF65-F5344CB8AC3E}">
        <p14:creationId xmlns:p14="http://schemas.microsoft.com/office/powerpoint/2010/main" val="39330286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9863" name="任意多边形: 形状 9862">
            <a:extLst>
              <a:ext uri="{FF2B5EF4-FFF2-40B4-BE49-F238E27FC236}">
                <a16:creationId xmlns:a16="http://schemas.microsoft.com/office/drawing/2014/main" id="{5CB98938-7243-4200-A832-55ED3ACBE1E8}"/>
              </a:ext>
            </a:extLst>
          </p:cNvPr>
          <p:cNvSpPr/>
          <p:nvPr/>
        </p:nvSpPr>
        <p:spPr>
          <a:xfrm>
            <a:off x="4927600" y="5031"/>
            <a:ext cx="7264400" cy="6852969"/>
          </a:xfrm>
          <a:custGeom>
            <a:avLst/>
            <a:gdLst>
              <a:gd name="connsiteX0" fmla="*/ 2667953 w 3724275"/>
              <a:gd name="connsiteY0" fmla="*/ 221933 h 4762500"/>
              <a:gd name="connsiteX1" fmla="*/ 2223135 w 3724275"/>
              <a:gd name="connsiteY1" fmla="*/ 973455 h 4762500"/>
              <a:gd name="connsiteX2" fmla="*/ 1356360 w 3724275"/>
              <a:gd name="connsiteY2" fmla="*/ 1298258 h 4762500"/>
              <a:gd name="connsiteX3" fmla="*/ 667703 w 3724275"/>
              <a:gd name="connsiteY3" fmla="*/ 1876425 h 4762500"/>
              <a:gd name="connsiteX4" fmla="*/ 751523 w 3724275"/>
              <a:gd name="connsiteY4" fmla="*/ 3155633 h 4762500"/>
              <a:gd name="connsiteX5" fmla="*/ 140970 w 3724275"/>
              <a:gd name="connsiteY5" fmla="*/ 4468178 h 4762500"/>
              <a:gd name="connsiteX6" fmla="*/ 0 w 3724275"/>
              <a:gd name="connsiteY6" fmla="*/ 4762500 h 4762500"/>
              <a:gd name="connsiteX7" fmla="*/ 3728085 w 3724275"/>
              <a:gd name="connsiteY7" fmla="*/ 4762500 h 4762500"/>
              <a:gd name="connsiteX8" fmla="*/ 3728085 w 3724275"/>
              <a:gd name="connsiteY8" fmla="*/ 0 h 4762500"/>
              <a:gd name="connsiteX9" fmla="*/ 2589848 w 3724275"/>
              <a:gd name="connsiteY9" fmla="*/ 0 h 4762500"/>
              <a:gd name="connsiteX10" fmla="*/ 2667953 w 3724275"/>
              <a:gd name="connsiteY10" fmla="*/ 221933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24275" h="4762500">
                <a:moveTo>
                  <a:pt x="2667953" y="221933"/>
                </a:moveTo>
                <a:cubicBezTo>
                  <a:pt x="2712720" y="527685"/>
                  <a:pt x="2489835" y="817245"/>
                  <a:pt x="2223135" y="973455"/>
                </a:cubicBezTo>
                <a:cubicBezTo>
                  <a:pt x="1956435" y="1129665"/>
                  <a:pt x="1645920" y="1189673"/>
                  <a:pt x="1356360" y="1298258"/>
                </a:cubicBezTo>
                <a:cubicBezTo>
                  <a:pt x="1066800" y="1406843"/>
                  <a:pt x="776288" y="1586865"/>
                  <a:pt x="667703" y="1876425"/>
                </a:cubicBezTo>
                <a:cubicBezTo>
                  <a:pt x="515303" y="2281238"/>
                  <a:pt x="765810" y="2724150"/>
                  <a:pt x="751523" y="3155633"/>
                </a:cubicBezTo>
                <a:cubicBezTo>
                  <a:pt x="734378" y="3644265"/>
                  <a:pt x="386715" y="4046220"/>
                  <a:pt x="140970" y="4468178"/>
                </a:cubicBezTo>
                <a:cubicBezTo>
                  <a:pt x="86678" y="4559618"/>
                  <a:pt x="39053" y="4658678"/>
                  <a:pt x="0" y="4762500"/>
                </a:cubicBezTo>
                <a:lnTo>
                  <a:pt x="3728085" y="4762500"/>
                </a:lnTo>
                <a:lnTo>
                  <a:pt x="3728085" y="0"/>
                </a:lnTo>
                <a:lnTo>
                  <a:pt x="2589848" y="0"/>
                </a:lnTo>
                <a:cubicBezTo>
                  <a:pt x="2627948" y="69533"/>
                  <a:pt x="2655570" y="142875"/>
                  <a:pt x="2667953" y="221933"/>
                </a:cubicBezTo>
                <a:close/>
              </a:path>
            </a:pathLst>
          </a:custGeom>
          <a:solidFill>
            <a:schemeClr val="accent1">
              <a:lumMod val="75000"/>
            </a:schemeClr>
          </a:solidFill>
          <a:ln w="9525" cap="flat">
            <a:noFill/>
            <a:prstDash val="solid"/>
            <a:miter/>
          </a:ln>
        </p:spPr>
        <p:txBody>
          <a:bodyPr rtlCol="0" anchor="ctr"/>
          <a:lstStyle/>
          <a:p>
            <a:endParaRPr lang="zh-CN" altLang="en-US"/>
          </a:p>
        </p:txBody>
      </p:sp>
      <p:sp>
        <p:nvSpPr>
          <p:cNvPr id="9864" name="任意多边形: 形状 9863">
            <a:extLst>
              <a:ext uri="{FF2B5EF4-FFF2-40B4-BE49-F238E27FC236}">
                <a16:creationId xmlns:a16="http://schemas.microsoft.com/office/drawing/2014/main" id="{FBC3464B-88A8-4A33-BE24-A5957A3D9994}"/>
              </a:ext>
            </a:extLst>
          </p:cNvPr>
          <p:cNvSpPr/>
          <p:nvPr/>
        </p:nvSpPr>
        <p:spPr>
          <a:xfrm>
            <a:off x="6133719" y="2220948"/>
            <a:ext cx="6056763" cy="3070130"/>
          </a:xfrm>
          <a:custGeom>
            <a:avLst/>
            <a:gdLst>
              <a:gd name="connsiteX0" fmla="*/ 3109738 w 3105150"/>
              <a:gd name="connsiteY0" fmla="*/ 29759 h 2133600"/>
              <a:gd name="connsiteX1" fmla="*/ 2096278 w 3105150"/>
              <a:gd name="connsiteY1" fmla="*/ 75479 h 2133600"/>
              <a:gd name="connsiteX2" fmla="*/ 1303798 w 3105150"/>
              <a:gd name="connsiteY2" fmla="*/ 301221 h 2133600"/>
              <a:gd name="connsiteX3" fmla="*/ 583708 w 3105150"/>
              <a:gd name="connsiteY3" fmla="*/ 296459 h 2133600"/>
              <a:gd name="connsiteX4" fmla="*/ 147463 w 3105150"/>
              <a:gd name="connsiteY4" fmla="*/ 159299 h 2133600"/>
              <a:gd name="connsiteX5" fmla="*/ 49356 w 3105150"/>
              <a:gd name="connsiteY5" fmla="*/ 337416 h 2133600"/>
              <a:gd name="connsiteX6" fmla="*/ 133176 w 3105150"/>
              <a:gd name="connsiteY6" fmla="*/ 1616624 h 2133600"/>
              <a:gd name="connsiteX7" fmla="*/ 96981 w 3105150"/>
              <a:gd name="connsiteY7" fmla="*/ 1862369 h 2133600"/>
              <a:gd name="connsiteX8" fmla="*/ 412258 w 3105150"/>
              <a:gd name="connsiteY8" fmla="*/ 1923329 h 2133600"/>
              <a:gd name="connsiteX9" fmla="*/ 2157238 w 3105150"/>
              <a:gd name="connsiteY9" fmla="*/ 1743307 h 2133600"/>
              <a:gd name="connsiteX10" fmla="*/ 2988771 w 3105150"/>
              <a:gd name="connsiteY10" fmla="*/ 2118592 h 2133600"/>
              <a:gd name="connsiteX11" fmla="*/ 3110691 w 3105150"/>
              <a:gd name="connsiteY11" fmla="*/ 2133832 h 2133600"/>
              <a:gd name="connsiteX12" fmla="*/ 3110691 w 3105150"/>
              <a:gd name="connsiteY12" fmla="*/ 29759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05150" h="2133600">
                <a:moveTo>
                  <a:pt x="3109738" y="29759"/>
                </a:moveTo>
                <a:cubicBezTo>
                  <a:pt x="2773506" y="-21676"/>
                  <a:pt x="2426796" y="-6436"/>
                  <a:pt x="2096278" y="75479"/>
                </a:cubicBezTo>
                <a:cubicBezTo>
                  <a:pt x="1829578" y="141201"/>
                  <a:pt x="1573356" y="250739"/>
                  <a:pt x="1303798" y="301221"/>
                </a:cubicBezTo>
                <a:cubicBezTo>
                  <a:pt x="1066626" y="345989"/>
                  <a:pt x="820881" y="344084"/>
                  <a:pt x="583708" y="296459"/>
                </a:cubicBezTo>
                <a:cubicBezTo>
                  <a:pt x="432261" y="265979"/>
                  <a:pt x="288433" y="218354"/>
                  <a:pt x="147463" y="159299"/>
                </a:cubicBezTo>
                <a:cubicBezTo>
                  <a:pt x="107458" y="213591"/>
                  <a:pt x="74121" y="272646"/>
                  <a:pt x="49356" y="337416"/>
                </a:cubicBezTo>
                <a:cubicBezTo>
                  <a:pt x="-103044" y="742229"/>
                  <a:pt x="147463" y="1185141"/>
                  <a:pt x="133176" y="1616624"/>
                </a:cubicBezTo>
                <a:cubicBezTo>
                  <a:pt x="130318" y="1701396"/>
                  <a:pt x="116983" y="1782359"/>
                  <a:pt x="96981" y="1862369"/>
                </a:cubicBezTo>
                <a:cubicBezTo>
                  <a:pt x="199851" y="1892849"/>
                  <a:pt x="304626" y="1915709"/>
                  <a:pt x="412258" y="1923329"/>
                </a:cubicBezTo>
                <a:cubicBezTo>
                  <a:pt x="1000903" y="1966191"/>
                  <a:pt x="1591453" y="1573761"/>
                  <a:pt x="2157238" y="1743307"/>
                </a:cubicBezTo>
                <a:cubicBezTo>
                  <a:pt x="2449656" y="1830936"/>
                  <a:pt x="2689686" y="2059536"/>
                  <a:pt x="2988771" y="2118592"/>
                </a:cubicBezTo>
                <a:cubicBezTo>
                  <a:pt x="3028776" y="2126211"/>
                  <a:pt x="3069733" y="2130974"/>
                  <a:pt x="3110691" y="2133832"/>
                </a:cubicBezTo>
                <a:lnTo>
                  <a:pt x="3110691" y="29759"/>
                </a:lnTo>
                <a:close/>
              </a:path>
            </a:pathLst>
          </a:custGeom>
          <a:gradFill>
            <a:gsLst>
              <a:gs pos="100000">
                <a:schemeClr val="accent1">
                  <a:lumMod val="75000"/>
                </a:schemeClr>
              </a:gs>
              <a:gs pos="0">
                <a:schemeClr val="accent2">
                  <a:lumMod val="75000"/>
                </a:schemeClr>
              </a:gs>
            </a:gsLst>
            <a:lin ang="5400000" scaled="1"/>
          </a:gradFill>
          <a:ln w="9525" cap="flat">
            <a:noFill/>
            <a:prstDash val="solid"/>
            <a:miter/>
          </a:ln>
        </p:spPr>
        <p:txBody>
          <a:bodyPr rtlCol="0" anchor="ctr"/>
          <a:lstStyle/>
          <a:p>
            <a:endParaRPr lang="zh-CN" altLang="en-US"/>
          </a:p>
        </p:txBody>
      </p:sp>
      <p:sp>
        <p:nvSpPr>
          <p:cNvPr id="9865" name="任意多边形: 形状 9864">
            <a:extLst>
              <a:ext uri="{FF2B5EF4-FFF2-40B4-BE49-F238E27FC236}">
                <a16:creationId xmlns:a16="http://schemas.microsoft.com/office/drawing/2014/main" id="{DD4E06BE-C497-4ACD-BA5A-AD5D15A74933}"/>
              </a:ext>
            </a:extLst>
          </p:cNvPr>
          <p:cNvSpPr/>
          <p:nvPr/>
        </p:nvSpPr>
        <p:spPr>
          <a:xfrm>
            <a:off x="5559287" y="5452712"/>
            <a:ext cx="6632713" cy="794944"/>
          </a:xfrm>
          <a:custGeom>
            <a:avLst/>
            <a:gdLst>
              <a:gd name="connsiteX0" fmla="*/ 3404235 w 3400425"/>
              <a:gd name="connsiteY0" fmla="*/ 195561 h 552450"/>
              <a:gd name="connsiteX1" fmla="*/ 2930843 w 3400425"/>
              <a:gd name="connsiteY1" fmla="*/ 115551 h 552450"/>
              <a:gd name="connsiteX2" fmla="*/ 2428875 w 3400425"/>
              <a:gd name="connsiteY2" fmla="*/ 245091 h 552450"/>
              <a:gd name="connsiteX3" fmla="*/ 1395413 w 3400425"/>
              <a:gd name="connsiteY3" fmla="*/ 168891 h 552450"/>
              <a:gd name="connsiteX4" fmla="*/ 818198 w 3400425"/>
              <a:gd name="connsiteY4" fmla="*/ 299 h 552450"/>
              <a:gd name="connsiteX5" fmla="*/ 155258 w 3400425"/>
              <a:gd name="connsiteY5" fmla="*/ 142221 h 552450"/>
              <a:gd name="connsiteX6" fmla="*/ 0 w 3400425"/>
              <a:gd name="connsiteY6" fmla="*/ 388919 h 552450"/>
              <a:gd name="connsiteX7" fmla="*/ 322898 w 3400425"/>
              <a:gd name="connsiteY7" fmla="*/ 366059 h 552450"/>
              <a:gd name="connsiteX8" fmla="*/ 1430655 w 3400425"/>
              <a:gd name="connsiteY8" fmla="*/ 425114 h 552450"/>
              <a:gd name="connsiteX9" fmla="*/ 2424113 w 3400425"/>
              <a:gd name="connsiteY9" fmla="*/ 529889 h 552450"/>
              <a:gd name="connsiteX10" fmla="*/ 3404235 w 3400425"/>
              <a:gd name="connsiteY10" fmla="*/ 552749 h 552450"/>
              <a:gd name="connsiteX11" fmla="*/ 3404235 w 3400425"/>
              <a:gd name="connsiteY11" fmla="*/ 195561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0425" h="552450">
                <a:moveTo>
                  <a:pt x="3404235" y="195561"/>
                </a:moveTo>
                <a:cubicBezTo>
                  <a:pt x="3248025" y="146984"/>
                  <a:pt x="3091815" y="104121"/>
                  <a:pt x="2930843" y="115551"/>
                </a:cubicBezTo>
                <a:cubicBezTo>
                  <a:pt x="2757488" y="127934"/>
                  <a:pt x="2596515" y="202229"/>
                  <a:pt x="2428875" y="245091"/>
                </a:cubicBezTo>
                <a:cubicBezTo>
                  <a:pt x="2088833" y="332721"/>
                  <a:pt x="1724978" y="288906"/>
                  <a:pt x="1395413" y="168891"/>
                </a:cubicBezTo>
                <a:cubicBezTo>
                  <a:pt x="1205865" y="100311"/>
                  <a:pt x="1020128" y="6014"/>
                  <a:pt x="818198" y="299"/>
                </a:cubicBezTo>
                <a:cubicBezTo>
                  <a:pt x="591503" y="-6369"/>
                  <a:pt x="378142" y="100311"/>
                  <a:pt x="155258" y="142221"/>
                </a:cubicBezTo>
                <a:cubicBezTo>
                  <a:pt x="105727" y="225089"/>
                  <a:pt x="53340" y="307004"/>
                  <a:pt x="0" y="388919"/>
                </a:cubicBezTo>
                <a:cubicBezTo>
                  <a:pt x="107632" y="383204"/>
                  <a:pt x="215265" y="372726"/>
                  <a:pt x="322898" y="366059"/>
                </a:cubicBezTo>
                <a:cubicBezTo>
                  <a:pt x="692468" y="343199"/>
                  <a:pt x="1063943" y="372726"/>
                  <a:pt x="1430655" y="425114"/>
                </a:cubicBezTo>
                <a:cubicBezTo>
                  <a:pt x="1761173" y="471786"/>
                  <a:pt x="2090738" y="536556"/>
                  <a:pt x="2424113" y="529889"/>
                </a:cubicBezTo>
                <a:cubicBezTo>
                  <a:pt x="2752725" y="523221"/>
                  <a:pt x="3096578" y="448926"/>
                  <a:pt x="3404235" y="552749"/>
                </a:cubicBezTo>
                <a:lnTo>
                  <a:pt x="3404235" y="195561"/>
                </a:lnTo>
                <a:close/>
              </a:path>
            </a:pathLst>
          </a:custGeom>
          <a:gradFill>
            <a:gsLst>
              <a:gs pos="100000">
                <a:schemeClr val="accent1">
                  <a:lumMod val="75000"/>
                </a:schemeClr>
              </a:gs>
              <a:gs pos="0">
                <a:schemeClr val="accent2">
                  <a:lumMod val="75000"/>
                </a:schemeClr>
              </a:gs>
            </a:gsLst>
            <a:lin ang="5400000" scaled="1"/>
          </a:gradFill>
          <a:ln w="9525" cap="flat">
            <a:noFill/>
            <a:prstDash val="solid"/>
            <a:miter/>
          </a:ln>
        </p:spPr>
        <p:txBody>
          <a:bodyPr rtlCol="0" anchor="ctr"/>
          <a:lstStyle/>
          <a:p>
            <a:endParaRPr lang="zh-CN" altLang="en-US"/>
          </a:p>
        </p:txBody>
      </p:sp>
      <p:sp>
        <p:nvSpPr>
          <p:cNvPr id="9866" name="任意多边形: 形状 9865">
            <a:extLst>
              <a:ext uri="{FF2B5EF4-FFF2-40B4-BE49-F238E27FC236}">
                <a16:creationId xmlns:a16="http://schemas.microsoft.com/office/drawing/2014/main" id="{76CD9002-14E1-4732-9B2C-0D839E306C2C}"/>
              </a:ext>
            </a:extLst>
          </p:cNvPr>
          <p:cNvSpPr/>
          <p:nvPr/>
        </p:nvSpPr>
        <p:spPr>
          <a:xfrm>
            <a:off x="10036833" y="435397"/>
            <a:ext cx="2155167" cy="534532"/>
          </a:xfrm>
          <a:custGeom>
            <a:avLst/>
            <a:gdLst>
              <a:gd name="connsiteX0" fmla="*/ 0 w 1104900"/>
              <a:gd name="connsiteY0" fmla="*/ 248603 h 371475"/>
              <a:gd name="connsiteX1" fmla="*/ 1108710 w 1104900"/>
              <a:gd name="connsiteY1" fmla="*/ 379095 h 371475"/>
              <a:gd name="connsiteX2" fmla="*/ 1108710 w 1104900"/>
              <a:gd name="connsiteY2" fmla="*/ 115253 h 371475"/>
              <a:gd name="connsiteX3" fmla="*/ 474345 w 1104900"/>
              <a:gd name="connsiteY3" fmla="*/ 71438 h 371475"/>
              <a:gd name="connsiteX4" fmla="*/ 53340 w 1104900"/>
              <a:gd name="connsiteY4" fmla="*/ 0 h 371475"/>
              <a:gd name="connsiteX5" fmla="*/ 0 w 1104900"/>
              <a:gd name="connsiteY5" fmla="*/ 248603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4900" h="371475">
                <a:moveTo>
                  <a:pt x="0" y="248603"/>
                </a:moveTo>
                <a:cubicBezTo>
                  <a:pt x="383857" y="258128"/>
                  <a:pt x="772478" y="239078"/>
                  <a:pt x="1108710" y="379095"/>
                </a:cubicBezTo>
                <a:lnTo>
                  <a:pt x="1108710" y="115253"/>
                </a:lnTo>
                <a:cubicBezTo>
                  <a:pt x="905828" y="70485"/>
                  <a:pt x="684847" y="80010"/>
                  <a:pt x="474345" y="71438"/>
                </a:cubicBezTo>
                <a:cubicBezTo>
                  <a:pt x="335280" y="65723"/>
                  <a:pt x="186690" y="45720"/>
                  <a:pt x="53340" y="0"/>
                </a:cubicBezTo>
                <a:cubicBezTo>
                  <a:pt x="54293" y="86678"/>
                  <a:pt x="34290" y="169545"/>
                  <a:pt x="0" y="248603"/>
                </a:cubicBezTo>
                <a:close/>
              </a:path>
            </a:pathLst>
          </a:custGeom>
          <a:gradFill>
            <a:gsLst>
              <a:gs pos="100000">
                <a:schemeClr val="accent1">
                  <a:lumMod val="75000"/>
                </a:schemeClr>
              </a:gs>
              <a:gs pos="0">
                <a:schemeClr val="accent2">
                  <a:lumMod val="75000"/>
                </a:schemeClr>
              </a:gs>
            </a:gsLst>
            <a:lin ang="5400000" scaled="1"/>
          </a:gradFill>
          <a:ln w="9525" cap="flat">
            <a:noFill/>
            <a:prstDash val="solid"/>
            <a:miter/>
          </a:ln>
        </p:spPr>
        <p:txBody>
          <a:bodyPr rtlCol="0" anchor="ctr"/>
          <a:lstStyle/>
          <a:p>
            <a:endParaRPr lang="zh-CN" altLang="en-US"/>
          </a:p>
        </p:txBody>
      </p:sp>
      <p:sp>
        <p:nvSpPr>
          <p:cNvPr id="9867" name="任意多边形: 形状 9866">
            <a:extLst>
              <a:ext uri="{FF2B5EF4-FFF2-40B4-BE49-F238E27FC236}">
                <a16:creationId xmlns:a16="http://schemas.microsoft.com/office/drawing/2014/main" id="{E0C5C6E9-7FA5-41B4-BFDB-FCB6548C64B2}"/>
              </a:ext>
            </a:extLst>
          </p:cNvPr>
          <p:cNvSpPr/>
          <p:nvPr/>
        </p:nvSpPr>
        <p:spPr>
          <a:xfrm>
            <a:off x="7463638" y="1478883"/>
            <a:ext cx="4719073" cy="424884"/>
          </a:xfrm>
          <a:custGeom>
            <a:avLst/>
            <a:gdLst>
              <a:gd name="connsiteX0" fmla="*/ 1489710 w 2419350"/>
              <a:gd name="connsiteY0" fmla="*/ 265425 h 295275"/>
              <a:gd name="connsiteX1" fmla="*/ 2106930 w 2419350"/>
              <a:gd name="connsiteY1" fmla="*/ 220657 h 295275"/>
              <a:gd name="connsiteX2" fmla="*/ 2427923 w 2419350"/>
              <a:gd name="connsiteY2" fmla="*/ 276855 h 295275"/>
              <a:gd name="connsiteX3" fmla="*/ 2427923 w 2419350"/>
              <a:gd name="connsiteY3" fmla="*/ 11107 h 295275"/>
              <a:gd name="connsiteX4" fmla="*/ 1508760 w 2419350"/>
              <a:gd name="connsiteY4" fmla="*/ 105405 h 295275"/>
              <a:gd name="connsiteX5" fmla="*/ 790575 w 2419350"/>
              <a:gd name="connsiteY5" fmla="*/ 16822 h 295275"/>
              <a:gd name="connsiteX6" fmla="*/ 55245 w 2419350"/>
              <a:gd name="connsiteY6" fmla="*/ 273997 h 295275"/>
              <a:gd name="connsiteX7" fmla="*/ 0 w 2419350"/>
              <a:gd name="connsiteY7" fmla="*/ 295905 h 295275"/>
              <a:gd name="connsiteX8" fmla="*/ 319088 w 2419350"/>
              <a:gd name="connsiteY8" fmla="*/ 300667 h 295275"/>
              <a:gd name="connsiteX9" fmla="*/ 1489710 w 2419350"/>
              <a:gd name="connsiteY9" fmla="*/ 2654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9350" h="295275">
                <a:moveTo>
                  <a:pt x="1489710" y="265425"/>
                </a:moveTo>
                <a:cubicBezTo>
                  <a:pt x="1695450" y="240660"/>
                  <a:pt x="1901190" y="201607"/>
                  <a:pt x="2106930" y="220657"/>
                </a:cubicBezTo>
                <a:cubicBezTo>
                  <a:pt x="2215515" y="231135"/>
                  <a:pt x="2321243" y="256852"/>
                  <a:pt x="2427923" y="276855"/>
                </a:cubicBezTo>
                <a:lnTo>
                  <a:pt x="2427923" y="11107"/>
                </a:lnTo>
                <a:cubicBezTo>
                  <a:pt x="2132648" y="-38423"/>
                  <a:pt x="1817370" y="93022"/>
                  <a:pt x="1508760" y="105405"/>
                </a:cubicBezTo>
                <a:cubicBezTo>
                  <a:pt x="1267778" y="114930"/>
                  <a:pt x="1029653" y="51112"/>
                  <a:pt x="790575" y="16822"/>
                </a:cubicBezTo>
                <a:cubicBezTo>
                  <a:pt x="556260" y="125407"/>
                  <a:pt x="298133" y="182557"/>
                  <a:pt x="55245" y="273997"/>
                </a:cubicBezTo>
                <a:cubicBezTo>
                  <a:pt x="37147" y="280665"/>
                  <a:pt x="18097" y="288285"/>
                  <a:pt x="0" y="295905"/>
                </a:cubicBezTo>
                <a:cubicBezTo>
                  <a:pt x="106680" y="297810"/>
                  <a:pt x="212408" y="298762"/>
                  <a:pt x="319088" y="300667"/>
                </a:cubicBezTo>
                <a:cubicBezTo>
                  <a:pt x="710565" y="306382"/>
                  <a:pt x="1102043" y="312097"/>
                  <a:pt x="1489710" y="265425"/>
                </a:cubicBezTo>
                <a:close/>
              </a:path>
            </a:pathLst>
          </a:custGeom>
          <a:gradFill>
            <a:gsLst>
              <a:gs pos="100000">
                <a:schemeClr val="accent1">
                  <a:lumMod val="75000"/>
                </a:schemeClr>
              </a:gs>
              <a:gs pos="0">
                <a:schemeClr val="accent2">
                  <a:lumMod val="75000"/>
                </a:schemeClr>
              </a:gs>
            </a:gsLst>
            <a:lin ang="5400000" scaled="1"/>
          </a:gradFill>
          <a:ln w="9525" cap="flat">
            <a:noFill/>
            <a:prstDash val="solid"/>
            <a:miter/>
          </a:ln>
        </p:spPr>
        <p:txBody>
          <a:bodyPr rtlCol="0" anchor="ctr"/>
          <a:lstStyle/>
          <a:p>
            <a:endParaRPr lang="zh-CN" altLang="en-US"/>
          </a:p>
        </p:txBody>
      </p:sp>
      <p:sp>
        <p:nvSpPr>
          <p:cNvPr id="9868" name="任意多边形: 形状 9867">
            <a:extLst>
              <a:ext uri="{FF2B5EF4-FFF2-40B4-BE49-F238E27FC236}">
                <a16:creationId xmlns:a16="http://schemas.microsoft.com/office/drawing/2014/main" id="{C164771D-CC42-4C5B-85E0-04F382CE1EEE}"/>
              </a:ext>
            </a:extLst>
          </p:cNvPr>
          <p:cNvSpPr/>
          <p:nvPr/>
        </p:nvSpPr>
        <p:spPr>
          <a:xfrm>
            <a:off x="4927600" y="1032976"/>
            <a:ext cx="4904863" cy="5825024"/>
          </a:xfrm>
          <a:custGeom>
            <a:avLst/>
            <a:gdLst>
              <a:gd name="connsiteX0" fmla="*/ 578168 w 2514600"/>
              <a:gd name="connsiteY0" fmla="*/ 3919538 h 4048125"/>
              <a:gd name="connsiteX1" fmla="*/ 1050608 w 2514600"/>
              <a:gd name="connsiteY1" fmla="*/ 2551748 h 4048125"/>
              <a:gd name="connsiteX2" fmla="*/ 836295 w 2514600"/>
              <a:gd name="connsiteY2" fmla="*/ 1287780 h 4048125"/>
              <a:gd name="connsiteX3" fmla="*/ 1462088 w 2514600"/>
              <a:gd name="connsiteY3" fmla="*/ 641985 h 4048125"/>
              <a:gd name="connsiteX4" fmla="*/ 2290763 w 2514600"/>
              <a:gd name="connsiteY4" fmla="*/ 229552 h 4048125"/>
              <a:gd name="connsiteX5" fmla="*/ 2520315 w 2514600"/>
              <a:gd name="connsiteY5" fmla="*/ 0 h 4048125"/>
              <a:gd name="connsiteX6" fmla="*/ 2223135 w 2514600"/>
              <a:gd name="connsiteY6" fmla="*/ 259080 h 4048125"/>
              <a:gd name="connsiteX7" fmla="*/ 1356360 w 2514600"/>
              <a:gd name="connsiteY7" fmla="*/ 583883 h 4048125"/>
              <a:gd name="connsiteX8" fmla="*/ 667703 w 2514600"/>
              <a:gd name="connsiteY8" fmla="*/ 1162050 h 4048125"/>
              <a:gd name="connsiteX9" fmla="*/ 751523 w 2514600"/>
              <a:gd name="connsiteY9" fmla="*/ 2441258 h 4048125"/>
              <a:gd name="connsiteX10" fmla="*/ 140970 w 2514600"/>
              <a:gd name="connsiteY10" fmla="*/ 3753803 h 4048125"/>
              <a:gd name="connsiteX11" fmla="*/ 0 w 2514600"/>
              <a:gd name="connsiteY11" fmla="*/ 4048125 h 4048125"/>
              <a:gd name="connsiteX12" fmla="*/ 525780 w 2514600"/>
              <a:gd name="connsiteY12" fmla="*/ 4048125 h 4048125"/>
              <a:gd name="connsiteX13" fmla="*/ 578168 w 2514600"/>
              <a:gd name="connsiteY13" fmla="*/ 3919538 h 404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4600" h="4048125">
                <a:moveTo>
                  <a:pt x="578168" y="3919538"/>
                </a:moveTo>
                <a:cubicBezTo>
                  <a:pt x="780098" y="3474720"/>
                  <a:pt x="1083945" y="3038475"/>
                  <a:pt x="1050608" y="2551748"/>
                </a:cubicBezTo>
                <a:cubicBezTo>
                  <a:pt x="1021080" y="2120265"/>
                  <a:pt x="725805" y="1705928"/>
                  <a:pt x="836295" y="1287780"/>
                </a:cubicBezTo>
                <a:cubicBezTo>
                  <a:pt x="915353" y="988695"/>
                  <a:pt x="1184910" y="780097"/>
                  <a:pt x="1462088" y="641985"/>
                </a:cubicBezTo>
                <a:cubicBezTo>
                  <a:pt x="1738313" y="503873"/>
                  <a:pt x="2041208" y="411480"/>
                  <a:pt x="2290763" y="229552"/>
                </a:cubicBezTo>
                <a:cubicBezTo>
                  <a:pt x="2377440" y="166688"/>
                  <a:pt x="2456498" y="87630"/>
                  <a:pt x="2520315" y="0"/>
                </a:cubicBezTo>
                <a:cubicBezTo>
                  <a:pt x="2440305" y="103823"/>
                  <a:pt x="2335530" y="193358"/>
                  <a:pt x="2223135" y="259080"/>
                </a:cubicBezTo>
                <a:cubicBezTo>
                  <a:pt x="1956435" y="415290"/>
                  <a:pt x="1645920" y="475298"/>
                  <a:pt x="1356360" y="583883"/>
                </a:cubicBezTo>
                <a:cubicBezTo>
                  <a:pt x="1066800" y="692468"/>
                  <a:pt x="776288" y="872490"/>
                  <a:pt x="667703" y="1162050"/>
                </a:cubicBezTo>
                <a:cubicBezTo>
                  <a:pt x="515303" y="1566863"/>
                  <a:pt x="765810" y="2009775"/>
                  <a:pt x="751523" y="2441258"/>
                </a:cubicBezTo>
                <a:cubicBezTo>
                  <a:pt x="734378" y="2929890"/>
                  <a:pt x="386715" y="3331845"/>
                  <a:pt x="140970" y="3753803"/>
                </a:cubicBezTo>
                <a:cubicBezTo>
                  <a:pt x="86678" y="3845243"/>
                  <a:pt x="39053" y="3944303"/>
                  <a:pt x="0" y="4048125"/>
                </a:cubicBezTo>
                <a:lnTo>
                  <a:pt x="525780" y="4048125"/>
                </a:lnTo>
                <a:cubicBezTo>
                  <a:pt x="541973" y="4004310"/>
                  <a:pt x="559118" y="3961448"/>
                  <a:pt x="578168" y="3919538"/>
                </a:cubicBezTo>
                <a:close/>
              </a:path>
            </a:pathLst>
          </a:custGeom>
          <a:solidFill>
            <a:schemeClr val="accent3"/>
          </a:solidFill>
          <a:ln w="9525" cap="flat">
            <a:noFill/>
            <a:prstDash val="solid"/>
            <a:miter/>
          </a:ln>
        </p:spPr>
        <p:txBody>
          <a:bodyPr rtlCol="0" anchor="ctr"/>
          <a:lstStyle/>
          <a:p>
            <a:endParaRPr lang="zh-CN" altLang="en-US"/>
          </a:p>
        </p:txBody>
      </p:sp>
      <p:sp>
        <p:nvSpPr>
          <p:cNvPr id="9869" name="任意多边形: 形状 9868">
            <a:extLst>
              <a:ext uri="{FF2B5EF4-FFF2-40B4-BE49-F238E27FC236}">
                <a16:creationId xmlns:a16="http://schemas.microsoft.com/office/drawing/2014/main" id="{8851E55E-0D98-469F-920D-E29783961D6A}"/>
              </a:ext>
            </a:extLst>
          </p:cNvPr>
          <p:cNvSpPr/>
          <p:nvPr/>
        </p:nvSpPr>
        <p:spPr>
          <a:xfrm>
            <a:off x="5691197" y="1032976"/>
            <a:ext cx="4143123" cy="5825024"/>
          </a:xfrm>
          <a:custGeom>
            <a:avLst/>
            <a:gdLst>
              <a:gd name="connsiteX0" fmla="*/ 1830705 w 2124075"/>
              <a:gd name="connsiteY0" fmla="*/ 259080 h 4048125"/>
              <a:gd name="connsiteX1" fmla="*/ 1350645 w 2124075"/>
              <a:gd name="connsiteY1" fmla="*/ 457200 h 4048125"/>
              <a:gd name="connsiteX2" fmla="*/ 936307 w 2124075"/>
              <a:gd name="connsiteY2" fmla="*/ 641985 h 4048125"/>
              <a:gd name="connsiteX3" fmla="*/ 310515 w 2124075"/>
              <a:gd name="connsiteY3" fmla="*/ 1287780 h 4048125"/>
              <a:gd name="connsiteX4" fmla="*/ 524828 w 2124075"/>
              <a:gd name="connsiteY4" fmla="*/ 2551748 h 4048125"/>
              <a:gd name="connsiteX5" fmla="*/ 52388 w 2124075"/>
              <a:gd name="connsiteY5" fmla="*/ 3919538 h 4048125"/>
              <a:gd name="connsiteX6" fmla="*/ 0 w 2124075"/>
              <a:gd name="connsiteY6" fmla="*/ 4048125 h 4048125"/>
              <a:gd name="connsiteX7" fmla="*/ 133350 w 2124075"/>
              <a:gd name="connsiteY7" fmla="*/ 4048125 h 4048125"/>
              <a:gd name="connsiteX8" fmla="*/ 185738 w 2124075"/>
              <a:gd name="connsiteY8" fmla="*/ 3919538 h 4048125"/>
              <a:gd name="connsiteX9" fmla="*/ 658178 w 2124075"/>
              <a:gd name="connsiteY9" fmla="*/ 2551748 h 4048125"/>
              <a:gd name="connsiteX10" fmla="*/ 443865 w 2124075"/>
              <a:gd name="connsiteY10" fmla="*/ 1287780 h 4048125"/>
              <a:gd name="connsiteX11" fmla="*/ 1069658 w 2124075"/>
              <a:gd name="connsiteY11" fmla="*/ 641985 h 4048125"/>
              <a:gd name="connsiteX12" fmla="*/ 1898333 w 2124075"/>
              <a:gd name="connsiteY12" fmla="*/ 229552 h 4048125"/>
              <a:gd name="connsiteX13" fmla="*/ 2127885 w 2124075"/>
              <a:gd name="connsiteY13" fmla="*/ 0 h 4048125"/>
              <a:gd name="connsiteX14" fmla="*/ 1830705 w 2124075"/>
              <a:gd name="connsiteY14" fmla="*/ 259080 h 404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24075" h="4048125">
                <a:moveTo>
                  <a:pt x="1830705" y="259080"/>
                </a:moveTo>
                <a:cubicBezTo>
                  <a:pt x="1680210" y="346710"/>
                  <a:pt x="1516380" y="403860"/>
                  <a:pt x="1350645" y="457200"/>
                </a:cubicBezTo>
                <a:cubicBezTo>
                  <a:pt x="1212533" y="518160"/>
                  <a:pt x="1071563" y="575310"/>
                  <a:pt x="936307" y="641985"/>
                </a:cubicBezTo>
                <a:cubicBezTo>
                  <a:pt x="660083" y="780097"/>
                  <a:pt x="389573" y="988695"/>
                  <a:pt x="310515" y="1287780"/>
                </a:cubicBezTo>
                <a:cubicBezTo>
                  <a:pt x="200025" y="1705928"/>
                  <a:pt x="496253" y="2120265"/>
                  <a:pt x="524828" y="2551748"/>
                </a:cubicBezTo>
                <a:cubicBezTo>
                  <a:pt x="558165" y="3039428"/>
                  <a:pt x="254318" y="3474720"/>
                  <a:pt x="52388" y="3919538"/>
                </a:cubicBezTo>
                <a:cubicBezTo>
                  <a:pt x="33338" y="3960495"/>
                  <a:pt x="16193" y="4004310"/>
                  <a:pt x="0" y="4048125"/>
                </a:cubicBezTo>
                <a:lnTo>
                  <a:pt x="133350" y="4048125"/>
                </a:lnTo>
                <a:cubicBezTo>
                  <a:pt x="149543" y="4004310"/>
                  <a:pt x="166688" y="3961448"/>
                  <a:pt x="185738" y="3919538"/>
                </a:cubicBezTo>
                <a:cubicBezTo>
                  <a:pt x="387668" y="3474720"/>
                  <a:pt x="691515" y="3038475"/>
                  <a:pt x="658178" y="2551748"/>
                </a:cubicBezTo>
                <a:cubicBezTo>
                  <a:pt x="628650" y="2120265"/>
                  <a:pt x="333375" y="1705928"/>
                  <a:pt x="443865" y="1287780"/>
                </a:cubicBezTo>
                <a:cubicBezTo>
                  <a:pt x="522923" y="988695"/>
                  <a:pt x="792480" y="780097"/>
                  <a:pt x="1069658" y="641985"/>
                </a:cubicBezTo>
                <a:cubicBezTo>
                  <a:pt x="1345883" y="503873"/>
                  <a:pt x="1648778" y="411480"/>
                  <a:pt x="1898333" y="229552"/>
                </a:cubicBezTo>
                <a:cubicBezTo>
                  <a:pt x="1985010" y="166688"/>
                  <a:pt x="2064067" y="87630"/>
                  <a:pt x="2127885" y="0"/>
                </a:cubicBezTo>
                <a:cubicBezTo>
                  <a:pt x="2047875" y="103823"/>
                  <a:pt x="1943100" y="193358"/>
                  <a:pt x="1830705" y="259080"/>
                </a:cubicBezTo>
                <a:close/>
              </a:path>
            </a:pathLst>
          </a:custGeom>
          <a:solidFill>
            <a:schemeClr val="accent3">
              <a:lumMod val="75000"/>
            </a:schemeClr>
          </a:solidFill>
          <a:ln w="9525" cap="flat">
            <a:noFill/>
            <a:prstDash val="solid"/>
            <a:miter/>
          </a:ln>
        </p:spPr>
        <p:txBody>
          <a:bodyPr rtlCol="0" anchor="ctr"/>
          <a:lstStyle/>
          <a:p>
            <a:endParaRPr lang="zh-CN" altLang="en-US"/>
          </a:p>
        </p:txBody>
      </p:sp>
      <p:sp>
        <p:nvSpPr>
          <p:cNvPr id="9801" name="副标题 2"/>
          <p:cNvSpPr>
            <a:spLocks noGrp="1"/>
          </p:cNvSpPr>
          <p:nvPr userDrawn="1">
            <p:ph type="subTitle" idx="1" hasCustomPrompt="1"/>
          </p:nvPr>
        </p:nvSpPr>
        <p:spPr>
          <a:xfrm>
            <a:off x="673099" y="4029160"/>
            <a:ext cx="6819901" cy="558799"/>
          </a:xfrm>
        </p:spPr>
        <p:txBody>
          <a:bodyPr anchor="t">
            <a:normAutofit/>
          </a:bodyPr>
          <a:lstStyle>
            <a:lvl1pPr marL="0" indent="0" algn="l">
              <a:buNone/>
              <a:defRPr sz="1600" i="1">
                <a:solidFill>
                  <a:schemeClr val="accent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673099" y="2008036"/>
            <a:ext cx="6819901" cy="2021125"/>
          </a:xfrm>
        </p:spPr>
        <p:txBody>
          <a:bodyPr anchor="b">
            <a:normAutofit/>
          </a:bodyPr>
          <a:lstStyle>
            <a:lvl1pPr algn="l">
              <a:defRPr sz="4000" i="1">
                <a:solidFill>
                  <a:schemeClr val="accent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099" y="4863960"/>
            <a:ext cx="6819901" cy="296271"/>
          </a:xfrm>
        </p:spPr>
        <p:txBody>
          <a:bodyPr vert="horz" anchor="ctr">
            <a:noAutofit/>
          </a:bodyPr>
          <a:lstStyle>
            <a:lvl1pPr marL="0" indent="0" algn="l">
              <a:buNone/>
              <a:defRPr sz="1400" b="0" i="1">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099" y="5160231"/>
            <a:ext cx="6819901" cy="296271"/>
          </a:xfrm>
        </p:spPr>
        <p:txBody>
          <a:bodyPr vert="horz" anchor="ctr">
            <a:noAutofit/>
          </a:bodyPr>
          <a:lstStyle>
            <a:lvl1pPr marL="0" indent="0" algn="l">
              <a:buNone/>
              <a:defRPr sz="1400" b="0" i="1">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7" name="任意多边形: 形状 16">
            <a:extLst>
              <a:ext uri="{FF2B5EF4-FFF2-40B4-BE49-F238E27FC236}">
                <a16:creationId xmlns:a16="http://schemas.microsoft.com/office/drawing/2014/main" id="{C2FF722E-16CB-41F6-B5F4-D62EBDFC5BCD}"/>
              </a:ext>
            </a:extLst>
          </p:cNvPr>
          <p:cNvSpPr/>
          <p:nvPr/>
        </p:nvSpPr>
        <p:spPr>
          <a:xfrm>
            <a:off x="11735773" y="155352"/>
            <a:ext cx="152010" cy="152010"/>
          </a:xfrm>
          <a:custGeom>
            <a:avLst/>
            <a:gdLst>
              <a:gd name="connsiteX0" fmla="*/ 6429 w 104775"/>
              <a:gd name="connsiteY0" fmla="*/ 63579 h 104775"/>
              <a:gd name="connsiteX1" fmla="*/ 23574 w 104775"/>
              <a:gd name="connsiteY1" fmla="*/ 66437 h 104775"/>
              <a:gd name="connsiteX2" fmla="*/ 45482 w 104775"/>
              <a:gd name="connsiteY2" fmla="*/ 88344 h 104775"/>
              <a:gd name="connsiteX3" fmla="*/ 48339 w 104775"/>
              <a:gd name="connsiteY3" fmla="*/ 105489 h 104775"/>
              <a:gd name="connsiteX4" fmla="*/ 63579 w 104775"/>
              <a:gd name="connsiteY4" fmla="*/ 105489 h 104775"/>
              <a:gd name="connsiteX5" fmla="*/ 66437 w 104775"/>
              <a:gd name="connsiteY5" fmla="*/ 88344 h 104775"/>
              <a:gd name="connsiteX6" fmla="*/ 88344 w 104775"/>
              <a:gd name="connsiteY6" fmla="*/ 66437 h 104775"/>
              <a:gd name="connsiteX7" fmla="*/ 105489 w 104775"/>
              <a:gd name="connsiteY7" fmla="*/ 63579 h 104775"/>
              <a:gd name="connsiteX8" fmla="*/ 105489 w 104775"/>
              <a:gd name="connsiteY8" fmla="*/ 48339 h 104775"/>
              <a:gd name="connsiteX9" fmla="*/ 88344 w 104775"/>
              <a:gd name="connsiteY9" fmla="*/ 45482 h 104775"/>
              <a:gd name="connsiteX10" fmla="*/ 66437 w 104775"/>
              <a:gd name="connsiteY10" fmla="*/ 23574 h 104775"/>
              <a:gd name="connsiteX11" fmla="*/ 63579 w 104775"/>
              <a:gd name="connsiteY11" fmla="*/ 6429 h 104775"/>
              <a:gd name="connsiteX12" fmla="*/ 48339 w 104775"/>
              <a:gd name="connsiteY12" fmla="*/ 6429 h 104775"/>
              <a:gd name="connsiteX13" fmla="*/ 45482 w 104775"/>
              <a:gd name="connsiteY13" fmla="*/ 23574 h 104775"/>
              <a:gd name="connsiteX14" fmla="*/ 23574 w 104775"/>
              <a:gd name="connsiteY14" fmla="*/ 45482 h 104775"/>
              <a:gd name="connsiteX15" fmla="*/ 6429 w 104775"/>
              <a:gd name="connsiteY15" fmla="*/ 48339 h 104775"/>
              <a:gd name="connsiteX16" fmla="*/ 6429 w 104775"/>
              <a:gd name="connsiteY16" fmla="*/ 6357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6429" y="63579"/>
                </a:move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4062" y="62627"/>
                  <a:pt x="114062" y="49292"/>
                  <a:pt x="105489" y="48339"/>
                </a:cubicBezTo>
                <a:lnTo>
                  <a:pt x="88344" y="45482"/>
                </a:lnTo>
                <a:cubicBezTo>
                  <a:pt x="76914" y="43577"/>
                  <a:pt x="68342" y="35004"/>
                  <a:pt x="66437" y="23574"/>
                </a:cubicBezTo>
                <a:lnTo>
                  <a:pt x="63579" y="6429"/>
                </a:lnTo>
                <a:cubicBezTo>
                  <a:pt x="62627" y="-2143"/>
                  <a:pt x="49292" y="-2143"/>
                  <a:pt x="48339" y="6429"/>
                </a:cubicBezTo>
                <a:lnTo>
                  <a:pt x="45482" y="23574"/>
                </a:lnTo>
                <a:cubicBezTo>
                  <a:pt x="43577" y="35004"/>
                  <a:pt x="35004" y="43577"/>
                  <a:pt x="23574" y="45482"/>
                </a:cubicBezTo>
                <a:lnTo>
                  <a:pt x="6429" y="48339"/>
                </a:lnTo>
                <a:cubicBezTo>
                  <a:pt x="-2143" y="50244"/>
                  <a:pt x="-2143" y="62627"/>
                  <a:pt x="6429" y="63579"/>
                </a:cubicBezTo>
                <a:close/>
              </a:path>
            </a:pathLst>
          </a:custGeom>
          <a:solidFill>
            <a:schemeClr val="accent2"/>
          </a:solidFill>
          <a:ln w="9525"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id="{74A0D5B5-C797-4D92-A644-898301B76EDD}"/>
              </a:ext>
            </a:extLst>
          </p:cNvPr>
          <p:cNvSpPr/>
          <p:nvPr/>
        </p:nvSpPr>
        <p:spPr>
          <a:xfrm>
            <a:off x="9032766" y="2045799"/>
            <a:ext cx="152010" cy="152010"/>
          </a:xfrm>
          <a:custGeom>
            <a:avLst/>
            <a:gdLst>
              <a:gd name="connsiteX0" fmla="*/ 105489 w 104775"/>
              <a:gd name="connsiteY0" fmla="*/ 48339 h 104775"/>
              <a:gd name="connsiteX1" fmla="*/ 88344 w 104775"/>
              <a:gd name="connsiteY1" fmla="*/ 45482 h 104775"/>
              <a:gd name="connsiteX2" fmla="*/ 66437 w 104775"/>
              <a:gd name="connsiteY2" fmla="*/ 23574 h 104775"/>
              <a:gd name="connsiteX3" fmla="*/ 63579 w 104775"/>
              <a:gd name="connsiteY3" fmla="*/ 6429 h 104775"/>
              <a:gd name="connsiteX4" fmla="*/ 48339 w 104775"/>
              <a:gd name="connsiteY4" fmla="*/ 6429 h 104775"/>
              <a:gd name="connsiteX5" fmla="*/ 45482 w 104775"/>
              <a:gd name="connsiteY5" fmla="*/ 23574 h 104775"/>
              <a:gd name="connsiteX6" fmla="*/ 23574 w 104775"/>
              <a:gd name="connsiteY6" fmla="*/ 45482 h 104775"/>
              <a:gd name="connsiteX7" fmla="*/ 6429 w 104775"/>
              <a:gd name="connsiteY7" fmla="*/ 48339 h 104775"/>
              <a:gd name="connsiteX8" fmla="*/ 6429 w 104775"/>
              <a:gd name="connsiteY8" fmla="*/ 63579 h 104775"/>
              <a:gd name="connsiteX9" fmla="*/ 23574 w 104775"/>
              <a:gd name="connsiteY9" fmla="*/ 66437 h 104775"/>
              <a:gd name="connsiteX10" fmla="*/ 45482 w 104775"/>
              <a:gd name="connsiteY10" fmla="*/ 88344 h 104775"/>
              <a:gd name="connsiteX11" fmla="*/ 48339 w 104775"/>
              <a:gd name="connsiteY11" fmla="*/ 105489 h 104775"/>
              <a:gd name="connsiteX12" fmla="*/ 63579 w 104775"/>
              <a:gd name="connsiteY12" fmla="*/ 105489 h 104775"/>
              <a:gd name="connsiteX13" fmla="*/ 66437 w 104775"/>
              <a:gd name="connsiteY13" fmla="*/ 88344 h 104775"/>
              <a:gd name="connsiteX14" fmla="*/ 88344 w 104775"/>
              <a:gd name="connsiteY14" fmla="*/ 66437 h 104775"/>
              <a:gd name="connsiteX15" fmla="*/ 105489 w 104775"/>
              <a:gd name="connsiteY15" fmla="*/ 63579 h 104775"/>
              <a:gd name="connsiteX16" fmla="*/ 105489 w 104775"/>
              <a:gd name="connsiteY16" fmla="*/ 4833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105489" y="48339"/>
                </a:moveTo>
                <a:lnTo>
                  <a:pt x="88344" y="45482"/>
                </a:lnTo>
                <a:cubicBezTo>
                  <a:pt x="76914" y="43577"/>
                  <a:pt x="68342" y="35004"/>
                  <a:pt x="66437" y="23574"/>
                </a:cubicBezTo>
                <a:lnTo>
                  <a:pt x="63579" y="6429"/>
                </a:lnTo>
                <a:cubicBezTo>
                  <a:pt x="62627" y="-2143"/>
                  <a:pt x="49292" y="-2143"/>
                  <a:pt x="48339" y="6429"/>
                </a:cubicBezTo>
                <a:lnTo>
                  <a:pt x="45482" y="23574"/>
                </a:lnTo>
                <a:cubicBezTo>
                  <a:pt x="43577" y="35004"/>
                  <a:pt x="35004" y="43577"/>
                  <a:pt x="23574" y="45482"/>
                </a:cubicBezTo>
                <a:lnTo>
                  <a:pt x="6429" y="48339"/>
                </a:lnTo>
                <a:cubicBezTo>
                  <a:pt x="-2143" y="49292"/>
                  <a:pt x="-2143" y="62627"/>
                  <a:pt x="6429" y="63579"/>
                </a:cubicBez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4062" y="62627"/>
                  <a:pt x="114062" y="49292"/>
                  <a:pt x="105489" y="48339"/>
                </a:cubicBezTo>
                <a:close/>
              </a:path>
            </a:pathLst>
          </a:custGeom>
          <a:solidFill>
            <a:schemeClr val="accent2">
              <a:lumMod val="60000"/>
              <a:lumOff val="40000"/>
            </a:schemeClr>
          </a:solidFill>
          <a:ln w="9525" cap="flat">
            <a:noFill/>
            <a:prstDash val="solid"/>
            <a:miter/>
          </a:ln>
        </p:spPr>
        <p:txBody>
          <a:bodyPr rtlCol="0" anchor="ctr"/>
          <a:lstStyle/>
          <a:p>
            <a:endParaRPr lang="zh-CN" altLang="en-US"/>
          </a:p>
        </p:txBody>
      </p:sp>
      <p:sp>
        <p:nvSpPr>
          <p:cNvPr id="19" name="任意多边形: 形状 18">
            <a:extLst>
              <a:ext uri="{FF2B5EF4-FFF2-40B4-BE49-F238E27FC236}">
                <a16:creationId xmlns:a16="http://schemas.microsoft.com/office/drawing/2014/main" id="{5E81C847-CA96-4BCC-8F74-2B2BF34B9D2D}"/>
              </a:ext>
            </a:extLst>
          </p:cNvPr>
          <p:cNvSpPr/>
          <p:nvPr/>
        </p:nvSpPr>
        <p:spPr>
          <a:xfrm>
            <a:off x="11734391" y="3017278"/>
            <a:ext cx="152010" cy="152010"/>
          </a:xfrm>
          <a:custGeom>
            <a:avLst/>
            <a:gdLst>
              <a:gd name="connsiteX0" fmla="*/ 105489 w 104775"/>
              <a:gd name="connsiteY0" fmla="*/ 48339 h 104775"/>
              <a:gd name="connsiteX1" fmla="*/ 88344 w 104775"/>
              <a:gd name="connsiteY1" fmla="*/ 45482 h 104775"/>
              <a:gd name="connsiteX2" fmla="*/ 66437 w 104775"/>
              <a:gd name="connsiteY2" fmla="*/ 23574 h 104775"/>
              <a:gd name="connsiteX3" fmla="*/ 63579 w 104775"/>
              <a:gd name="connsiteY3" fmla="*/ 6429 h 104775"/>
              <a:gd name="connsiteX4" fmla="*/ 48339 w 104775"/>
              <a:gd name="connsiteY4" fmla="*/ 6429 h 104775"/>
              <a:gd name="connsiteX5" fmla="*/ 45482 w 104775"/>
              <a:gd name="connsiteY5" fmla="*/ 23574 h 104775"/>
              <a:gd name="connsiteX6" fmla="*/ 23574 w 104775"/>
              <a:gd name="connsiteY6" fmla="*/ 45482 h 104775"/>
              <a:gd name="connsiteX7" fmla="*/ 6429 w 104775"/>
              <a:gd name="connsiteY7" fmla="*/ 48339 h 104775"/>
              <a:gd name="connsiteX8" fmla="*/ 6429 w 104775"/>
              <a:gd name="connsiteY8" fmla="*/ 63579 h 104775"/>
              <a:gd name="connsiteX9" fmla="*/ 23574 w 104775"/>
              <a:gd name="connsiteY9" fmla="*/ 66437 h 104775"/>
              <a:gd name="connsiteX10" fmla="*/ 45482 w 104775"/>
              <a:gd name="connsiteY10" fmla="*/ 88344 h 104775"/>
              <a:gd name="connsiteX11" fmla="*/ 48339 w 104775"/>
              <a:gd name="connsiteY11" fmla="*/ 105489 h 104775"/>
              <a:gd name="connsiteX12" fmla="*/ 63579 w 104775"/>
              <a:gd name="connsiteY12" fmla="*/ 105489 h 104775"/>
              <a:gd name="connsiteX13" fmla="*/ 66437 w 104775"/>
              <a:gd name="connsiteY13" fmla="*/ 88344 h 104775"/>
              <a:gd name="connsiteX14" fmla="*/ 88344 w 104775"/>
              <a:gd name="connsiteY14" fmla="*/ 66437 h 104775"/>
              <a:gd name="connsiteX15" fmla="*/ 105489 w 104775"/>
              <a:gd name="connsiteY15" fmla="*/ 63579 h 104775"/>
              <a:gd name="connsiteX16" fmla="*/ 105489 w 104775"/>
              <a:gd name="connsiteY16" fmla="*/ 4833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105489" y="48339"/>
                </a:moveTo>
                <a:lnTo>
                  <a:pt x="88344" y="45482"/>
                </a:lnTo>
                <a:cubicBezTo>
                  <a:pt x="76914" y="43577"/>
                  <a:pt x="68342" y="35004"/>
                  <a:pt x="66437" y="23574"/>
                </a:cubicBezTo>
                <a:lnTo>
                  <a:pt x="63579" y="6429"/>
                </a:lnTo>
                <a:cubicBezTo>
                  <a:pt x="62627" y="-2143"/>
                  <a:pt x="49292" y="-2143"/>
                  <a:pt x="48339" y="6429"/>
                </a:cubicBezTo>
                <a:lnTo>
                  <a:pt x="45482" y="23574"/>
                </a:lnTo>
                <a:cubicBezTo>
                  <a:pt x="43577" y="35004"/>
                  <a:pt x="35004" y="43577"/>
                  <a:pt x="23574" y="45482"/>
                </a:cubicBezTo>
                <a:lnTo>
                  <a:pt x="6429" y="48339"/>
                </a:lnTo>
                <a:cubicBezTo>
                  <a:pt x="-2143" y="49292"/>
                  <a:pt x="-2143" y="62627"/>
                  <a:pt x="6429" y="63579"/>
                </a:cubicBez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4062" y="62627"/>
                  <a:pt x="114062" y="49292"/>
                  <a:pt x="105489" y="48339"/>
                </a:cubicBezTo>
                <a:close/>
              </a:path>
            </a:pathLst>
          </a:custGeom>
          <a:solidFill>
            <a:schemeClr val="accent2">
              <a:lumMod val="60000"/>
              <a:lumOff val="40000"/>
            </a:schemeClr>
          </a:solidFill>
          <a:ln w="9525" cap="flat">
            <a:noFill/>
            <a:prstDash val="solid"/>
            <a:miter/>
          </a:ln>
        </p:spPr>
        <p:txBody>
          <a:bodyPr rtlCol="0" anchor="ctr"/>
          <a:lstStyle/>
          <a:p>
            <a:endParaRPr lang="zh-CN" altLang="en-US"/>
          </a:p>
        </p:txBody>
      </p:sp>
      <p:sp>
        <p:nvSpPr>
          <p:cNvPr id="20" name="任意多边形: 形状 19">
            <a:extLst>
              <a:ext uri="{FF2B5EF4-FFF2-40B4-BE49-F238E27FC236}">
                <a16:creationId xmlns:a16="http://schemas.microsoft.com/office/drawing/2014/main" id="{65419A1E-0E8C-424A-ADF9-5AC675180BF1}"/>
              </a:ext>
            </a:extLst>
          </p:cNvPr>
          <p:cNvSpPr/>
          <p:nvPr/>
        </p:nvSpPr>
        <p:spPr>
          <a:xfrm>
            <a:off x="8103795" y="6185359"/>
            <a:ext cx="152010" cy="152010"/>
          </a:xfrm>
          <a:custGeom>
            <a:avLst/>
            <a:gdLst>
              <a:gd name="connsiteX0" fmla="*/ 105489 w 104775"/>
              <a:gd name="connsiteY0" fmla="*/ 48339 h 104775"/>
              <a:gd name="connsiteX1" fmla="*/ 88344 w 104775"/>
              <a:gd name="connsiteY1" fmla="*/ 45482 h 104775"/>
              <a:gd name="connsiteX2" fmla="*/ 66437 w 104775"/>
              <a:gd name="connsiteY2" fmla="*/ 23574 h 104775"/>
              <a:gd name="connsiteX3" fmla="*/ 63579 w 104775"/>
              <a:gd name="connsiteY3" fmla="*/ 6429 h 104775"/>
              <a:gd name="connsiteX4" fmla="*/ 48339 w 104775"/>
              <a:gd name="connsiteY4" fmla="*/ 6429 h 104775"/>
              <a:gd name="connsiteX5" fmla="*/ 45482 w 104775"/>
              <a:gd name="connsiteY5" fmla="*/ 23574 h 104775"/>
              <a:gd name="connsiteX6" fmla="*/ 23574 w 104775"/>
              <a:gd name="connsiteY6" fmla="*/ 45482 h 104775"/>
              <a:gd name="connsiteX7" fmla="*/ 6429 w 104775"/>
              <a:gd name="connsiteY7" fmla="*/ 48339 h 104775"/>
              <a:gd name="connsiteX8" fmla="*/ 6429 w 104775"/>
              <a:gd name="connsiteY8" fmla="*/ 63579 h 104775"/>
              <a:gd name="connsiteX9" fmla="*/ 23574 w 104775"/>
              <a:gd name="connsiteY9" fmla="*/ 66437 h 104775"/>
              <a:gd name="connsiteX10" fmla="*/ 45482 w 104775"/>
              <a:gd name="connsiteY10" fmla="*/ 88344 h 104775"/>
              <a:gd name="connsiteX11" fmla="*/ 48339 w 104775"/>
              <a:gd name="connsiteY11" fmla="*/ 105489 h 104775"/>
              <a:gd name="connsiteX12" fmla="*/ 63579 w 104775"/>
              <a:gd name="connsiteY12" fmla="*/ 105489 h 104775"/>
              <a:gd name="connsiteX13" fmla="*/ 66437 w 104775"/>
              <a:gd name="connsiteY13" fmla="*/ 88344 h 104775"/>
              <a:gd name="connsiteX14" fmla="*/ 88344 w 104775"/>
              <a:gd name="connsiteY14" fmla="*/ 66437 h 104775"/>
              <a:gd name="connsiteX15" fmla="*/ 105489 w 104775"/>
              <a:gd name="connsiteY15" fmla="*/ 63579 h 104775"/>
              <a:gd name="connsiteX16" fmla="*/ 105489 w 104775"/>
              <a:gd name="connsiteY16" fmla="*/ 4833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105489" y="48339"/>
                </a:moveTo>
                <a:lnTo>
                  <a:pt x="88344" y="45482"/>
                </a:lnTo>
                <a:cubicBezTo>
                  <a:pt x="76914" y="43577"/>
                  <a:pt x="68342" y="35004"/>
                  <a:pt x="66437" y="23574"/>
                </a:cubicBezTo>
                <a:lnTo>
                  <a:pt x="63579" y="6429"/>
                </a:lnTo>
                <a:cubicBezTo>
                  <a:pt x="62627" y="-2143"/>
                  <a:pt x="49292" y="-2143"/>
                  <a:pt x="48339" y="6429"/>
                </a:cubicBezTo>
                <a:lnTo>
                  <a:pt x="45482" y="23574"/>
                </a:lnTo>
                <a:cubicBezTo>
                  <a:pt x="43577" y="35004"/>
                  <a:pt x="35004" y="43577"/>
                  <a:pt x="23574" y="45482"/>
                </a:cubicBezTo>
                <a:lnTo>
                  <a:pt x="6429" y="48339"/>
                </a:lnTo>
                <a:cubicBezTo>
                  <a:pt x="-2143" y="49292"/>
                  <a:pt x="-2143" y="62627"/>
                  <a:pt x="6429" y="63579"/>
                </a:cubicBez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4062" y="62627"/>
                  <a:pt x="114062" y="50244"/>
                  <a:pt x="105489" y="48339"/>
                </a:cubicBezTo>
                <a:close/>
              </a:path>
            </a:pathLst>
          </a:custGeom>
          <a:solidFill>
            <a:schemeClr val="accent2">
              <a:lumMod val="60000"/>
              <a:lumOff val="40000"/>
            </a:schemeClr>
          </a:solidFill>
          <a:ln w="9525" cap="flat">
            <a:noFill/>
            <a:prstDash val="solid"/>
            <a:miter/>
          </a:ln>
        </p:spPr>
        <p:txBody>
          <a:bodyPr rtlCol="0" anchor="ctr"/>
          <a:lstStyle/>
          <a:p>
            <a:endParaRPr lang="zh-CN" altLang="en-US"/>
          </a:p>
        </p:txBody>
      </p:sp>
      <p:sp>
        <p:nvSpPr>
          <p:cNvPr id="21" name="任意多边形: 形状 20">
            <a:extLst>
              <a:ext uri="{FF2B5EF4-FFF2-40B4-BE49-F238E27FC236}">
                <a16:creationId xmlns:a16="http://schemas.microsoft.com/office/drawing/2014/main" id="{A6C275AE-A2A9-4105-A01F-066F336C858A}"/>
              </a:ext>
            </a:extLst>
          </p:cNvPr>
          <p:cNvSpPr/>
          <p:nvPr/>
        </p:nvSpPr>
        <p:spPr>
          <a:xfrm>
            <a:off x="10705527" y="231357"/>
            <a:ext cx="152010" cy="152010"/>
          </a:xfrm>
          <a:custGeom>
            <a:avLst/>
            <a:gdLst>
              <a:gd name="connsiteX0" fmla="*/ 104537 w 104775"/>
              <a:gd name="connsiteY0" fmla="*/ 48339 h 104775"/>
              <a:gd name="connsiteX1" fmla="*/ 87392 w 104775"/>
              <a:gd name="connsiteY1" fmla="*/ 45482 h 104775"/>
              <a:gd name="connsiteX2" fmla="*/ 65484 w 104775"/>
              <a:gd name="connsiteY2" fmla="*/ 23574 h 104775"/>
              <a:gd name="connsiteX3" fmla="*/ 62627 w 104775"/>
              <a:gd name="connsiteY3" fmla="*/ 6429 h 104775"/>
              <a:gd name="connsiteX4" fmla="*/ 47387 w 104775"/>
              <a:gd name="connsiteY4" fmla="*/ 6429 h 104775"/>
              <a:gd name="connsiteX5" fmla="*/ 44529 w 104775"/>
              <a:gd name="connsiteY5" fmla="*/ 23574 h 104775"/>
              <a:gd name="connsiteX6" fmla="*/ 22622 w 104775"/>
              <a:gd name="connsiteY6" fmla="*/ 45482 h 104775"/>
              <a:gd name="connsiteX7" fmla="*/ 6429 w 104775"/>
              <a:gd name="connsiteY7" fmla="*/ 48339 h 104775"/>
              <a:gd name="connsiteX8" fmla="*/ 6429 w 104775"/>
              <a:gd name="connsiteY8" fmla="*/ 63579 h 104775"/>
              <a:gd name="connsiteX9" fmla="*/ 23574 w 104775"/>
              <a:gd name="connsiteY9" fmla="*/ 66437 h 104775"/>
              <a:gd name="connsiteX10" fmla="*/ 45482 w 104775"/>
              <a:gd name="connsiteY10" fmla="*/ 88344 h 104775"/>
              <a:gd name="connsiteX11" fmla="*/ 48339 w 104775"/>
              <a:gd name="connsiteY11" fmla="*/ 105489 h 104775"/>
              <a:gd name="connsiteX12" fmla="*/ 63579 w 104775"/>
              <a:gd name="connsiteY12" fmla="*/ 105489 h 104775"/>
              <a:gd name="connsiteX13" fmla="*/ 66437 w 104775"/>
              <a:gd name="connsiteY13" fmla="*/ 88344 h 104775"/>
              <a:gd name="connsiteX14" fmla="*/ 88344 w 104775"/>
              <a:gd name="connsiteY14" fmla="*/ 66437 h 104775"/>
              <a:gd name="connsiteX15" fmla="*/ 105489 w 104775"/>
              <a:gd name="connsiteY15" fmla="*/ 63579 h 104775"/>
              <a:gd name="connsiteX16" fmla="*/ 104537 w 104775"/>
              <a:gd name="connsiteY16" fmla="*/ 4833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104537" y="48339"/>
                </a:moveTo>
                <a:lnTo>
                  <a:pt x="87392" y="45482"/>
                </a:lnTo>
                <a:cubicBezTo>
                  <a:pt x="75962" y="43577"/>
                  <a:pt x="67389" y="35004"/>
                  <a:pt x="65484" y="23574"/>
                </a:cubicBezTo>
                <a:lnTo>
                  <a:pt x="62627" y="6429"/>
                </a:lnTo>
                <a:cubicBezTo>
                  <a:pt x="61674" y="-2143"/>
                  <a:pt x="48339" y="-2143"/>
                  <a:pt x="47387" y="6429"/>
                </a:cubicBezTo>
                <a:lnTo>
                  <a:pt x="44529" y="23574"/>
                </a:lnTo>
                <a:cubicBezTo>
                  <a:pt x="42624" y="35004"/>
                  <a:pt x="34052" y="43577"/>
                  <a:pt x="22622" y="45482"/>
                </a:cubicBezTo>
                <a:lnTo>
                  <a:pt x="6429" y="48339"/>
                </a:lnTo>
                <a:cubicBezTo>
                  <a:pt x="-2143" y="49292"/>
                  <a:pt x="-2143" y="62627"/>
                  <a:pt x="6429" y="63579"/>
                </a:cubicBez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3109" y="62627"/>
                  <a:pt x="113109" y="50244"/>
                  <a:pt x="104537" y="48339"/>
                </a:cubicBezTo>
                <a:close/>
              </a:path>
            </a:pathLst>
          </a:custGeom>
          <a:solidFill>
            <a:schemeClr val="accent2"/>
          </a:solidFill>
          <a:ln w="9525" cap="flat">
            <a:noFill/>
            <a:prstDash val="solid"/>
            <a:miter/>
          </a:ln>
        </p:spPr>
        <p:txBody>
          <a:bodyPr rtlCol="0" anchor="ctr"/>
          <a:lstStyle/>
          <a:p>
            <a:endParaRPr lang="zh-CN" altLang="en-US"/>
          </a:p>
        </p:txBody>
      </p:sp>
      <p:sp>
        <p:nvSpPr>
          <p:cNvPr id="22" name="任意多边形: 形状 21">
            <a:extLst>
              <a:ext uri="{FF2B5EF4-FFF2-40B4-BE49-F238E27FC236}">
                <a16:creationId xmlns:a16="http://schemas.microsoft.com/office/drawing/2014/main" id="{EF0F1919-2E36-474F-8000-27248A781E11}"/>
              </a:ext>
            </a:extLst>
          </p:cNvPr>
          <p:cNvSpPr/>
          <p:nvPr/>
        </p:nvSpPr>
        <p:spPr>
          <a:xfrm>
            <a:off x="8600940" y="5188121"/>
            <a:ext cx="124372" cy="124371"/>
          </a:xfrm>
          <a:custGeom>
            <a:avLst/>
            <a:gdLst>
              <a:gd name="connsiteX0" fmla="*/ 82153 w 85725"/>
              <a:gd name="connsiteY0" fmla="*/ 37386 h 85725"/>
              <a:gd name="connsiteX1" fmla="*/ 68818 w 85725"/>
              <a:gd name="connsiteY1" fmla="*/ 35481 h 85725"/>
              <a:gd name="connsiteX2" fmla="*/ 51673 w 85725"/>
              <a:gd name="connsiteY2" fmla="*/ 18336 h 85725"/>
              <a:gd name="connsiteX3" fmla="*/ 49768 w 85725"/>
              <a:gd name="connsiteY3" fmla="*/ 5001 h 85725"/>
              <a:gd name="connsiteX4" fmla="*/ 37386 w 85725"/>
              <a:gd name="connsiteY4" fmla="*/ 5001 h 85725"/>
              <a:gd name="connsiteX5" fmla="*/ 35481 w 85725"/>
              <a:gd name="connsiteY5" fmla="*/ 18336 h 85725"/>
              <a:gd name="connsiteX6" fmla="*/ 18336 w 85725"/>
              <a:gd name="connsiteY6" fmla="*/ 35481 h 85725"/>
              <a:gd name="connsiteX7" fmla="*/ 5001 w 85725"/>
              <a:gd name="connsiteY7" fmla="*/ 37386 h 85725"/>
              <a:gd name="connsiteX8" fmla="*/ 5001 w 85725"/>
              <a:gd name="connsiteY8" fmla="*/ 49768 h 85725"/>
              <a:gd name="connsiteX9" fmla="*/ 18336 w 85725"/>
              <a:gd name="connsiteY9" fmla="*/ 51673 h 85725"/>
              <a:gd name="connsiteX10" fmla="*/ 35481 w 85725"/>
              <a:gd name="connsiteY10" fmla="*/ 68818 h 85725"/>
              <a:gd name="connsiteX11" fmla="*/ 37386 w 85725"/>
              <a:gd name="connsiteY11" fmla="*/ 82153 h 85725"/>
              <a:gd name="connsiteX12" fmla="*/ 49768 w 85725"/>
              <a:gd name="connsiteY12" fmla="*/ 82153 h 85725"/>
              <a:gd name="connsiteX13" fmla="*/ 51673 w 85725"/>
              <a:gd name="connsiteY13" fmla="*/ 68818 h 85725"/>
              <a:gd name="connsiteX14" fmla="*/ 68818 w 85725"/>
              <a:gd name="connsiteY14" fmla="*/ 51673 h 85725"/>
              <a:gd name="connsiteX15" fmla="*/ 82153 w 85725"/>
              <a:gd name="connsiteY15" fmla="*/ 49768 h 85725"/>
              <a:gd name="connsiteX16" fmla="*/ 82153 w 85725"/>
              <a:gd name="connsiteY16" fmla="*/ 3738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725" h="85725">
                <a:moveTo>
                  <a:pt x="82153" y="37386"/>
                </a:moveTo>
                <a:lnTo>
                  <a:pt x="68818" y="35481"/>
                </a:lnTo>
                <a:cubicBezTo>
                  <a:pt x="60246" y="34528"/>
                  <a:pt x="52626" y="26908"/>
                  <a:pt x="51673" y="18336"/>
                </a:cubicBezTo>
                <a:lnTo>
                  <a:pt x="49768" y="5001"/>
                </a:lnTo>
                <a:cubicBezTo>
                  <a:pt x="48816" y="-1667"/>
                  <a:pt x="38338" y="-1667"/>
                  <a:pt x="37386" y="5001"/>
                </a:cubicBezTo>
                <a:lnTo>
                  <a:pt x="35481" y="18336"/>
                </a:lnTo>
                <a:cubicBezTo>
                  <a:pt x="34528" y="26908"/>
                  <a:pt x="26908" y="34528"/>
                  <a:pt x="18336" y="35481"/>
                </a:cubicBezTo>
                <a:lnTo>
                  <a:pt x="5001" y="37386"/>
                </a:lnTo>
                <a:cubicBezTo>
                  <a:pt x="-1667" y="38338"/>
                  <a:pt x="-1667" y="48816"/>
                  <a:pt x="5001" y="49768"/>
                </a:cubicBezTo>
                <a:lnTo>
                  <a:pt x="18336" y="51673"/>
                </a:lnTo>
                <a:cubicBezTo>
                  <a:pt x="26908" y="52626"/>
                  <a:pt x="34528" y="60246"/>
                  <a:pt x="35481" y="68818"/>
                </a:cubicBezTo>
                <a:lnTo>
                  <a:pt x="37386" y="82153"/>
                </a:lnTo>
                <a:cubicBezTo>
                  <a:pt x="38338" y="88821"/>
                  <a:pt x="48816" y="88821"/>
                  <a:pt x="49768" y="82153"/>
                </a:cubicBezTo>
                <a:lnTo>
                  <a:pt x="51673" y="68818"/>
                </a:lnTo>
                <a:cubicBezTo>
                  <a:pt x="52626" y="60246"/>
                  <a:pt x="60246" y="52626"/>
                  <a:pt x="68818" y="51673"/>
                </a:cubicBezTo>
                <a:lnTo>
                  <a:pt x="82153" y="49768"/>
                </a:lnTo>
                <a:cubicBezTo>
                  <a:pt x="88821" y="48816"/>
                  <a:pt x="88821" y="38338"/>
                  <a:pt x="82153" y="37386"/>
                </a:cubicBezTo>
                <a:close/>
              </a:path>
            </a:pathLst>
          </a:custGeom>
          <a:solidFill>
            <a:schemeClr val="accent1">
              <a:lumMod val="60000"/>
              <a:lumOff val="40000"/>
            </a:schemeClr>
          </a:solidFill>
          <a:ln w="9525" cap="flat">
            <a:noFill/>
            <a:prstDash val="solid"/>
            <a:miter/>
          </a:ln>
        </p:spPr>
        <p:txBody>
          <a:bodyPr rtlCol="0" anchor="ctr"/>
          <a:lstStyle/>
          <a:p>
            <a:endParaRPr lang="zh-CN" altLang="en-US"/>
          </a:p>
        </p:txBody>
      </p:sp>
      <p:sp>
        <p:nvSpPr>
          <p:cNvPr id="23" name="任意多边形: 形状 22">
            <a:extLst>
              <a:ext uri="{FF2B5EF4-FFF2-40B4-BE49-F238E27FC236}">
                <a16:creationId xmlns:a16="http://schemas.microsoft.com/office/drawing/2014/main" id="{96DBFC60-7B53-4871-934E-301E88AFBA35}"/>
              </a:ext>
            </a:extLst>
          </p:cNvPr>
          <p:cNvSpPr/>
          <p:nvPr/>
        </p:nvSpPr>
        <p:spPr>
          <a:xfrm>
            <a:off x="11523651" y="6464441"/>
            <a:ext cx="124372" cy="124371"/>
          </a:xfrm>
          <a:custGeom>
            <a:avLst/>
            <a:gdLst>
              <a:gd name="connsiteX0" fmla="*/ 82153 w 85725"/>
              <a:gd name="connsiteY0" fmla="*/ 37386 h 85725"/>
              <a:gd name="connsiteX1" fmla="*/ 68818 w 85725"/>
              <a:gd name="connsiteY1" fmla="*/ 35481 h 85725"/>
              <a:gd name="connsiteX2" fmla="*/ 51673 w 85725"/>
              <a:gd name="connsiteY2" fmla="*/ 18336 h 85725"/>
              <a:gd name="connsiteX3" fmla="*/ 49768 w 85725"/>
              <a:gd name="connsiteY3" fmla="*/ 5001 h 85725"/>
              <a:gd name="connsiteX4" fmla="*/ 37386 w 85725"/>
              <a:gd name="connsiteY4" fmla="*/ 5001 h 85725"/>
              <a:gd name="connsiteX5" fmla="*/ 35481 w 85725"/>
              <a:gd name="connsiteY5" fmla="*/ 18336 h 85725"/>
              <a:gd name="connsiteX6" fmla="*/ 18336 w 85725"/>
              <a:gd name="connsiteY6" fmla="*/ 35481 h 85725"/>
              <a:gd name="connsiteX7" fmla="*/ 5001 w 85725"/>
              <a:gd name="connsiteY7" fmla="*/ 37386 h 85725"/>
              <a:gd name="connsiteX8" fmla="*/ 5001 w 85725"/>
              <a:gd name="connsiteY8" fmla="*/ 49768 h 85725"/>
              <a:gd name="connsiteX9" fmla="*/ 18336 w 85725"/>
              <a:gd name="connsiteY9" fmla="*/ 51673 h 85725"/>
              <a:gd name="connsiteX10" fmla="*/ 35481 w 85725"/>
              <a:gd name="connsiteY10" fmla="*/ 68818 h 85725"/>
              <a:gd name="connsiteX11" fmla="*/ 37386 w 85725"/>
              <a:gd name="connsiteY11" fmla="*/ 82153 h 85725"/>
              <a:gd name="connsiteX12" fmla="*/ 49768 w 85725"/>
              <a:gd name="connsiteY12" fmla="*/ 82153 h 85725"/>
              <a:gd name="connsiteX13" fmla="*/ 51673 w 85725"/>
              <a:gd name="connsiteY13" fmla="*/ 68818 h 85725"/>
              <a:gd name="connsiteX14" fmla="*/ 68818 w 85725"/>
              <a:gd name="connsiteY14" fmla="*/ 51673 h 85725"/>
              <a:gd name="connsiteX15" fmla="*/ 82153 w 85725"/>
              <a:gd name="connsiteY15" fmla="*/ 49768 h 85725"/>
              <a:gd name="connsiteX16" fmla="*/ 82153 w 85725"/>
              <a:gd name="connsiteY16" fmla="*/ 3738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725" h="85725">
                <a:moveTo>
                  <a:pt x="82153" y="37386"/>
                </a:moveTo>
                <a:lnTo>
                  <a:pt x="68818" y="35481"/>
                </a:lnTo>
                <a:cubicBezTo>
                  <a:pt x="60246" y="34528"/>
                  <a:pt x="52626" y="26908"/>
                  <a:pt x="51673" y="18336"/>
                </a:cubicBezTo>
                <a:lnTo>
                  <a:pt x="49768" y="5001"/>
                </a:lnTo>
                <a:cubicBezTo>
                  <a:pt x="48816" y="-1667"/>
                  <a:pt x="38338" y="-1667"/>
                  <a:pt x="37386" y="5001"/>
                </a:cubicBezTo>
                <a:lnTo>
                  <a:pt x="35481" y="18336"/>
                </a:lnTo>
                <a:cubicBezTo>
                  <a:pt x="34528" y="26908"/>
                  <a:pt x="26908" y="34528"/>
                  <a:pt x="18336" y="35481"/>
                </a:cubicBezTo>
                <a:lnTo>
                  <a:pt x="5001" y="37386"/>
                </a:lnTo>
                <a:cubicBezTo>
                  <a:pt x="-1667" y="38338"/>
                  <a:pt x="-1667" y="48816"/>
                  <a:pt x="5001" y="49768"/>
                </a:cubicBezTo>
                <a:lnTo>
                  <a:pt x="18336" y="51673"/>
                </a:lnTo>
                <a:cubicBezTo>
                  <a:pt x="26908" y="52626"/>
                  <a:pt x="34528" y="60246"/>
                  <a:pt x="35481" y="68818"/>
                </a:cubicBezTo>
                <a:lnTo>
                  <a:pt x="37386" y="82153"/>
                </a:lnTo>
                <a:cubicBezTo>
                  <a:pt x="38338" y="88821"/>
                  <a:pt x="48816" y="88821"/>
                  <a:pt x="49768" y="82153"/>
                </a:cubicBezTo>
                <a:lnTo>
                  <a:pt x="51673" y="68818"/>
                </a:lnTo>
                <a:cubicBezTo>
                  <a:pt x="52626" y="60246"/>
                  <a:pt x="60246" y="52626"/>
                  <a:pt x="68818" y="51673"/>
                </a:cubicBezTo>
                <a:lnTo>
                  <a:pt x="82153" y="49768"/>
                </a:lnTo>
                <a:cubicBezTo>
                  <a:pt x="88821" y="47863"/>
                  <a:pt x="88821" y="38338"/>
                  <a:pt x="82153" y="37386"/>
                </a:cubicBezTo>
                <a:close/>
              </a:path>
            </a:pathLst>
          </a:custGeom>
          <a:solidFill>
            <a:schemeClr val="accent1">
              <a:lumMod val="60000"/>
              <a:lumOff val="40000"/>
            </a:schemeClr>
          </a:solidFill>
          <a:ln w="9525" cap="flat">
            <a:noFill/>
            <a:prstDash val="solid"/>
            <a:miter/>
          </a:ln>
        </p:spPr>
        <p:txBody>
          <a:bodyPr rtlCol="0" anchor="ctr"/>
          <a:lstStyle/>
          <a:p>
            <a:endParaRPr lang="zh-CN" altLang="en-US"/>
          </a:p>
        </p:txBody>
      </p:sp>
      <p:sp>
        <p:nvSpPr>
          <p:cNvPr id="24" name="任意多边形: 形状 23">
            <a:extLst>
              <a:ext uri="{FF2B5EF4-FFF2-40B4-BE49-F238E27FC236}">
                <a16:creationId xmlns:a16="http://schemas.microsoft.com/office/drawing/2014/main" id="{9C801324-2737-4900-930B-DF1D03A322AF}"/>
              </a:ext>
            </a:extLst>
          </p:cNvPr>
          <p:cNvSpPr/>
          <p:nvPr/>
        </p:nvSpPr>
        <p:spPr>
          <a:xfrm>
            <a:off x="9765269" y="2922715"/>
            <a:ext cx="124372" cy="124371"/>
          </a:xfrm>
          <a:custGeom>
            <a:avLst/>
            <a:gdLst>
              <a:gd name="connsiteX0" fmla="*/ 82153 w 85725"/>
              <a:gd name="connsiteY0" fmla="*/ 37386 h 85725"/>
              <a:gd name="connsiteX1" fmla="*/ 68818 w 85725"/>
              <a:gd name="connsiteY1" fmla="*/ 35481 h 85725"/>
              <a:gd name="connsiteX2" fmla="*/ 51673 w 85725"/>
              <a:gd name="connsiteY2" fmla="*/ 18336 h 85725"/>
              <a:gd name="connsiteX3" fmla="*/ 49768 w 85725"/>
              <a:gd name="connsiteY3" fmla="*/ 5001 h 85725"/>
              <a:gd name="connsiteX4" fmla="*/ 37386 w 85725"/>
              <a:gd name="connsiteY4" fmla="*/ 5001 h 85725"/>
              <a:gd name="connsiteX5" fmla="*/ 35481 w 85725"/>
              <a:gd name="connsiteY5" fmla="*/ 18336 h 85725"/>
              <a:gd name="connsiteX6" fmla="*/ 18336 w 85725"/>
              <a:gd name="connsiteY6" fmla="*/ 35481 h 85725"/>
              <a:gd name="connsiteX7" fmla="*/ 5001 w 85725"/>
              <a:gd name="connsiteY7" fmla="*/ 37386 h 85725"/>
              <a:gd name="connsiteX8" fmla="*/ 5001 w 85725"/>
              <a:gd name="connsiteY8" fmla="*/ 49768 h 85725"/>
              <a:gd name="connsiteX9" fmla="*/ 18336 w 85725"/>
              <a:gd name="connsiteY9" fmla="*/ 51673 h 85725"/>
              <a:gd name="connsiteX10" fmla="*/ 35481 w 85725"/>
              <a:gd name="connsiteY10" fmla="*/ 68818 h 85725"/>
              <a:gd name="connsiteX11" fmla="*/ 37386 w 85725"/>
              <a:gd name="connsiteY11" fmla="*/ 82153 h 85725"/>
              <a:gd name="connsiteX12" fmla="*/ 49768 w 85725"/>
              <a:gd name="connsiteY12" fmla="*/ 82153 h 85725"/>
              <a:gd name="connsiteX13" fmla="*/ 51673 w 85725"/>
              <a:gd name="connsiteY13" fmla="*/ 68818 h 85725"/>
              <a:gd name="connsiteX14" fmla="*/ 68818 w 85725"/>
              <a:gd name="connsiteY14" fmla="*/ 51673 h 85725"/>
              <a:gd name="connsiteX15" fmla="*/ 82153 w 85725"/>
              <a:gd name="connsiteY15" fmla="*/ 49768 h 85725"/>
              <a:gd name="connsiteX16" fmla="*/ 82153 w 85725"/>
              <a:gd name="connsiteY16" fmla="*/ 3738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725" h="85725">
                <a:moveTo>
                  <a:pt x="82153" y="37386"/>
                </a:moveTo>
                <a:lnTo>
                  <a:pt x="68818" y="35481"/>
                </a:lnTo>
                <a:cubicBezTo>
                  <a:pt x="60246" y="34528"/>
                  <a:pt x="52626" y="26908"/>
                  <a:pt x="51673" y="18336"/>
                </a:cubicBezTo>
                <a:lnTo>
                  <a:pt x="49768" y="5001"/>
                </a:lnTo>
                <a:cubicBezTo>
                  <a:pt x="48816" y="-1667"/>
                  <a:pt x="38338" y="-1667"/>
                  <a:pt x="37386" y="5001"/>
                </a:cubicBezTo>
                <a:lnTo>
                  <a:pt x="35481" y="18336"/>
                </a:lnTo>
                <a:cubicBezTo>
                  <a:pt x="34528" y="26908"/>
                  <a:pt x="26908" y="34528"/>
                  <a:pt x="18336" y="35481"/>
                </a:cubicBezTo>
                <a:lnTo>
                  <a:pt x="5001" y="37386"/>
                </a:lnTo>
                <a:cubicBezTo>
                  <a:pt x="-1667" y="38338"/>
                  <a:pt x="-1667" y="48816"/>
                  <a:pt x="5001" y="49768"/>
                </a:cubicBezTo>
                <a:lnTo>
                  <a:pt x="18336" y="51673"/>
                </a:lnTo>
                <a:cubicBezTo>
                  <a:pt x="26908" y="52626"/>
                  <a:pt x="34528" y="60246"/>
                  <a:pt x="35481" y="68818"/>
                </a:cubicBezTo>
                <a:lnTo>
                  <a:pt x="37386" y="82153"/>
                </a:lnTo>
                <a:cubicBezTo>
                  <a:pt x="38338" y="88821"/>
                  <a:pt x="48816" y="88821"/>
                  <a:pt x="49768" y="82153"/>
                </a:cubicBezTo>
                <a:lnTo>
                  <a:pt x="51673" y="68818"/>
                </a:lnTo>
                <a:cubicBezTo>
                  <a:pt x="52626" y="60246"/>
                  <a:pt x="60246" y="52626"/>
                  <a:pt x="68818" y="51673"/>
                </a:cubicBezTo>
                <a:lnTo>
                  <a:pt x="82153" y="49768"/>
                </a:lnTo>
                <a:cubicBezTo>
                  <a:pt x="88821" y="47863"/>
                  <a:pt x="88821" y="38338"/>
                  <a:pt x="82153" y="37386"/>
                </a:cubicBezTo>
                <a:close/>
              </a:path>
            </a:pathLst>
          </a:custGeom>
          <a:solidFill>
            <a:schemeClr val="accent2">
              <a:lumMod val="60000"/>
              <a:lumOff val="40000"/>
            </a:schemeClr>
          </a:solidFill>
          <a:ln w="9525" cap="flat">
            <a:noFill/>
            <a:prstDash val="solid"/>
            <a:miter/>
          </a:ln>
        </p:spPr>
        <p:txBody>
          <a:bodyPr rtlCol="0" anchor="ctr"/>
          <a:lstStyle/>
          <a:p>
            <a:endParaRPr lang="zh-CN" altLang="en-US"/>
          </a:p>
        </p:txBody>
      </p:sp>
      <p:sp>
        <p:nvSpPr>
          <p:cNvPr id="25" name="任意多边形: 形状 24">
            <a:extLst>
              <a:ext uri="{FF2B5EF4-FFF2-40B4-BE49-F238E27FC236}">
                <a16:creationId xmlns:a16="http://schemas.microsoft.com/office/drawing/2014/main" id="{24CC7324-2AD9-4215-98B7-B34D6FDA3E91}"/>
              </a:ext>
            </a:extLst>
          </p:cNvPr>
          <p:cNvSpPr/>
          <p:nvPr/>
        </p:nvSpPr>
        <p:spPr>
          <a:xfrm>
            <a:off x="11380440" y="1910946"/>
            <a:ext cx="69095" cy="69095"/>
          </a:xfrm>
          <a:custGeom>
            <a:avLst/>
            <a:gdLst>
              <a:gd name="connsiteX0" fmla="*/ 3572 w 47625"/>
              <a:gd name="connsiteY0" fmla="*/ 29527 h 47625"/>
              <a:gd name="connsiteX1" fmla="*/ 11192 w 47625"/>
              <a:gd name="connsiteY1" fmla="*/ 30480 h 47625"/>
              <a:gd name="connsiteX2" fmla="*/ 21669 w 47625"/>
              <a:gd name="connsiteY2" fmla="*/ 40957 h 47625"/>
              <a:gd name="connsiteX3" fmla="*/ 22622 w 47625"/>
              <a:gd name="connsiteY3" fmla="*/ 48577 h 47625"/>
              <a:gd name="connsiteX4" fmla="*/ 30242 w 47625"/>
              <a:gd name="connsiteY4" fmla="*/ 48577 h 47625"/>
              <a:gd name="connsiteX5" fmla="*/ 31194 w 47625"/>
              <a:gd name="connsiteY5" fmla="*/ 40957 h 47625"/>
              <a:gd name="connsiteX6" fmla="*/ 41672 w 47625"/>
              <a:gd name="connsiteY6" fmla="*/ 30480 h 47625"/>
              <a:gd name="connsiteX7" fmla="*/ 49292 w 47625"/>
              <a:gd name="connsiteY7" fmla="*/ 29527 h 47625"/>
              <a:gd name="connsiteX8" fmla="*/ 49292 w 47625"/>
              <a:gd name="connsiteY8" fmla="*/ 21907 h 47625"/>
              <a:gd name="connsiteX9" fmla="*/ 41672 w 47625"/>
              <a:gd name="connsiteY9" fmla="*/ 20955 h 47625"/>
              <a:gd name="connsiteX10" fmla="*/ 31194 w 47625"/>
              <a:gd name="connsiteY10" fmla="*/ 10477 h 47625"/>
              <a:gd name="connsiteX11" fmla="*/ 30242 w 47625"/>
              <a:gd name="connsiteY11" fmla="*/ 2857 h 47625"/>
              <a:gd name="connsiteX12" fmla="*/ 22622 w 47625"/>
              <a:gd name="connsiteY12" fmla="*/ 2857 h 47625"/>
              <a:gd name="connsiteX13" fmla="*/ 21669 w 47625"/>
              <a:gd name="connsiteY13" fmla="*/ 10477 h 47625"/>
              <a:gd name="connsiteX14" fmla="*/ 11192 w 47625"/>
              <a:gd name="connsiteY14" fmla="*/ 20955 h 47625"/>
              <a:gd name="connsiteX15" fmla="*/ 3572 w 47625"/>
              <a:gd name="connsiteY15" fmla="*/ 21907 h 47625"/>
              <a:gd name="connsiteX16" fmla="*/ 3572 w 47625"/>
              <a:gd name="connsiteY16" fmla="*/ 2952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3572" y="29527"/>
                </a:moveTo>
                <a:lnTo>
                  <a:pt x="11192" y="30480"/>
                </a:lnTo>
                <a:cubicBezTo>
                  <a:pt x="15954" y="31432"/>
                  <a:pt x="20717" y="35242"/>
                  <a:pt x="21669" y="40957"/>
                </a:cubicBezTo>
                <a:lnTo>
                  <a:pt x="22622" y="48577"/>
                </a:lnTo>
                <a:cubicBezTo>
                  <a:pt x="23574" y="52388"/>
                  <a:pt x="29289" y="52388"/>
                  <a:pt x="30242" y="48577"/>
                </a:cubicBezTo>
                <a:lnTo>
                  <a:pt x="31194" y="40957"/>
                </a:lnTo>
                <a:cubicBezTo>
                  <a:pt x="32147" y="36195"/>
                  <a:pt x="35957" y="31432"/>
                  <a:pt x="41672" y="30480"/>
                </a:cubicBezTo>
                <a:lnTo>
                  <a:pt x="49292" y="29527"/>
                </a:lnTo>
                <a:cubicBezTo>
                  <a:pt x="53102" y="28575"/>
                  <a:pt x="53102" y="22860"/>
                  <a:pt x="49292" y="21907"/>
                </a:cubicBezTo>
                <a:lnTo>
                  <a:pt x="41672" y="20955"/>
                </a:lnTo>
                <a:cubicBezTo>
                  <a:pt x="36909" y="20002"/>
                  <a:pt x="32147" y="16192"/>
                  <a:pt x="31194" y="10477"/>
                </a:cubicBezTo>
                <a:lnTo>
                  <a:pt x="30242" y="2857"/>
                </a:lnTo>
                <a:cubicBezTo>
                  <a:pt x="29289" y="-952"/>
                  <a:pt x="23574" y="-952"/>
                  <a:pt x="22622" y="2857"/>
                </a:cubicBezTo>
                <a:lnTo>
                  <a:pt x="21669" y="10477"/>
                </a:lnTo>
                <a:cubicBezTo>
                  <a:pt x="20717" y="15240"/>
                  <a:pt x="16907" y="20002"/>
                  <a:pt x="11192" y="20955"/>
                </a:cubicBezTo>
                <a:lnTo>
                  <a:pt x="3572" y="21907"/>
                </a:lnTo>
                <a:cubicBezTo>
                  <a:pt x="-1191" y="22860"/>
                  <a:pt x="-1191" y="28575"/>
                  <a:pt x="3572" y="29527"/>
                </a:cubicBezTo>
                <a:close/>
              </a:path>
            </a:pathLst>
          </a:custGeom>
          <a:solidFill>
            <a:schemeClr val="accent6">
              <a:lumMod val="60000"/>
              <a:lumOff val="40000"/>
            </a:schemeClr>
          </a:solidFill>
          <a:ln w="9525" cap="flat">
            <a:noFill/>
            <a:prstDash val="solid"/>
            <a:miter/>
          </a:ln>
        </p:spPr>
        <p:txBody>
          <a:bodyPr rtlCol="0" anchor="ctr"/>
          <a:lstStyle/>
          <a:p>
            <a:endParaRPr lang="zh-CN" altLang="en-US"/>
          </a:p>
        </p:txBody>
      </p:sp>
      <p:sp>
        <p:nvSpPr>
          <p:cNvPr id="26" name="任意多边形: 形状 25">
            <a:extLst>
              <a:ext uri="{FF2B5EF4-FFF2-40B4-BE49-F238E27FC236}">
                <a16:creationId xmlns:a16="http://schemas.microsoft.com/office/drawing/2014/main" id="{DE09A167-8E71-4EE1-A1CD-3B42619A3CC5}"/>
              </a:ext>
            </a:extLst>
          </p:cNvPr>
          <p:cNvSpPr/>
          <p:nvPr/>
        </p:nvSpPr>
        <p:spPr>
          <a:xfrm>
            <a:off x="9430410" y="2324598"/>
            <a:ext cx="69095" cy="69095"/>
          </a:xfrm>
          <a:custGeom>
            <a:avLst/>
            <a:gdLst>
              <a:gd name="connsiteX0" fmla="*/ 48578 w 47625"/>
              <a:gd name="connsiteY0" fmla="*/ 21907 h 47625"/>
              <a:gd name="connsiteX1" fmla="*/ 40958 w 47625"/>
              <a:gd name="connsiteY1" fmla="*/ 20955 h 47625"/>
              <a:gd name="connsiteX2" fmla="*/ 30480 w 47625"/>
              <a:gd name="connsiteY2" fmla="*/ 10477 h 47625"/>
              <a:gd name="connsiteX3" fmla="*/ 29528 w 47625"/>
              <a:gd name="connsiteY3" fmla="*/ 2857 h 47625"/>
              <a:gd name="connsiteX4" fmla="*/ 21908 w 47625"/>
              <a:gd name="connsiteY4" fmla="*/ 2857 h 47625"/>
              <a:gd name="connsiteX5" fmla="*/ 20955 w 47625"/>
              <a:gd name="connsiteY5" fmla="*/ 10477 h 47625"/>
              <a:gd name="connsiteX6" fmla="*/ 10478 w 47625"/>
              <a:gd name="connsiteY6" fmla="*/ 20955 h 47625"/>
              <a:gd name="connsiteX7" fmla="*/ 2858 w 47625"/>
              <a:gd name="connsiteY7" fmla="*/ 21907 h 47625"/>
              <a:gd name="connsiteX8" fmla="*/ 2858 w 47625"/>
              <a:gd name="connsiteY8" fmla="*/ 29527 h 47625"/>
              <a:gd name="connsiteX9" fmla="*/ 10478 w 47625"/>
              <a:gd name="connsiteY9" fmla="*/ 30480 h 47625"/>
              <a:gd name="connsiteX10" fmla="*/ 20955 w 47625"/>
              <a:gd name="connsiteY10" fmla="*/ 40957 h 47625"/>
              <a:gd name="connsiteX11" fmla="*/ 21908 w 47625"/>
              <a:gd name="connsiteY11" fmla="*/ 48577 h 47625"/>
              <a:gd name="connsiteX12" fmla="*/ 29528 w 47625"/>
              <a:gd name="connsiteY12" fmla="*/ 48577 h 47625"/>
              <a:gd name="connsiteX13" fmla="*/ 30480 w 47625"/>
              <a:gd name="connsiteY13" fmla="*/ 40957 h 47625"/>
              <a:gd name="connsiteX14" fmla="*/ 40958 w 47625"/>
              <a:gd name="connsiteY14" fmla="*/ 30480 h 47625"/>
              <a:gd name="connsiteX15" fmla="*/ 48578 w 47625"/>
              <a:gd name="connsiteY15" fmla="*/ 29527 h 47625"/>
              <a:gd name="connsiteX16" fmla="*/ 48578 w 47625"/>
              <a:gd name="connsiteY1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8" y="21907"/>
                </a:moveTo>
                <a:lnTo>
                  <a:pt x="40958" y="20955"/>
                </a:lnTo>
                <a:cubicBezTo>
                  <a:pt x="35242" y="20002"/>
                  <a:pt x="31433" y="16193"/>
                  <a:pt x="30480" y="10477"/>
                </a:cubicBezTo>
                <a:lnTo>
                  <a:pt x="29528" y="2857"/>
                </a:lnTo>
                <a:cubicBezTo>
                  <a:pt x="28575" y="-952"/>
                  <a:pt x="22860" y="-952"/>
                  <a:pt x="21908" y="2857"/>
                </a:cubicBezTo>
                <a:lnTo>
                  <a:pt x="20955" y="10477"/>
                </a:lnTo>
                <a:cubicBezTo>
                  <a:pt x="20003" y="15240"/>
                  <a:pt x="16192" y="20002"/>
                  <a:pt x="10478" y="20955"/>
                </a:cubicBezTo>
                <a:lnTo>
                  <a:pt x="2858" y="21907"/>
                </a:lnTo>
                <a:cubicBezTo>
                  <a:pt x="-953" y="22860"/>
                  <a:pt x="-953" y="28575"/>
                  <a:pt x="2858" y="29527"/>
                </a:cubicBezTo>
                <a:lnTo>
                  <a:pt x="10478" y="30480"/>
                </a:lnTo>
                <a:cubicBezTo>
                  <a:pt x="15240" y="31432"/>
                  <a:pt x="20003" y="35243"/>
                  <a:pt x="20955" y="40957"/>
                </a:cubicBezTo>
                <a:lnTo>
                  <a:pt x="21908" y="48577"/>
                </a:lnTo>
                <a:cubicBezTo>
                  <a:pt x="22860" y="52387"/>
                  <a:pt x="28575" y="52387"/>
                  <a:pt x="29528" y="48577"/>
                </a:cubicBezTo>
                <a:lnTo>
                  <a:pt x="30480" y="40957"/>
                </a:lnTo>
                <a:cubicBezTo>
                  <a:pt x="31433" y="36195"/>
                  <a:pt x="35242" y="31432"/>
                  <a:pt x="40958" y="30480"/>
                </a:cubicBezTo>
                <a:lnTo>
                  <a:pt x="48578" y="29527"/>
                </a:lnTo>
                <a:cubicBezTo>
                  <a:pt x="52387" y="27623"/>
                  <a:pt x="52387" y="21907"/>
                  <a:pt x="48578" y="21907"/>
                </a:cubicBezTo>
                <a:close/>
              </a:path>
            </a:pathLst>
          </a:custGeom>
          <a:solidFill>
            <a:schemeClr val="bg1"/>
          </a:solidFill>
          <a:ln w="9525" cap="flat">
            <a:noFill/>
            <a:prstDash val="solid"/>
            <a:miter/>
          </a:ln>
        </p:spPr>
        <p:txBody>
          <a:bodyPr rtlCol="0" anchor="ctr"/>
          <a:lstStyle/>
          <a:p>
            <a:endParaRPr lang="zh-CN" altLang="en-US"/>
          </a:p>
        </p:txBody>
      </p:sp>
      <p:sp>
        <p:nvSpPr>
          <p:cNvPr id="27" name="任意多边形: 形状 26">
            <a:extLst>
              <a:ext uri="{FF2B5EF4-FFF2-40B4-BE49-F238E27FC236}">
                <a16:creationId xmlns:a16="http://schemas.microsoft.com/office/drawing/2014/main" id="{851075C8-380A-4B6A-B98D-A20B171E240A}"/>
              </a:ext>
            </a:extLst>
          </p:cNvPr>
          <p:cNvSpPr/>
          <p:nvPr/>
        </p:nvSpPr>
        <p:spPr>
          <a:xfrm>
            <a:off x="10702438" y="1207135"/>
            <a:ext cx="69095" cy="69095"/>
          </a:xfrm>
          <a:custGeom>
            <a:avLst/>
            <a:gdLst>
              <a:gd name="connsiteX0" fmla="*/ 48577 w 47625"/>
              <a:gd name="connsiteY0" fmla="*/ 21908 h 47625"/>
              <a:gd name="connsiteX1" fmla="*/ 40958 w 47625"/>
              <a:gd name="connsiteY1" fmla="*/ 20955 h 47625"/>
              <a:gd name="connsiteX2" fmla="*/ 30480 w 47625"/>
              <a:gd name="connsiteY2" fmla="*/ 10478 h 47625"/>
              <a:gd name="connsiteX3" fmla="*/ 29527 w 47625"/>
              <a:gd name="connsiteY3" fmla="*/ 2858 h 47625"/>
              <a:gd name="connsiteX4" fmla="*/ 21908 w 47625"/>
              <a:gd name="connsiteY4" fmla="*/ 2858 h 47625"/>
              <a:gd name="connsiteX5" fmla="*/ 20955 w 47625"/>
              <a:gd name="connsiteY5" fmla="*/ 10478 h 47625"/>
              <a:gd name="connsiteX6" fmla="*/ 10477 w 47625"/>
              <a:gd name="connsiteY6" fmla="*/ 20955 h 47625"/>
              <a:gd name="connsiteX7" fmla="*/ 2858 w 47625"/>
              <a:gd name="connsiteY7" fmla="*/ 21908 h 47625"/>
              <a:gd name="connsiteX8" fmla="*/ 2858 w 47625"/>
              <a:gd name="connsiteY8" fmla="*/ 29528 h 47625"/>
              <a:gd name="connsiteX9" fmla="*/ 10477 w 47625"/>
              <a:gd name="connsiteY9" fmla="*/ 30480 h 47625"/>
              <a:gd name="connsiteX10" fmla="*/ 20955 w 47625"/>
              <a:gd name="connsiteY10" fmla="*/ 40958 h 47625"/>
              <a:gd name="connsiteX11" fmla="*/ 21908 w 47625"/>
              <a:gd name="connsiteY11" fmla="*/ 48578 h 47625"/>
              <a:gd name="connsiteX12" fmla="*/ 29527 w 47625"/>
              <a:gd name="connsiteY12" fmla="*/ 48578 h 47625"/>
              <a:gd name="connsiteX13" fmla="*/ 30480 w 47625"/>
              <a:gd name="connsiteY13" fmla="*/ 40958 h 47625"/>
              <a:gd name="connsiteX14" fmla="*/ 40958 w 47625"/>
              <a:gd name="connsiteY14" fmla="*/ 30480 h 47625"/>
              <a:gd name="connsiteX15" fmla="*/ 48577 w 47625"/>
              <a:gd name="connsiteY15" fmla="*/ 29528 h 47625"/>
              <a:gd name="connsiteX16" fmla="*/ 48577 w 47625"/>
              <a:gd name="connsiteY16" fmla="*/ 219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7" y="21908"/>
                </a:moveTo>
                <a:lnTo>
                  <a:pt x="40958" y="20955"/>
                </a:lnTo>
                <a:cubicBezTo>
                  <a:pt x="36195" y="20003"/>
                  <a:pt x="31433" y="16193"/>
                  <a:pt x="30480" y="10478"/>
                </a:cubicBezTo>
                <a:lnTo>
                  <a:pt x="29527" y="2858"/>
                </a:lnTo>
                <a:cubicBezTo>
                  <a:pt x="28575" y="-953"/>
                  <a:pt x="22860" y="-953"/>
                  <a:pt x="21908" y="2858"/>
                </a:cubicBezTo>
                <a:lnTo>
                  <a:pt x="20955" y="10478"/>
                </a:lnTo>
                <a:cubicBezTo>
                  <a:pt x="20002" y="15240"/>
                  <a:pt x="16193" y="20003"/>
                  <a:pt x="10477" y="20955"/>
                </a:cubicBezTo>
                <a:lnTo>
                  <a:pt x="2858" y="21908"/>
                </a:lnTo>
                <a:cubicBezTo>
                  <a:pt x="-953" y="22860"/>
                  <a:pt x="-953" y="28575"/>
                  <a:pt x="2858" y="29528"/>
                </a:cubicBezTo>
                <a:lnTo>
                  <a:pt x="10477" y="30480"/>
                </a:lnTo>
                <a:cubicBezTo>
                  <a:pt x="15240" y="31433"/>
                  <a:pt x="20002" y="35243"/>
                  <a:pt x="20955" y="40958"/>
                </a:cubicBezTo>
                <a:lnTo>
                  <a:pt x="21908" y="48578"/>
                </a:lnTo>
                <a:cubicBezTo>
                  <a:pt x="22860" y="52387"/>
                  <a:pt x="28575" y="52387"/>
                  <a:pt x="29527" y="48578"/>
                </a:cubicBezTo>
                <a:lnTo>
                  <a:pt x="30480" y="40958"/>
                </a:lnTo>
                <a:cubicBezTo>
                  <a:pt x="31433" y="36195"/>
                  <a:pt x="35243" y="31433"/>
                  <a:pt x="40958" y="30480"/>
                </a:cubicBezTo>
                <a:lnTo>
                  <a:pt x="48577" y="29528"/>
                </a:lnTo>
                <a:cubicBezTo>
                  <a:pt x="52388" y="28575"/>
                  <a:pt x="52388" y="22860"/>
                  <a:pt x="48577" y="21908"/>
                </a:cubicBezTo>
                <a:close/>
              </a:path>
            </a:pathLst>
          </a:custGeom>
          <a:solidFill>
            <a:schemeClr val="accent6">
              <a:lumMod val="60000"/>
              <a:lumOff val="40000"/>
            </a:schemeClr>
          </a:solidFill>
          <a:ln w="9525" cap="flat">
            <a:noFill/>
            <a:prstDash val="solid"/>
            <a:miter/>
          </a:ln>
        </p:spPr>
        <p:txBody>
          <a:bodyPr rtlCol="0" anchor="ctr"/>
          <a:lstStyle/>
          <a:p>
            <a:endParaRPr lang="zh-CN" altLang="en-US"/>
          </a:p>
        </p:txBody>
      </p:sp>
      <p:sp>
        <p:nvSpPr>
          <p:cNvPr id="28" name="任意多边形: 形状 27">
            <a:extLst>
              <a:ext uri="{FF2B5EF4-FFF2-40B4-BE49-F238E27FC236}">
                <a16:creationId xmlns:a16="http://schemas.microsoft.com/office/drawing/2014/main" id="{CADAB51C-691C-4FB5-8CE6-2BC820962C9B}"/>
              </a:ext>
            </a:extLst>
          </p:cNvPr>
          <p:cNvSpPr/>
          <p:nvPr/>
        </p:nvSpPr>
        <p:spPr>
          <a:xfrm>
            <a:off x="11698116" y="5060770"/>
            <a:ext cx="69095" cy="69095"/>
          </a:xfrm>
          <a:custGeom>
            <a:avLst/>
            <a:gdLst>
              <a:gd name="connsiteX0" fmla="*/ 48577 w 47625"/>
              <a:gd name="connsiteY0" fmla="*/ 21908 h 47625"/>
              <a:gd name="connsiteX1" fmla="*/ 40957 w 47625"/>
              <a:gd name="connsiteY1" fmla="*/ 20955 h 47625"/>
              <a:gd name="connsiteX2" fmla="*/ 30480 w 47625"/>
              <a:gd name="connsiteY2" fmla="*/ 10478 h 47625"/>
              <a:gd name="connsiteX3" fmla="*/ 29527 w 47625"/>
              <a:gd name="connsiteY3" fmla="*/ 2858 h 47625"/>
              <a:gd name="connsiteX4" fmla="*/ 21907 w 47625"/>
              <a:gd name="connsiteY4" fmla="*/ 2858 h 47625"/>
              <a:gd name="connsiteX5" fmla="*/ 20955 w 47625"/>
              <a:gd name="connsiteY5" fmla="*/ 10478 h 47625"/>
              <a:gd name="connsiteX6" fmla="*/ 10477 w 47625"/>
              <a:gd name="connsiteY6" fmla="*/ 20955 h 47625"/>
              <a:gd name="connsiteX7" fmla="*/ 2857 w 47625"/>
              <a:gd name="connsiteY7" fmla="*/ 21908 h 47625"/>
              <a:gd name="connsiteX8" fmla="*/ 2857 w 47625"/>
              <a:gd name="connsiteY8" fmla="*/ 29528 h 47625"/>
              <a:gd name="connsiteX9" fmla="*/ 10477 w 47625"/>
              <a:gd name="connsiteY9" fmla="*/ 30480 h 47625"/>
              <a:gd name="connsiteX10" fmla="*/ 20955 w 47625"/>
              <a:gd name="connsiteY10" fmla="*/ 40958 h 47625"/>
              <a:gd name="connsiteX11" fmla="*/ 21907 w 47625"/>
              <a:gd name="connsiteY11" fmla="*/ 48578 h 47625"/>
              <a:gd name="connsiteX12" fmla="*/ 29527 w 47625"/>
              <a:gd name="connsiteY12" fmla="*/ 48578 h 47625"/>
              <a:gd name="connsiteX13" fmla="*/ 30480 w 47625"/>
              <a:gd name="connsiteY13" fmla="*/ 40958 h 47625"/>
              <a:gd name="connsiteX14" fmla="*/ 40957 w 47625"/>
              <a:gd name="connsiteY14" fmla="*/ 30480 h 47625"/>
              <a:gd name="connsiteX15" fmla="*/ 48577 w 47625"/>
              <a:gd name="connsiteY15" fmla="*/ 29528 h 47625"/>
              <a:gd name="connsiteX16" fmla="*/ 48577 w 47625"/>
              <a:gd name="connsiteY16" fmla="*/ 219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7" y="21908"/>
                </a:moveTo>
                <a:lnTo>
                  <a:pt x="40957" y="20955"/>
                </a:lnTo>
                <a:cubicBezTo>
                  <a:pt x="36195" y="20003"/>
                  <a:pt x="31432" y="16193"/>
                  <a:pt x="30480" y="10478"/>
                </a:cubicBezTo>
                <a:lnTo>
                  <a:pt x="29527" y="2858"/>
                </a:lnTo>
                <a:cubicBezTo>
                  <a:pt x="28575" y="-953"/>
                  <a:pt x="22860" y="-953"/>
                  <a:pt x="21907" y="2858"/>
                </a:cubicBezTo>
                <a:lnTo>
                  <a:pt x="20955" y="10478"/>
                </a:lnTo>
                <a:cubicBezTo>
                  <a:pt x="20002" y="15240"/>
                  <a:pt x="16192" y="20003"/>
                  <a:pt x="10477" y="20955"/>
                </a:cubicBezTo>
                <a:lnTo>
                  <a:pt x="2857" y="21908"/>
                </a:lnTo>
                <a:cubicBezTo>
                  <a:pt x="-952" y="22860"/>
                  <a:pt x="-952" y="28575"/>
                  <a:pt x="2857" y="29528"/>
                </a:cubicBezTo>
                <a:lnTo>
                  <a:pt x="10477" y="30480"/>
                </a:lnTo>
                <a:cubicBezTo>
                  <a:pt x="15240" y="31433"/>
                  <a:pt x="20002" y="35243"/>
                  <a:pt x="20955" y="40958"/>
                </a:cubicBezTo>
                <a:lnTo>
                  <a:pt x="21907" y="48578"/>
                </a:lnTo>
                <a:cubicBezTo>
                  <a:pt x="22860" y="52388"/>
                  <a:pt x="28575" y="52388"/>
                  <a:pt x="29527" y="48578"/>
                </a:cubicBezTo>
                <a:lnTo>
                  <a:pt x="30480" y="40958"/>
                </a:lnTo>
                <a:cubicBezTo>
                  <a:pt x="31432" y="36195"/>
                  <a:pt x="35242" y="31433"/>
                  <a:pt x="40957" y="30480"/>
                </a:cubicBezTo>
                <a:lnTo>
                  <a:pt x="48577" y="29528"/>
                </a:lnTo>
                <a:cubicBezTo>
                  <a:pt x="53340" y="28575"/>
                  <a:pt x="53340" y="21908"/>
                  <a:pt x="48577" y="21908"/>
                </a:cubicBezTo>
                <a:close/>
              </a:path>
            </a:pathLst>
          </a:custGeom>
          <a:solidFill>
            <a:schemeClr val="bg1"/>
          </a:solidFill>
          <a:ln w="9525" cap="flat">
            <a:noFill/>
            <a:prstDash val="solid"/>
            <a:miter/>
          </a:ln>
        </p:spPr>
        <p:txBody>
          <a:bodyPr rtlCol="0" anchor="ctr"/>
          <a:lstStyle/>
          <a:p>
            <a:endParaRPr lang="zh-CN" altLang="en-US"/>
          </a:p>
        </p:txBody>
      </p:sp>
      <p:sp>
        <p:nvSpPr>
          <p:cNvPr id="29" name="任意多边形: 形状 28">
            <a:extLst>
              <a:ext uri="{FF2B5EF4-FFF2-40B4-BE49-F238E27FC236}">
                <a16:creationId xmlns:a16="http://schemas.microsoft.com/office/drawing/2014/main" id="{2A61FF6B-7037-44FA-8EEC-38DB76D3C2C3}"/>
              </a:ext>
            </a:extLst>
          </p:cNvPr>
          <p:cNvSpPr/>
          <p:nvPr/>
        </p:nvSpPr>
        <p:spPr>
          <a:xfrm>
            <a:off x="11287689" y="4309013"/>
            <a:ext cx="69095" cy="69095"/>
          </a:xfrm>
          <a:custGeom>
            <a:avLst/>
            <a:gdLst>
              <a:gd name="connsiteX0" fmla="*/ 48578 w 47625"/>
              <a:gd name="connsiteY0" fmla="*/ 21907 h 47625"/>
              <a:gd name="connsiteX1" fmla="*/ 40958 w 47625"/>
              <a:gd name="connsiteY1" fmla="*/ 20955 h 47625"/>
              <a:gd name="connsiteX2" fmla="*/ 30480 w 47625"/>
              <a:gd name="connsiteY2" fmla="*/ 10478 h 47625"/>
              <a:gd name="connsiteX3" fmla="*/ 29528 w 47625"/>
              <a:gd name="connsiteY3" fmla="*/ 2857 h 47625"/>
              <a:gd name="connsiteX4" fmla="*/ 21908 w 47625"/>
              <a:gd name="connsiteY4" fmla="*/ 2857 h 47625"/>
              <a:gd name="connsiteX5" fmla="*/ 20955 w 47625"/>
              <a:gd name="connsiteY5" fmla="*/ 10478 h 47625"/>
              <a:gd name="connsiteX6" fmla="*/ 10478 w 47625"/>
              <a:gd name="connsiteY6" fmla="*/ 20955 h 47625"/>
              <a:gd name="connsiteX7" fmla="*/ 2858 w 47625"/>
              <a:gd name="connsiteY7" fmla="*/ 21907 h 47625"/>
              <a:gd name="connsiteX8" fmla="*/ 2858 w 47625"/>
              <a:gd name="connsiteY8" fmla="*/ 29528 h 47625"/>
              <a:gd name="connsiteX9" fmla="*/ 10478 w 47625"/>
              <a:gd name="connsiteY9" fmla="*/ 30480 h 47625"/>
              <a:gd name="connsiteX10" fmla="*/ 20955 w 47625"/>
              <a:gd name="connsiteY10" fmla="*/ 40957 h 47625"/>
              <a:gd name="connsiteX11" fmla="*/ 21908 w 47625"/>
              <a:gd name="connsiteY11" fmla="*/ 48578 h 47625"/>
              <a:gd name="connsiteX12" fmla="*/ 29528 w 47625"/>
              <a:gd name="connsiteY12" fmla="*/ 48578 h 47625"/>
              <a:gd name="connsiteX13" fmla="*/ 30480 w 47625"/>
              <a:gd name="connsiteY13" fmla="*/ 40957 h 47625"/>
              <a:gd name="connsiteX14" fmla="*/ 40958 w 47625"/>
              <a:gd name="connsiteY14" fmla="*/ 30480 h 47625"/>
              <a:gd name="connsiteX15" fmla="*/ 48578 w 47625"/>
              <a:gd name="connsiteY15" fmla="*/ 29528 h 47625"/>
              <a:gd name="connsiteX16" fmla="*/ 48578 w 47625"/>
              <a:gd name="connsiteY1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8" y="21907"/>
                </a:moveTo>
                <a:lnTo>
                  <a:pt x="40958" y="20955"/>
                </a:lnTo>
                <a:cubicBezTo>
                  <a:pt x="36195" y="20003"/>
                  <a:pt x="31433" y="16193"/>
                  <a:pt x="30480" y="10478"/>
                </a:cubicBezTo>
                <a:lnTo>
                  <a:pt x="29528" y="2857"/>
                </a:lnTo>
                <a:cubicBezTo>
                  <a:pt x="28575" y="-952"/>
                  <a:pt x="22860" y="-952"/>
                  <a:pt x="21908" y="2857"/>
                </a:cubicBezTo>
                <a:lnTo>
                  <a:pt x="20955" y="10478"/>
                </a:lnTo>
                <a:cubicBezTo>
                  <a:pt x="20003" y="15240"/>
                  <a:pt x="16193" y="20003"/>
                  <a:pt x="10478" y="20955"/>
                </a:cubicBezTo>
                <a:lnTo>
                  <a:pt x="2858" y="21907"/>
                </a:lnTo>
                <a:cubicBezTo>
                  <a:pt x="-953" y="22860"/>
                  <a:pt x="-953" y="28575"/>
                  <a:pt x="2858" y="29528"/>
                </a:cubicBezTo>
                <a:lnTo>
                  <a:pt x="10478" y="30480"/>
                </a:lnTo>
                <a:cubicBezTo>
                  <a:pt x="15240" y="31432"/>
                  <a:pt x="20003" y="35243"/>
                  <a:pt x="20955" y="40957"/>
                </a:cubicBezTo>
                <a:lnTo>
                  <a:pt x="21908" y="48578"/>
                </a:lnTo>
                <a:cubicBezTo>
                  <a:pt x="22860" y="52388"/>
                  <a:pt x="28575" y="52388"/>
                  <a:pt x="29528" y="48578"/>
                </a:cubicBezTo>
                <a:lnTo>
                  <a:pt x="30480" y="40957"/>
                </a:lnTo>
                <a:cubicBezTo>
                  <a:pt x="31433" y="36195"/>
                  <a:pt x="35243" y="31432"/>
                  <a:pt x="40958" y="30480"/>
                </a:cubicBezTo>
                <a:lnTo>
                  <a:pt x="48578" y="29528"/>
                </a:lnTo>
                <a:cubicBezTo>
                  <a:pt x="52388" y="28575"/>
                  <a:pt x="52388" y="22860"/>
                  <a:pt x="48578" y="21907"/>
                </a:cubicBezTo>
                <a:close/>
              </a:path>
            </a:pathLst>
          </a:custGeom>
          <a:solidFill>
            <a:schemeClr val="bg1"/>
          </a:solidFill>
          <a:ln w="9525" cap="flat">
            <a:noFill/>
            <a:prstDash val="solid"/>
            <a:miter/>
          </a:ln>
        </p:spPr>
        <p:txBody>
          <a:bodyPr rtlCol="0" anchor="ctr"/>
          <a:lstStyle/>
          <a:p>
            <a:endParaRPr lang="zh-CN" altLang="en-US"/>
          </a:p>
        </p:txBody>
      </p:sp>
      <p:sp>
        <p:nvSpPr>
          <p:cNvPr id="30" name="任意多边形: 形状 29">
            <a:extLst>
              <a:ext uri="{FF2B5EF4-FFF2-40B4-BE49-F238E27FC236}">
                <a16:creationId xmlns:a16="http://schemas.microsoft.com/office/drawing/2014/main" id="{0AC68F31-2E64-4FF0-AECE-114CDC1F4EC3}"/>
              </a:ext>
            </a:extLst>
          </p:cNvPr>
          <p:cNvSpPr/>
          <p:nvPr/>
        </p:nvSpPr>
        <p:spPr>
          <a:xfrm>
            <a:off x="8771260" y="6591099"/>
            <a:ext cx="69095" cy="69095"/>
          </a:xfrm>
          <a:custGeom>
            <a:avLst/>
            <a:gdLst>
              <a:gd name="connsiteX0" fmla="*/ 48578 w 47625"/>
              <a:gd name="connsiteY0" fmla="*/ 21907 h 47625"/>
              <a:gd name="connsiteX1" fmla="*/ 40958 w 47625"/>
              <a:gd name="connsiteY1" fmla="*/ 20955 h 47625"/>
              <a:gd name="connsiteX2" fmla="*/ 30480 w 47625"/>
              <a:gd name="connsiteY2" fmla="*/ 10478 h 47625"/>
              <a:gd name="connsiteX3" fmla="*/ 29528 w 47625"/>
              <a:gd name="connsiteY3" fmla="*/ 2857 h 47625"/>
              <a:gd name="connsiteX4" fmla="*/ 21908 w 47625"/>
              <a:gd name="connsiteY4" fmla="*/ 2857 h 47625"/>
              <a:gd name="connsiteX5" fmla="*/ 20955 w 47625"/>
              <a:gd name="connsiteY5" fmla="*/ 10478 h 47625"/>
              <a:gd name="connsiteX6" fmla="*/ 10478 w 47625"/>
              <a:gd name="connsiteY6" fmla="*/ 20955 h 47625"/>
              <a:gd name="connsiteX7" fmla="*/ 2858 w 47625"/>
              <a:gd name="connsiteY7" fmla="*/ 21907 h 47625"/>
              <a:gd name="connsiteX8" fmla="*/ 2858 w 47625"/>
              <a:gd name="connsiteY8" fmla="*/ 29528 h 47625"/>
              <a:gd name="connsiteX9" fmla="*/ 10478 w 47625"/>
              <a:gd name="connsiteY9" fmla="*/ 30480 h 47625"/>
              <a:gd name="connsiteX10" fmla="*/ 20955 w 47625"/>
              <a:gd name="connsiteY10" fmla="*/ 40957 h 47625"/>
              <a:gd name="connsiteX11" fmla="*/ 21908 w 47625"/>
              <a:gd name="connsiteY11" fmla="*/ 48578 h 47625"/>
              <a:gd name="connsiteX12" fmla="*/ 29528 w 47625"/>
              <a:gd name="connsiteY12" fmla="*/ 48578 h 47625"/>
              <a:gd name="connsiteX13" fmla="*/ 30480 w 47625"/>
              <a:gd name="connsiteY13" fmla="*/ 40957 h 47625"/>
              <a:gd name="connsiteX14" fmla="*/ 40958 w 47625"/>
              <a:gd name="connsiteY14" fmla="*/ 30480 h 47625"/>
              <a:gd name="connsiteX15" fmla="*/ 48578 w 47625"/>
              <a:gd name="connsiteY15" fmla="*/ 29528 h 47625"/>
              <a:gd name="connsiteX16" fmla="*/ 48578 w 47625"/>
              <a:gd name="connsiteY1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8" y="21907"/>
                </a:moveTo>
                <a:lnTo>
                  <a:pt x="40958" y="20955"/>
                </a:lnTo>
                <a:cubicBezTo>
                  <a:pt x="35242" y="20003"/>
                  <a:pt x="31433" y="16192"/>
                  <a:pt x="30480" y="10478"/>
                </a:cubicBezTo>
                <a:lnTo>
                  <a:pt x="29528" y="2857"/>
                </a:lnTo>
                <a:cubicBezTo>
                  <a:pt x="28575" y="-952"/>
                  <a:pt x="22860" y="-952"/>
                  <a:pt x="21908" y="2857"/>
                </a:cubicBezTo>
                <a:lnTo>
                  <a:pt x="20955" y="10478"/>
                </a:lnTo>
                <a:cubicBezTo>
                  <a:pt x="20003" y="15240"/>
                  <a:pt x="16192" y="20003"/>
                  <a:pt x="10478" y="20955"/>
                </a:cubicBezTo>
                <a:lnTo>
                  <a:pt x="2858" y="21907"/>
                </a:lnTo>
                <a:cubicBezTo>
                  <a:pt x="-953" y="22860"/>
                  <a:pt x="-953" y="28575"/>
                  <a:pt x="2858" y="29528"/>
                </a:cubicBezTo>
                <a:lnTo>
                  <a:pt x="10478" y="30480"/>
                </a:lnTo>
                <a:cubicBezTo>
                  <a:pt x="15240" y="31432"/>
                  <a:pt x="20003" y="35242"/>
                  <a:pt x="20955" y="40957"/>
                </a:cubicBezTo>
                <a:lnTo>
                  <a:pt x="21908" y="48578"/>
                </a:lnTo>
                <a:cubicBezTo>
                  <a:pt x="22860" y="52388"/>
                  <a:pt x="28575" y="52388"/>
                  <a:pt x="29528" y="48578"/>
                </a:cubicBezTo>
                <a:lnTo>
                  <a:pt x="30480" y="40957"/>
                </a:lnTo>
                <a:cubicBezTo>
                  <a:pt x="31433" y="36195"/>
                  <a:pt x="35242" y="31432"/>
                  <a:pt x="40958" y="30480"/>
                </a:cubicBezTo>
                <a:lnTo>
                  <a:pt x="48578" y="29528"/>
                </a:lnTo>
                <a:cubicBezTo>
                  <a:pt x="52388" y="28575"/>
                  <a:pt x="52388" y="22860"/>
                  <a:pt x="48578" y="21907"/>
                </a:cubicBezTo>
                <a:close/>
              </a:path>
            </a:pathLst>
          </a:custGeom>
          <a:solidFill>
            <a:schemeClr val="bg1"/>
          </a:solidFill>
          <a:ln w="9525" cap="flat">
            <a:noFill/>
            <a:prstDash val="solid"/>
            <a:miter/>
          </a:ln>
        </p:spPr>
        <p:txBody>
          <a:bodyPr rtlCol="0" anchor="ctr"/>
          <a:lstStyle/>
          <a:p>
            <a:endParaRPr lang="zh-CN" altLang="en-US"/>
          </a:p>
        </p:txBody>
      </p:sp>
      <p:sp>
        <p:nvSpPr>
          <p:cNvPr id="31" name="任意多边形: 形状 30">
            <a:extLst>
              <a:ext uri="{FF2B5EF4-FFF2-40B4-BE49-F238E27FC236}">
                <a16:creationId xmlns:a16="http://schemas.microsoft.com/office/drawing/2014/main" id="{35F00B59-A4AF-4404-9B39-DDBA8A648DF3}"/>
              </a:ext>
            </a:extLst>
          </p:cNvPr>
          <p:cNvSpPr/>
          <p:nvPr/>
        </p:nvSpPr>
        <p:spPr>
          <a:xfrm>
            <a:off x="9437552" y="3593705"/>
            <a:ext cx="69095" cy="69095"/>
          </a:xfrm>
          <a:custGeom>
            <a:avLst/>
            <a:gdLst>
              <a:gd name="connsiteX0" fmla="*/ 48577 w 47625"/>
              <a:gd name="connsiteY0" fmla="*/ 21907 h 47625"/>
              <a:gd name="connsiteX1" fmla="*/ 40958 w 47625"/>
              <a:gd name="connsiteY1" fmla="*/ 20955 h 47625"/>
              <a:gd name="connsiteX2" fmla="*/ 30480 w 47625"/>
              <a:gd name="connsiteY2" fmla="*/ 10477 h 47625"/>
              <a:gd name="connsiteX3" fmla="*/ 29527 w 47625"/>
              <a:gd name="connsiteY3" fmla="*/ 2857 h 47625"/>
              <a:gd name="connsiteX4" fmla="*/ 21908 w 47625"/>
              <a:gd name="connsiteY4" fmla="*/ 2857 h 47625"/>
              <a:gd name="connsiteX5" fmla="*/ 20955 w 47625"/>
              <a:gd name="connsiteY5" fmla="*/ 10477 h 47625"/>
              <a:gd name="connsiteX6" fmla="*/ 10477 w 47625"/>
              <a:gd name="connsiteY6" fmla="*/ 20955 h 47625"/>
              <a:gd name="connsiteX7" fmla="*/ 2858 w 47625"/>
              <a:gd name="connsiteY7" fmla="*/ 21907 h 47625"/>
              <a:gd name="connsiteX8" fmla="*/ 2858 w 47625"/>
              <a:gd name="connsiteY8" fmla="*/ 29527 h 47625"/>
              <a:gd name="connsiteX9" fmla="*/ 10477 w 47625"/>
              <a:gd name="connsiteY9" fmla="*/ 30480 h 47625"/>
              <a:gd name="connsiteX10" fmla="*/ 20955 w 47625"/>
              <a:gd name="connsiteY10" fmla="*/ 40957 h 47625"/>
              <a:gd name="connsiteX11" fmla="*/ 21908 w 47625"/>
              <a:gd name="connsiteY11" fmla="*/ 48577 h 47625"/>
              <a:gd name="connsiteX12" fmla="*/ 29527 w 47625"/>
              <a:gd name="connsiteY12" fmla="*/ 48577 h 47625"/>
              <a:gd name="connsiteX13" fmla="*/ 30480 w 47625"/>
              <a:gd name="connsiteY13" fmla="*/ 40957 h 47625"/>
              <a:gd name="connsiteX14" fmla="*/ 40958 w 47625"/>
              <a:gd name="connsiteY14" fmla="*/ 30480 h 47625"/>
              <a:gd name="connsiteX15" fmla="*/ 48577 w 47625"/>
              <a:gd name="connsiteY15" fmla="*/ 29527 h 47625"/>
              <a:gd name="connsiteX16" fmla="*/ 48577 w 47625"/>
              <a:gd name="connsiteY1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7" y="21907"/>
                </a:moveTo>
                <a:lnTo>
                  <a:pt x="40958" y="20955"/>
                </a:lnTo>
                <a:cubicBezTo>
                  <a:pt x="36195" y="20002"/>
                  <a:pt x="31433" y="16192"/>
                  <a:pt x="30480" y="10477"/>
                </a:cubicBezTo>
                <a:lnTo>
                  <a:pt x="29527" y="2857"/>
                </a:lnTo>
                <a:cubicBezTo>
                  <a:pt x="28575" y="-952"/>
                  <a:pt x="22860" y="-952"/>
                  <a:pt x="21908" y="2857"/>
                </a:cubicBezTo>
                <a:lnTo>
                  <a:pt x="20955" y="10477"/>
                </a:lnTo>
                <a:cubicBezTo>
                  <a:pt x="20002" y="15240"/>
                  <a:pt x="16192" y="20002"/>
                  <a:pt x="10477" y="20955"/>
                </a:cubicBezTo>
                <a:lnTo>
                  <a:pt x="2858" y="21907"/>
                </a:lnTo>
                <a:cubicBezTo>
                  <a:pt x="-953" y="22860"/>
                  <a:pt x="-953" y="28575"/>
                  <a:pt x="2858" y="29527"/>
                </a:cubicBezTo>
                <a:lnTo>
                  <a:pt x="10477" y="30480"/>
                </a:lnTo>
                <a:cubicBezTo>
                  <a:pt x="15240" y="31432"/>
                  <a:pt x="20002" y="35242"/>
                  <a:pt x="20955" y="40957"/>
                </a:cubicBezTo>
                <a:lnTo>
                  <a:pt x="21908" y="48577"/>
                </a:lnTo>
                <a:cubicBezTo>
                  <a:pt x="22860" y="52387"/>
                  <a:pt x="28575" y="52387"/>
                  <a:pt x="29527" y="48577"/>
                </a:cubicBezTo>
                <a:lnTo>
                  <a:pt x="30480" y="40957"/>
                </a:lnTo>
                <a:cubicBezTo>
                  <a:pt x="31433" y="36195"/>
                  <a:pt x="35242" y="31432"/>
                  <a:pt x="40958" y="30480"/>
                </a:cubicBezTo>
                <a:lnTo>
                  <a:pt x="48577" y="29527"/>
                </a:lnTo>
                <a:cubicBezTo>
                  <a:pt x="52387" y="28575"/>
                  <a:pt x="52387" y="22860"/>
                  <a:pt x="48577" y="21907"/>
                </a:cubicBezTo>
                <a:close/>
              </a:path>
            </a:pathLst>
          </a:custGeom>
          <a:solidFill>
            <a:schemeClr val="bg1"/>
          </a:solidFill>
          <a:ln w="9525" cap="flat">
            <a:noFill/>
            <a:prstDash val="solid"/>
            <a:miter/>
          </a:ln>
        </p:spPr>
        <p:txBody>
          <a:bodyPr rtlCol="0" anchor="ctr"/>
          <a:lstStyle/>
          <a:p>
            <a:endParaRPr lang="zh-CN" altLang="en-US"/>
          </a:p>
        </p:txBody>
      </p:sp>
      <p:sp>
        <p:nvSpPr>
          <p:cNvPr id="9792" name="任意多边形: 形状 9791">
            <a:extLst>
              <a:ext uri="{FF2B5EF4-FFF2-40B4-BE49-F238E27FC236}">
                <a16:creationId xmlns:a16="http://schemas.microsoft.com/office/drawing/2014/main" id="{540C8E34-7F03-4317-BDB8-C197E16EABA5}"/>
              </a:ext>
            </a:extLst>
          </p:cNvPr>
          <p:cNvSpPr/>
          <p:nvPr/>
        </p:nvSpPr>
        <p:spPr>
          <a:xfrm>
            <a:off x="8060961" y="4899648"/>
            <a:ext cx="69095" cy="69095"/>
          </a:xfrm>
          <a:custGeom>
            <a:avLst/>
            <a:gdLst>
              <a:gd name="connsiteX0" fmla="*/ 48578 w 47625"/>
              <a:gd name="connsiteY0" fmla="*/ 21907 h 47625"/>
              <a:gd name="connsiteX1" fmla="*/ 40958 w 47625"/>
              <a:gd name="connsiteY1" fmla="*/ 20955 h 47625"/>
              <a:gd name="connsiteX2" fmla="*/ 30480 w 47625"/>
              <a:gd name="connsiteY2" fmla="*/ 10477 h 47625"/>
              <a:gd name="connsiteX3" fmla="*/ 29528 w 47625"/>
              <a:gd name="connsiteY3" fmla="*/ 2857 h 47625"/>
              <a:gd name="connsiteX4" fmla="*/ 21908 w 47625"/>
              <a:gd name="connsiteY4" fmla="*/ 2857 h 47625"/>
              <a:gd name="connsiteX5" fmla="*/ 20955 w 47625"/>
              <a:gd name="connsiteY5" fmla="*/ 10477 h 47625"/>
              <a:gd name="connsiteX6" fmla="*/ 10478 w 47625"/>
              <a:gd name="connsiteY6" fmla="*/ 20955 h 47625"/>
              <a:gd name="connsiteX7" fmla="*/ 2858 w 47625"/>
              <a:gd name="connsiteY7" fmla="*/ 21907 h 47625"/>
              <a:gd name="connsiteX8" fmla="*/ 2858 w 47625"/>
              <a:gd name="connsiteY8" fmla="*/ 29527 h 47625"/>
              <a:gd name="connsiteX9" fmla="*/ 10478 w 47625"/>
              <a:gd name="connsiteY9" fmla="*/ 30480 h 47625"/>
              <a:gd name="connsiteX10" fmla="*/ 20955 w 47625"/>
              <a:gd name="connsiteY10" fmla="*/ 40957 h 47625"/>
              <a:gd name="connsiteX11" fmla="*/ 21908 w 47625"/>
              <a:gd name="connsiteY11" fmla="*/ 48577 h 47625"/>
              <a:gd name="connsiteX12" fmla="*/ 29528 w 47625"/>
              <a:gd name="connsiteY12" fmla="*/ 48577 h 47625"/>
              <a:gd name="connsiteX13" fmla="*/ 30480 w 47625"/>
              <a:gd name="connsiteY13" fmla="*/ 40957 h 47625"/>
              <a:gd name="connsiteX14" fmla="*/ 40958 w 47625"/>
              <a:gd name="connsiteY14" fmla="*/ 30480 h 47625"/>
              <a:gd name="connsiteX15" fmla="*/ 48578 w 47625"/>
              <a:gd name="connsiteY15" fmla="*/ 29527 h 47625"/>
              <a:gd name="connsiteX16" fmla="*/ 48578 w 47625"/>
              <a:gd name="connsiteY1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8" y="21907"/>
                </a:moveTo>
                <a:lnTo>
                  <a:pt x="40958" y="20955"/>
                </a:lnTo>
                <a:cubicBezTo>
                  <a:pt x="36195" y="20002"/>
                  <a:pt x="31433" y="16192"/>
                  <a:pt x="30480" y="10477"/>
                </a:cubicBezTo>
                <a:lnTo>
                  <a:pt x="29528" y="2857"/>
                </a:lnTo>
                <a:cubicBezTo>
                  <a:pt x="28575" y="-952"/>
                  <a:pt x="22860" y="-952"/>
                  <a:pt x="21908" y="2857"/>
                </a:cubicBezTo>
                <a:lnTo>
                  <a:pt x="20955" y="10477"/>
                </a:lnTo>
                <a:cubicBezTo>
                  <a:pt x="20003" y="15240"/>
                  <a:pt x="16193" y="20002"/>
                  <a:pt x="10478" y="20955"/>
                </a:cubicBezTo>
                <a:lnTo>
                  <a:pt x="2858" y="21907"/>
                </a:lnTo>
                <a:cubicBezTo>
                  <a:pt x="-953" y="22860"/>
                  <a:pt x="-953" y="28575"/>
                  <a:pt x="2858" y="29527"/>
                </a:cubicBezTo>
                <a:lnTo>
                  <a:pt x="10478" y="30480"/>
                </a:lnTo>
                <a:cubicBezTo>
                  <a:pt x="15240" y="31432"/>
                  <a:pt x="20003" y="35242"/>
                  <a:pt x="20955" y="40957"/>
                </a:cubicBezTo>
                <a:lnTo>
                  <a:pt x="21908" y="48577"/>
                </a:lnTo>
                <a:cubicBezTo>
                  <a:pt x="22860" y="52388"/>
                  <a:pt x="28575" y="52388"/>
                  <a:pt x="29528" y="48577"/>
                </a:cubicBezTo>
                <a:lnTo>
                  <a:pt x="30480" y="40957"/>
                </a:lnTo>
                <a:cubicBezTo>
                  <a:pt x="31433" y="36195"/>
                  <a:pt x="35243" y="31432"/>
                  <a:pt x="40958" y="30480"/>
                </a:cubicBezTo>
                <a:lnTo>
                  <a:pt x="48578" y="29527"/>
                </a:lnTo>
                <a:cubicBezTo>
                  <a:pt x="53340" y="28575"/>
                  <a:pt x="53340" y="21907"/>
                  <a:pt x="48578" y="21907"/>
                </a:cubicBezTo>
                <a:close/>
              </a:path>
            </a:pathLst>
          </a:custGeom>
          <a:solidFill>
            <a:schemeClr val="bg1"/>
          </a:solidFill>
          <a:ln w="9525" cap="flat">
            <a:noFill/>
            <a:prstDash val="solid"/>
            <a:miter/>
          </a:ln>
        </p:spPr>
        <p:txBody>
          <a:bodyPr rtlCol="0" anchor="ctr"/>
          <a:lstStyle/>
          <a:p>
            <a:endParaRPr lang="zh-CN" altLang="en-US"/>
          </a:p>
        </p:txBody>
      </p:sp>
      <p:grpSp>
        <p:nvGrpSpPr>
          <p:cNvPr id="9872" name="组合 9871">
            <a:extLst>
              <a:ext uri="{FF2B5EF4-FFF2-40B4-BE49-F238E27FC236}">
                <a16:creationId xmlns:a16="http://schemas.microsoft.com/office/drawing/2014/main" id="{4F3D37C1-F3F7-4E27-A652-615723B5150F}"/>
              </a:ext>
            </a:extLst>
          </p:cNvPr>
          <p:cNvGrpSpPr/>
          <p:nvPr userDrawn="1"/>
        </p:nvGrpSpPr>
        <p:grpSpPr>
          <a:xfrm>
            <a:off x="7656331" y="2872769"/>
            <a:ext cx="1580265" cy="1581183"/>
            <a:chOff x="7656331" y="2872769"/>
            <a:chExt cx="1580265" cy="1581183"/>
          </a:xfrm>
          <a:effectLst>
            <a:glow rad="101600">
              <a:schemeClr val="accent2">
                <a:lumMod val="60000"/>
                <a:lumOff val="40000"/>
                <a:alpha val="28000"/>
              </a:schemeClr>
            </a:glow>
          </a:effectLst>
        </p:grpSpPr>
        <p:sp>
          <p:nvSpPr>
            <p:cNvPr id="9797" name="任意多边形: 形状 9796">
              <a:extLst>
                <a:ext uri="{FF2B5EF4-FFF2-40B4-BE49-F238E27FC236}">
                  <a16:creationId xmlns:a16="http://schemas.microsoft.com/office/drawing/2014/main" id="{2B0359DF-7BA4-40EC-A99C-F62D4E3A283C}"/>
                </a:ext>
              </a:extLst>
            </p:cNvPr>
            <p:cNvSpPr/>
            <p:nvPr/>
          </p:nvSpPr>
          <p:spPr>
            <a:xfrm>
              <a:off x="7656331" y="2872769"/>
              <a:ext cx="1580063" cy="1580063"/>
            </a:xfrm>
            <a:custGeom>
              <a:avLst/>
              <a:gdLst>
                <a:gd name="connsiteX0" fmla="*/ 889635 w 885825"/>
                <a:gd name="connsiteY0" fmla="*/ 444818 h 885825"/>
                <a:gd name="connsiteX1" fmla="*/ 444818 w 885825"/>
                <a:gd name="connsiteY1" fmla="*/ 889635 h 885825"/>
                <a:gd name="connsiteX2" fmla="*/ 0 w 885825"/>
                <a:gd name="connsiteY2" fmla="*/ 444818 h 885825"/>
                <a:gd name="connsiteX3" fmla="*/ 444818 w 885825"/>
                <a:gd name="connsiteY3" fmla="*/ 0 h 885825"/>
                <a:gd name="connsiteX4" fmla="*/ 889635 w 885825"/>
                <a:gd name="connsiteY4" fmla="*/ 444818 h 885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885825">
                  <a:moveTo>
                    <a:pt x="889635" y="444818"/>
                  </a:moveTo>
                  <a:cubicBezTo>
                    <a:pt x="889635" y="690483"/>
                    <a:pt x="690483" y="889635"/>
                    <a:pt x="444818" y="889635"/>
                  </a:cubicBezTo>
                  <a:cubicBezTo>
                    <a:pt x="199152" y="889635"/>
                    <a:pt x="0" y="690484"/>
                    <a:pt x="0" y="444818"/>
                  </a:cubicBezTo>
                  <a:cubicBezTo>
                    <a:pt x="0" y="199152"/>
                    <a:pt x="199152" y="0"/>
                    <a:pt x="444818" y="0"/>
                  </a:cubicBezTo>
                  <a:cubicBezTo>
                    <a:pt x="690483" y="0"/>
                    <a:pt x="889635" y="199152"/>
                    <a:pt x="889635" y="444818"/>
                  </a:cubicBezTo>
                  <a:close/>
                </a:path>
              </a:pathLst>
            </a:custGeom>
            <a:gradFill flip="none" rotWithShape="1">
              <a:gsLst>
                <a:gs pos="100000">
                  <a:srgbClr val="EA972E"/>
                </a:gs>
                <a:gs pos="49000">
                  <a:srgbClr val="D9250F"/>
                </a:gs>
              </a:gsLst>
              <a:lin ang="10800000" scaled="1"/>
              <a:tileRect/>
            </a:gradFill>
            <a:ln w="9525" cap="flat">
              <a:noFill/>
              <a:prstDash val="solid"/>
              <a:miter/>
            </a:ln>
          </p:spPr>
          <p:txBody>
            <a:bodyPr rtlCol="0" anchor="ctr"/>
            <a:lstStyle/>
            <a:p>
              <a:endParaRPr lang="zh-CN" altLang="en-US"/>
            </a:p>
          </p:txBody>
        </p:sp>
        <p:sp>
          <p:nvSpPr>
            <p:cNvPr id="9798" name="任意多边形: 形状 9797">
              <a:extLst>
                <a:ext uri="{FF2B5EF4-FFF2-40B4-BE49-F238E27FC236}">
                  <a16:creationId xmlns:a16="http://schemas.microsoft.com/office/drawing/2014/main" id="{886292B1-D157-4813-970E-28FC0B2E6F6A}"/>
                </a:ext>
              </a:extLst>
            </p:cNvPr>
            <p:cNvSpPr/>
            <p:nvPr/>
          </p:nvSpPr>
          <p:spPr>
            <a:xfrm>
              <a:off x="7656331" y="2872769"/>
              <a:ext cx="1580063" cy="1410164"/>
            </a:xfrm>
            <a:custGeom>
              <a:avLst/>
              <a:gdLst>
                <a:gd name="connsiteX0" fmla="*/ 444818 w 885825"/>
                <a:gd name="connsiteY0" fmla="*/ 0 h 790575"/>
                <a:gd name="connsiteX1" fmla="*/ 344805 w 885825"/>
                <a:gd name="connsiteY1" fmla="*/ 11430 h 790575"/>
                <a:gd name="connsiteX2" fmla="*/ 293370 w 885825"/>
                <a:gd name="connsiteY2" fmla="*/ 143827 h 790575"/>
                <a:gd name="connsiteX3" fmla="*/ 378143 w 885825"/>
                <a:gd name="connsiteY3" fmla="*/ 212408 h 790575"/>
                <a:gd name="connsiteX4" fmla="*/ 481965 w 885825"/>
                <a:gd name="connsiteY4" fmla="*/ 255270 h 790575"/>
                <a:gd name="connsiteX5" fmla="*/ 506730 w 885825"/>
                <a:gd name="connsiteY5" fmla="*/ 436245 h 790575"/>
                <a:gd name="connsiteX6" fmla="*/ 299085 w 885825"/>
                <a:gd name="connsiteY6" fmla="*/ 485775 h 790575"/>
                <a:gd name="connsiteX7" fmla="*/ 80010 w 885825"/>
                <a:gd name="connsiteY7" fmla="*/ 434340 h 790575"/>
                <a:gd name="connsiteX8" fmla="*/ 0 w 885825"/>
                <a:gd name="connsiteY8" fmla="*/ 452438 h 790575"/>
                <a:gd name="connsiteX9" fmla="*/ 171450 w 885825"/>
                <a:gd name="connsiteY9" fmla="*/ 796290 h 790575"/>
                <a:gd name="connsiteX10" fmla="*/ 357188 w 885825"/>
                <a:gd name="connsiteY10" fmla="*/ 746760 h 790575"/>
                <a:gd name="connsiteX11" fmla="*/ 615315 w 885825"/>
                <a:gd name="connsiteY11" fmla="*/ 671513 h 790575"/>
                <a:gd name="connsiteX12" fmla="*/ 793433 w 885825"/>
                <a:gd name="connsiteY12" fmla="*/ 721043 h 790575"/>
                <a:gd name="connsiteX13" fmla="*/ 888683 w 885825"/>
                <a:gd name="connsiteY13" fmla="*/ 446722 h 790575"/>
                <a:gd name="connsiteX14" fmla="*/ 444818 w 885825"/>
                <a:gd name="connsiteY14" fmla="*/ 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5825" h="790575">
                  <a:moveTo>
                    <a:pt x="444818" y="0"/>
                  </a:moveTo>
                  <a:cubicBezTo>
                    <a:pt x="410528" y="0"/>
                    <a:pt x="376238" y="3810"/>
                    <a:pt x="344805" y="11430"/>
                  </a:cubicBezTo>
                  <a:cubicBezTo>
                    <a:pt x="306705" y="48577"/>
                    <a:pt x="276225" y="96202"/>
                    <a:pt x="293370" y="143827"/>
                  </a:cubicBezTo>
                  <a:cubicBezTo>
                    <a:pt x="306705" y="179070"/>
                    <a:pt x="342900" y="200025"/>
                    <a:pt x="378143" y="212408"/>
                  </a:cubicBezTo>
                  <a:cubicBezTo>
                    <a:pt x="413385" y="224790"/>
                    <a:pt x="451485" y="232410"/>
                    <a:pt x="481965" y="255270"/>
                  </a:cubicBezTo>
                  <a:cubicBezTo>
                    <a:pt x="536258" y="295275"/>
                    <a:pt x="548640" y="382905"/>
                    <a:pt x="506730" y="436245"/>
                  </a:cubicBezTo>
                  <a:cubicBezTo>
                    <a:pt x="460058" y="495300"/>
                    <a:pt x="372428" y="501967"/>
                    <a:pt x="299085" y="485775"/>
                  </a:cubicBezTo>
                  <a:cubicBezTo>
                    <a:pt x="225743" y="469583"/>
                    <a:pt x="155258" y="437197"/>
                    <a:pt x="80010" y="434340"/>
                  </a:cubicBezTo>
                  <a:cubicBezTo>
                    <a:pt x="52388" y="433388"/>
                    <a:pt x="22860" y="438150"/>
                    <a:pt x="0" y="452438"/>
                  </a:cubicBezTo>
                  <a:cubicBezTo>
                    <a:pt x="1905" y="592455"/>
                    <a:pt x="68580" y="716280"/>
                    <a:pt x="171450" y="796290"/>
                  </a:cubicBezTo>
                  <a:cubicBezTo>
                    <a:pt x="234315" y="795337"/>
                    <a:pt x="299085" y="772477"/>
                    <a:pt x="357188" y="746760"/>
                  </a:cubicBezTo>
                  <a:cubicBezTo>
                    <a:pt x="440055" y="710565"/>
                    <a:pt x="524828" y="667702"/>
                    <a:pt x="615315" y="671513"/>
                  </a:cubicBezTo>
                  <a:cubicBezTo>
                    <a:pt x="676275" y="674370"/>
                    <a:pt x="735330" y="697230"/>
                    <a:pt x="793433" y="721043"/>
                  </a:cubicBezTo>
                  <a:cubicBezTo>
                    <a:pt x="852488" y="645795"/>
                    <a:pt x="888683" y="550545"/>
                    <a:pt x="888683" y="446722"/>
                  </a:cubicBezTo>
                  <a:cubicBezTo>
                    <a:pt x="889635" y="199072"/>
                    <a:pt x="690563" y="0"/>
                    <a:pt x="444818" y="0"/>
                  </a:cubicBezTo>
                  <a:close/>
                </a:path>
              </a:pathLst>
            </a:custGeom>
            <a:gradFill>
              <a:gsLst>
                <a:gs pos="79000">
                  <a:srgbClr val="E87F6F"/>
                </a:gs>
                <a:gs pos="13000">
                  <a:srgbClr val="D9250F"/>
                </a:gs>
              </a:gsLst>
              <a:lin ang="10800000" scaled="1"/>
            </a:gradFill>
            <a:ln w="9525" cap="flat">
              <a:noFill/>
              <a:prstDash val="solid"/>
              <a:miter/>
            </a:ln>
          </p:spPr>
          <p:txBody>
            <a:bodyPr rtlCol="0" anchor="ctr"/>
            <a:lstStyle/>
            <a:p>
              <a:endParaRPr lang="zh-CN" altLang="en-US"/>
            </a:p>
          </p:txBody>
        </p:sp>
        <p:sp>
          <p:nvSpPr>
            <p:cNvPr id="9799" name="任意多边形: 形状 9798">
              <a:extLst>
                <a:ext uri="{FF2B5EF4-FFF2-40B4-BE49-F238E27FC236}">
                  <a16:creationId xmlns:a16="http://schemas.microsoft.com/office/drawing/2014/main" id="{DE25C58C-86B5-4865-9CA7-B51FC5216241}"/>
                </a:ext>
              </a:extLst>
            </p:cNvPr>
            <p:cNvSpPr/>
            <p:nvPr/>
          </p:nvSpPr>
          <p:spPr>
            <a:xfrm>
              <a:off x="8658938" y="2923739"/>
              <a:ext cx="577658" cy="1002405"/>
            </a:xfrm>
            <a:custGeom>
              <a:avLst/>
              <a:gdLst>
                <a:gd name="connsiteX0" fmla="*/ 37987 w 323850"/>
                <a:gd name="connsiteY0" fmla="*/ 0 h 561975"/>
                <a:gd name="connsiteX1" fmla="*/ 4649 w 323850"/>
                <a:gd name="connsiteY1" fmla="*/ 44767 h 561975"/>
                <a:gd name="connsiteX2" fmla="*/ 17032 w 323850"/>
                <a:gd name="connsiteY2" fmla="*/ 140017 h 561975"/>
                <a:gd name="connsiteX3" fmla="*/ 64657 w 323850"/>
                <a:gd name="connsiteY3" fmla="*/ 226695 h 561975"/>
                <a:gd name="connsiteX4" fmla="*/ 75134 w 323850"/>
                <a:gd name="connsiteY4" fmla="*/ 375285 h 561975"/>
                <a:gd name="connsiteX5" fmla="*/ 45607 w 323850"/>
                <a:gd name="connsiteY5" fmla="*/ 462915 h 561975"/>
                <a:gd name="connsiteX6" fmla="*/ 64657 w 323850"/>
                <a:gd name="connsiteY6" fmla="*/ 548640 h 561975"/>
                <a:gd name="connsiteX7" fmla="*/ 166574 w 323850"/>
                <a:gd name="connsiteY7" fmla="*/ 559118 h 561975"/>
                <a:gd name="connsiteX8" fmla="*/ 270397 w 323850"/>
                <a:gd name="connsiteY8" fmla="*/ 534352 h 561975"/>
                <a:gd name="connsiteX9" fmla="*/ 309449 w 323850"/>
                <a:gd name="connsiteY9" fmla="*/ 543877 h 561975"/>
                <a:gd name="connsiteX10" fmla="*/ 328499 w 323850"/>
                <a:gd name="connsiteY10" fmla="*/ 416242 h 561975"/>
                <a:gd name="connsiteX11" fmla="*/ 37987 w 323850"/>
                <a:gd name="connsiteY11" fmla="*/ 0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850" h="561975">
                  <a:moveTo>
                    <a:pt x="37987" y="0"/>
                  </a:moveTo>
                  <a:cubicBezTo>
                    <a:pt x="22747" y="11430"/>
                    <a:pt x="10364" y="26670"/>
                    <a:pt x="4649" y="44767"/>
                  </a:cubicBezTo>
                  <a:cubicBezTo>
                    <a:pt x="-5828" y="76200"/>
                    <a:pt x="2744" y="110490"/>
                    <a:pt x="17032" y="140017"/>
                  </a:cubicBezTo>
                  <a:cubicBezTo>
                    <a:pt x="31319" y="169545"/>
                    <a:pt x="51322" y="196215"/>
                    <a:pt x="64657" y="226695"/>
                  </a:cubicBezTo>
                  <a:cubicBezTo>
                    <a:pt x="84659" y="273367"/>
                    <a:pt x="88469" y="326708"/>
                    <a:pt x="75134" y="375285"/>
                  </a:cubicBezTo>
                  <a:cubicBezTo>
                    <a:pt x="66562" y="404813"/>
                    <a:pt x="52274" y="432435"/>
                    <a:pt x="45607" y="462915"/>
                  </a:cubicBezTo>
                  <a:cubicBezTo>
                    <a:pt x="38939" y="493395"/>
                    <a:pt x="42749" y="527685"/>
                    <a:pt x="64657" y="548640"/>
                  </a:cubicBezTo>
                  <a:cubicBezTo>
                    <a:pt x="90374" y="573405"/>
                    <a:pt x="132284" y="569595"/>
                    <a:pt x="166574" y="559118"/>
                  </a:cubicBezTo>
                  <a:cubicBezTo>
                    <a:pt x="200864" y="548640"/>
                    <a:pt x="234202" y="532447"/>
                    <a:pt x="270397" y="534352"/>
                  </a:cubicBezTo>
                  <a:cubicBezTo>
                    <a:pt x="283732" y="535305"/>
                    <a:pt x="297067" y="539115"/>
                    <a:pt x="309449" y="543877"/>
                  </a:cubicBezTo>
                  <a:cubicBezTo>
                    <a:pt x="321832" y="503872"/>
                    <a:pt x="328499" y="461010"/>
                    <a:pt x="328499" y="416242"/>
                  </a:cubicBezTo>
                  <a:cubicBezTo>
                    <a:pt x="327547" y="225742"/>
                    <a:pt x="206579" y="62865"/>
                    <a:pt x="37987" y="0"/>
                  </a:cubicBezTo>
                  <a:close/>
                </a:path>
              </a:pathLst>
            </a:custGeom>
            <a:gradFill>
              <a:gsLst>
                <a:gs pos="79000">
                  <a:srgbClr val="E87F6F"/>
                </a:gs>
                <a:gs pos="13000">
                  <a:srgbClr val="D9250F"/>
                </a:gs>
              </a:gsLst>
              <a:lin ang="10800000" scaled="1"/>
            </a:gradFill>
            <a:ln w="9525" cap="flat">
              <a:noFill/>
              <a:prstDash val="solid"/>
              <a:miter/>
            </a:ln>
          </p:spPr>
          <p:txBody>
            <a:bodyPr rtlCol="0" anchor="ctr"/>
            <a:lstStyle/>
            <a:p>
              <a:endParaRPr lang="zh-CN" altLang="en-US"/>
            </a:p>
          </p:txBody>
        </p:sp>
        <p:sp>
          <p:nvSpPr>
            <p:cNvPr id="9800" name="任意多边形: 形状 9799">
              <a:extLst>
                <a:ext uri="{FF2B5EF4-FFF2-40B4-BE49-F238E27FC236}">
                  <a16:creationId xmlns:a16="http://schemas.microsoft.com/office/drawing/2014/main" id="{67811722-6EF1-48E6-9AD1-EFC47CC27330}"/>
                </a:ext>
              </a:extLst>
            </p:cNvPr>
            <p:cNvSpPr/>
            <p:nvPr/>
          </p:nvSpPr>
          <p:spPr>
            <a:xfrm>
              <a:off x="7666525" y="3775563"/>
              <a:ext cx="526688" cy="458728"/>
            </a:xfrm>
            <a:custGeom>
              <a:avLst/>
              <a:gdLst>
                <a:gd name="connsiteX0" fmla="*/ 276225 w 295275"/>
                <a:gd name="connsiteY0" fmla="*/ 98707 h 257175"/>
                <a:gd name="connsiteX1" fmla="*/ 276225 w 295275"/>
                <a:gd name="connsiteY1" fmla="*/ 98707 h 257175"/>
                <a:gd name="connsiteX2" fmla="*/ 200025 w 295275"/>
                <a:gd name="connsiteY2" fmla="*/ 78705 h 257175"/>
                <a:gd name="connsiteX3" fmla="*/ 80963 w 295275"/>
                <a:gd name="connsiteY3" fmla="*/ 17745 h 257175"/>
                <a:gd name="connsiteX4" fmla="*/ 0 w 295275"/>
                <a:gd name="connsiteY4" fmla="*/ 600 h 257175"/>
                <a:gd name="connsiteX5" fmla="*/ 138113 w 295275"/>
                <a:gd name="connsiteY5" fmla="*/ 266347 h 257175"/>
                <a:gd name="connsiteX6" fmla="*/ 155258 w 295275"/>
                <a:gd name="connsiteY6" fmla="*/ 236820 h 257175"/>
                <a:gd name="connsiteX7" fmla="*/ 200025 w 295275"/>
                <a:gd name="connsiteY7" fmla="*/ 209197 h 257175"/>
                <a:gd name="connsiteX8" fmla="*/ 274320 w 295275"/>
                <a:gd name="connsiteY8" fmla="*/ 177765 h 257175"/>
                <a:gd name="connsiteX9" fmla="*/ 276225 w 295275"/>
                <a:gd name="connsiteY9" fmla="*/ 9870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275" h="257175">
                  <a:moveTo>
                    <a:pt x="276225" y="98707"/>
                  </a:moveTo>
                  <a:cubicBezTo>
                    <a:pt x="275273" y="98707"/>
                    <a:pt x="275273" y="98707"/>
                    <a:pt x="276225" y="98707"/>
                  </a:cubicBezTo>
                  <a:cubicBezTo>
                    <a:pt x="251460" y="87277"/>
                    <a:pt x="224790" y="86325"/>
                    <a:pt x="200025" y="78705"/>
                  </a:cubicBezTo>
                  <a:cubicBezTo>
                    <a:pt x="157163" y="66322"/>
                    <a:pt x="120968" y="36795"/>
                    <a:pt x="80963" y="17745"/>
                  </a:cubicBezTo>
                  <a:cubicBezTo>
                    <a:pt x="56198" y="5362"/>
                    <a:pt x="26670" y="-2258"/>
                    <a:pt x="0" y="600"/>
                  </a:cubicBezTo>
                  <a:cubicBezTo>
                    <a:pt x="14287" y="105375"/>
                    <a:pt x="64770" y="197767"/>
                    <a:pt x="138113" y="266347"/>
                  </a:cubicBezTo>
                  <a:cubicBezTo>
                    <a:pt x="141923" y="254917"/>
                    <a:pt x="147638" y="245392"/>
                    <a:pt x="155258" y="236820"/>
                  </a:cubicBezTo>
                  <a:cubicBezTo>
                    <a:pt x="167640" y="223485"/>
                    <a:pt x="183833" y="216817"/>
                    <a:pt x="200025" y="209197"/>
                  </a:cubicBezTo>
                  <a:cubicBezTo>
                    <a:pt x="224790" y="198720"/>
                    <a:pt x="249555" y="188242"/>
                    <a:pt x="274320" y="177765"/>
                  </a:cubicBezTo>
                  <a:cubicBezTo>
                    <a:pt x="306705" y="162525"/>
                    <a:pt x="308610" y="113947"/>
                    <a:pt x="276225" y="98707"/>
                  </a:cubicBezTo>
                  <a:close/>
                </a:path>
              </a:pathLst>
            </a:custGeom>
            <a:gradFill flip="none" rotWithShape="1">
              <a:gsLst>
                <a:gs pos="82000">
                  <a:srgbClr val="F2BF82">
                    <a:alpha val="50000"/>
                  </a:srgbClr>
                </a:gs>
                <a:gs pos="0">
                  <a:srgbClr val="EA972E"/>
                </a:gs>
              </a:gsLst>
              <a:lin ang="18900000" scaled="1"/>
              <a:tileRect/>
            </a:gradFill>
            <a:ln w="9525" cap="flat">
              <a:noFill/>
              <a:prstDash val="solid"/>
              <a:miter/>
            </a:ln>
          </p:spPr>
          <p:txBody>
            <a:bodyPr rtlCol="0" anchor="ctr"/>
            <a:lstStyle/>
            <a:p>
              <a:endParaRPr lang="zh-CN" altLang="en-US"/>
            </a:p>
          </p:txBody>
        </p:sp>
        <p:sp>
          <p:nvSpPr>
            <p:cNvPr id="9803" name="任意多边形: 形状 9802">
              <a:extLst>
                <a:ext uri="{FF2B5EF4-FFF2-40B4-BE49-F238E27FC236}">
                  <a16:creationId xmlns:a16="http://schemas.microsoft.com/office/drawing/2014/main" id="{E81FD41B-0B3E-4A22-AA45-D88CBD643FD0}"/>
                </a:ext>
              </a:extLst>
            </p:cNvPr>
            <p:cNvSpPr/>
            <p:nvPr/>
          </p:nvSpPr>
          <p:spPr>
            <a:xfrm>
              <a:off x="7680117" y="2984901"/>
              <a:ext cx="356789" cy="509698"/>
            </a:xfrm>
            <a:custGeom>
              <a:avLst/>
              <a:gdLst>
                <a:gd name="connsiteX0" fmla="*/ 0 w 200025"/>
                <a:gd name="connsiteY0" fmla="*/ 272415 h 285750"/>
                <a:gd name="connsiteX1" fmla="*/ 46673 w 200025"/>
                <a:gd name="connsiteY1" fmla="*/ 282893 h 285750"/>
                <a:gd name="connsiteX2" fmla="*/ 120015 w 200025"/>
                <a:gd name="connsiteY2" fmla="*/ 274320 h 285750"/>
                <a:gd name="connsiteX3" fmla="*/ 160020 w 200025"/>
                <a:gd name="connsiteY3" fmla="*/ 164783 h 285750"/>
                <a:gd name="connsiteX4" fmla="*/ 189548 w 200025"/>
                <a:gd name="connsiteY4" fmla="*/ 27623 h 285750"/>
                <a:gd name="connsiteX5" fmla="*/ 202883 w 200025"/>
                <a:gd name="connsiteY5" fmla="*/ 0 h 285750"/>
                <a:gd name="connsiteX6" fmla="*/ 0 w 200025"/>
                <a:gd name="connsiteY6" fmla="*/ 272415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25" h="285750">
                  <a:moveTo>
                    <a:pt x="0" y="272415"/>
                  </a:moveTo>
                  <a:cubicBezTo>
                    <a:pt x="15240" y="275273"/>
                    <a:pt x="30480" y="280035"/>
                    <a:pt x="46673" y="282893"/>
                  </a:cubicBezTo>
                  <a:cubicBezTo>
                    <a:pt x="71438" y="287655"/>
                    <a:pt x="99060" y="288608"/>
                    <a:pt x="120015" y="274320"/>
                  </a:cubicBezTo>
                  <a:cubicBezTo>
                    <a:pt x="154305" y="252413"/>
                    <a:pt x="157163" y="204788"/>
                    <a:pt x="160020" y="164783"/>
                  </a:cubicBezTo>
                  <a:cubicBezTo>
                    <a:pt x="163830" y="118110"/>
                    <a:pt x="171450" y="70485"/>
                    <a:pt x="189548" y="27623"/>
                  </a:cubicBezTo>
                  <a:cubicBezTo>
                    <a:pt x="193358" y="18098"/>
                    <a:pt x="198120" y="8573"/>
                    <a:pt x="202883" y="0"/>
                  </a:cubicBezTo>
                  <a:cubicBezTo>
                    <a:pt x="103823" y="60008"/>
                    <a:pt x="29528" y="157163"/>
                    <a:pt x="0" y="272415"/>
                  </a:cubicBezTo>
                  <a:close/>
                </a:path>
              </a:pathLst>
            </a:custGeom>
            <a:gradFill flip="none" rotWithShape="1">
              <a:gsLst>
                <a:gs pos="71000">
                  <a:srgbClr val="DA640C"/>
                </a:gs>
                <a:gs pos="0">
                  <a:srgbClr val="F2BF82"/>
                </a:gs>
              </a:gsLst>
              <a:lin ang="13500000" scaled="1"/>
              <a:tileRect/>
            </a:gradFill>
            <a:ln w="9525" cap="flat">
              <a:noFill/>
              <a:prstDash val="solid"/>
              <a:miter/>
            </a:ln>
          </p:spPr>
          <p:txBody>
            <a:bodyPr rtlCol="0" anchor="ctr"/>
            <a:lstStyle/>
            <a:p>
              <a:endParaRPr lang="zh-CN" altLang="en-US"/>
            </a:p>
          </p:txBody>
        </p:sp>
        <p:sp>
          <p:nvSpPr>
            <p:cNvPr id="9804" name="任意多边形: 形状 9803">
              <a:extLst>
                <a:ext uri="{FF2B5EF4-FFF2-40B4-BE49-F238E27FC236}">
                  <a16:creationId xmlns:a16="http://schemas.microsoft.com/office/drawing/2014/main" id="{1873D0D9-680C-4D3C-8DD8-14F3C9F3B84A}"/>
                </a:ext>
              </a:extLst>
            </p:cNvPr>
            <p:cNvSpPr/>
            <p:nvPr/>
          </p:nvSpPr>
          <p:spPr>
            <a:xfrm>
              <a:off x="8408984" y="4250073"/>
              <a:ext cx="526688" cy="203879"/>
            </a:xfrm>
            <a:custGeom>
              <a:avLst/>
              <a:gdLst>
                <a:gd name="connsiteX0" fmla="*/ 0 w 295275"/>
                <a:gd name="connsiteY0" fmla="*/ 117481 h 114300"/>
                <a:gd name="connsiteX1" fmla="*/ 22860 w 295275"/>
                <a:gd name="connsiteY1" fmla="*/ 118433 h 114300"/>
                <a:gd name="connsiteX2" fmla="*/ 301943 w 295275"/>
                <a:gd name="connsiteY2" fmla="*/ 20326 h 114300"/>
                <a:gd name="connsiteX3" fmla="*/ 139065 w 295275"/>
                <a:gd name="connsiteY3" fmla="*/ 10801 h 114300"/>
                <a:gd name="connsiteX4" fmla="*/ 18098 w 295275"/>
                <a:gd name="connsiteY4" fmla="*/ 103194 h 114300"/>
                <a:gd name="connsiteX5" fmla="*/ 0 w 295275"/>
                <a:gd name="connsiteY5" fmla="*/ 117481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275" h="114300">
                  <a:moveTo>
                    <a:pt x="0" y="117481"/>
                  </a:moveTo>
                  <a:cubicBezTo>
                    <a:pt x="7620" y="117481"/>
                    <a:pt x="15240" y="118433"/>
                    <a:pt x="22860" y="118433"/>
                  </a:cubicBezTo>
                  <a:cubicBezTo>
                    <a:pt x="128588" y="118433"/>
                    <a:pt x="225743" y="81286"/>
                    <a:pt x="301943" y="20326"/>
                  </a:cubicBezTo>
                  <a:cubicBezTo>
                    <a:pt x="249555" y="1276"/>
                    <a:pt x="191453" y="-9202"/>
                    <a:pt x="139065" y="10801"/>
                  </a:cubicBezTo>
                  <a:cubicBezTo>
                    <a:pt x="91440" y="28898"/>
                    <a:pt x="56198" y="68904"/>
                    <a:pt x="18098" y="103194"/>
                  </a:cubicBezTo>
                  <a:cubicBezTo>
                    <a:pt x="12382" y="107004"/>
                    <a:pt x="5715" y="112719"/>
                    <a:pt x="0" y="117481"/>
                  </a:cubicBezTo>
                  <a:close/>
                </a:path>
              </a:pathLst>
            </a:custGeom>
            <a:gradFill flip="none" rotWithShape="1">
              <a:gsLst>
                <a:gs pos="78000">
                  <a:srgbClr val="E87F6F"/>
                </a:gs>
                <a:gs pos="13000">
                  <a:srgbClr val="D9250F"/>
                </a:gs>
              </a:gsLst>
              <a:lin ang="13500000" scaled="1"/>
              <a:tileRect/>
            </a:gradFill>
            <a:ln w="9525" cap="flat">
              <a:noFill/>
              <a:prstDash val="solid"/>
              <a:miter/>
            </a:ln>
          </p:spPr>
          <p:txBody>
            <a:bodyPr rtlCol="0" anchor="ctr"/>
            <a:lstStyle/>
            <a:p>
              <a:endParaRPr lang="zh-CN" altLang="en-US"/>
            </a:p>
          </p:txBody>
        </p:sp>
      </p:grpSp>
      <p:grpSp>
        <p:nvGrpSpPr>
          <p:cNvPr id="9870" name="组合 9869">
            <a:extLst>
              <a:ext uri="{FF2B5EF4-FFF2-40B4-BE49-F238E27FC236}">
                <a16:creationId xmlns:a16="http://schemas.microsoft.com/office/drawing/2014/main" id="{0854BC0E-C2F2-462C-B4A8-0C23E10029DA}"/>
              </a:ext>
            </a:extLst>
          </p:cNvPr>
          <p:cNvGrpSpPr/>
          <p:nvPr userDrawn="1"/>
        </p:nvGrpSpPr>
        <p:grpSpPr>
          <a:xfrm>
            <a:off x="10971579" y="604631"/>
            <a:ext cx="826956" cy="828273"/>
            <a:chOff x="10971579" y="604631"/>
            <a:chExt cx="826956" cy="828273"/>
          </a:xfrm>
          <a:effectLst>
            <a:glow rad="101600">
              <a:schemeClr val="accent2">
                <a:lumMod val="60000"/>
                <a:lumOff val="40000"/>
                <a:alpha val="28000"/>
              </a:schemeClr>
            </a:glow>
          </a:effectLst>
        </p:grpSpPr>
        <p:sp>
          <p:nvSpPr>
            <p:cNvPr id="9805" name="任意多边形: 形状 9804">
              <a:extLst>
                <a:ext uri="{FF2B5EF4-FFF2-40B4-BE49-F238E27FC236}">
                  <a16:creationId xmlns:a16="http://schemas.microsoft.com/office/drawing/2014/main" id="{8D3818C7-322B-4DD7-A7FC-75506134B0D3}"/>
                </a:ext>
              </a:extLst>
            </p:cNvPr>
            <p:cNvSpPr/>
            <p:nvPr/>
          </p:nvSpPr>
          <p:spPr>
            <a:xfrm>
              <a:off x="10971579" y="604631"/>
              <a:ext cx="817723" cy="817723"/>
            </a:xfrm>
            <a:custGeom>
              <a:avLst/>
              <a:gdLst>
                <a:gd name="connsiteX0" fmla="*/ 598170 w 590550"/>
                <a:gd name="connsiteY0" fmla="*/ 299085 h 590550"/>
                <a:gd name="connsiteX1" fmla="*/ 299085 w 590550"/>
                <a:gd name="connsiteY1" fmla="*/ 598170 h 590550"/>
                <a:gd name="connsiteX2" fmla="*/ 0 w 590550"/>
                <a:gd name="connsiteY2" fmla="*/ 299085 h 590550"/>
                <a:gd name="connsiteX3" fmla="*/ 299085 w 590550"/>
                <a:gd name="connsiteY3" fmla="*/ 0 h 590550"/>
                <a:gd name="connsiteX4" fmla="*/ 598170 w 590550"/>
                <a:gd name="connsiteY4" fmla="*/ 299085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 h="590550">
                  <a:moveTo>
                    <a:pt x="598170" y="299085"/>
                  </a:moveTo>
                  <a:cubicBezTo>
                    <a:pt x="598170" y="464265"/>
                    <a:pt x="464265" y="598170"/>
                    <a:pt x="299085" y="598170"/>
                  </a:cubicBezTo>
                  <a:cubicBezTo>
                    <a:pt x="133905" y="598170"/>
                    <a:pt x="0" y="464265"/>
                    <a:pt x="0" y="299085"/>
                  </a:cubicBezTo>
                  <a:cubicBezTo>
                    <a:pt x="0" y="133905"/>
                    <a:pt x="133905" y="0"/>
                    <a:pt x="299085" y="0"/>
                  </a:cubicBezTo>
                  <a:cubicBezTo>
                    <a:pt x="464265" y="0"/>
                    <a:pt x="598170" y="133905"/>
                    <a:pt x="598170" y="299085"/>
                  </a:cubicBezTo>
                  <a:close/>
                </a:path>
              </a:pathLst>
            </a:custGeom>
            <a:gradFill flip="none" rotWithShape="1">
              <a:gsLst>
                <a:gs pos="88000">
                  <a:schemeClr val="accent6"/>
                </a:gs>
                <a:gs pos="24000">
                  <a:schemeClr val="accent2"/>
                </a:gs>
              </a:gsLst>
              <a:lin ang="18900000" scaled="1"/>
              <a:tileRect/>
            </a:gradFill>
            <a:ln w="9525" cap="flat">
              <a:noFill/>
              <a:prstDash val="solid"/>
              <a:miter/>
            </a:ln>
          </p:spPr>
          <p:txBody>
            <a:bodyPr rtlCol="0" anchor="ctr"/>
            <a:lstStyle/>
            <a:p>
              <a:endParaRPr lang="zh-CN" altLang="en-US"/>
            </a:p>
          </p:txBody>
        </p:sp>
        <p:sp>
          <p:nvSpPr>
            <p:cNvPr id="112" name="任意多边形: 形状 111">
              <a:extLst>
                <a:ext uri="{FF2B5EF4-FFF2-40B4-BE49-F238E27FC236}">
                  <a16:creationId xmlns:a16="http://schemas.microsoft.com/office/drawing/2014/main" id="{F5EB7E11-E8D4-49B0-8589-C351239CF1DC}"/>
                </a:ext>
              </a:extLst>
            </p:cNvPr>
            <p:cNvSpPr/>
            <p:nvPr/>
          </p:nvSpPr>
          <p:spPr>
            <a:xfrm>
              <a:off x="10971579" y="665300"/>
              <a:ext cx="826956" cy="767604"/>
            </a:xfrm>
            <a:custGeom>
              <a:avLst/>
              <a:gdLst>
                <a:gd name="connsiteX0" fmla="*/ 156949 w 826956"/>
                <a:gd name="connsiteY0" fmla="*/ 679237 h 767604"/>
                <a:gd name="connsiteX1" fmla="*/ 648902 w 826956"/>
                <a:gd name="connsiteY1" fmla="*/ 693746 h 767604"/>
                <a:gd name="connsiteX2" fmla="*/ 412817 w 826956"/>
                <a:gd name="connsiteY2" fmla="*/ 767604 h 767604"/>
                <a:gd name="connsiteX3" fmla="*/ 156949 w 826956"/>
                <a:gd name="connsiteY3" fmla="*/ 679237 h 767604"/>
                <a:gd name="connsiteX4" fmla="*/ 52756 w 826956"/>
                <a:gd name="connsiteY4" fmla="*/ 555261 h 767604"/>
                <a:gd name="connsiteX5" fmla="*/ 772879 w 826956"/>
                <a:gd name="connsiteY5" fmla="*/ 560537 h 767604"/>
                <a:gd name="connsiteX6" fmla="*/ 742545 w 826956"/>
                <a:gd name="connsiteY6" fmla="*/ 605379 h 767604"/>
                <a:gd name="connsiteX7" fmla="*/ 85729 w 826956"/>
                <a:gd name="connsiteY7" fmla="*/ 605379 h 767604"/>
                <a:gd name="connsiteX8" fmla="*/ 52756 w 826956"/>
                <a:gd name="connsiteY8" fmla="*/ 555261 h 767604"/>
                <a:gd name="connsiteX9" fmla="*/ 826955 w 826956"/>
                <a:gd name="connsiteY9" fmla="*/ 365337 h 767604"/>
                <a:gd name="connsiteX10" fmla="*/ 803214 w 826956"/>
                <a:gd name="connsiteY10" fmla="*/ 493272 h 767604"/>
                <a:gd name="connsiteX11" fmla="*/ 11869 w 826956"/>
                <a:gd name="connsiteY11" fmla="*/ 455023 h 767604"/>
                <a:gd name="connsiteX12" fmla="*/ 3956 w 826956"/>
                <a:gd name="connsiteY12" fmla="*/ 416775 h 767604"/>
                <a:gd name="connsiteX13" fmla="*/ 6595 w 826956"/>
                <a:gd name="connsiteY13" fmla="*/ 280926 h 767604"/>
                <a:gd name="connsiteX14" fmla="*/ 6595 w 826956"/>
                <a:gd name="connsiteY14" fmla="*/ 282246 h 767604"/>
                <a:gd name="connsiteX15" fmla="*/ 820361 w 826956"/>
                <a:gd name="connsiteY15" fmla="*/ 282246 h 767604"/>
                <a:gd name="connsiteX16" fmla="*/ 826956 w 826956"/>
                <a:gd name="connsiteY16" fmla="*/ 333682 h 767604"/>
                <a:gd name="connsiteX17" fmla="*/ 0 w 826956"/>
                <a:gd name="connsiteY17" fmla="*/ 350828 h 767604"/>
                <a:gd name="connsiteX18" fmla="*/ 6595 w 826956"/>
                <a:gd name="connsiteY18" fmla="*/ 280926 h 767604"/>
                <a:gd name="connsiteX19" fmla="*/ 778156 w 826956"/>
                <a:gd name="connsiteY19" fmla="*/ 155631 h 767604"/>
                <a:gd name="connsiteX20" fmla="*/ 804534 w 826956"/>
                <a:gd name="connsiteY20" fmla="*/ 214982 h 767604"/>
                <a:gd name="connsiteX21" fmla="*/ 23740 w 826956"/>
                <a:gd name="connsiteY21" fmla="*/ 214982 h 767604"/>
                <a:gd name="connsiteX22" fmla="*/ 27696 w 826956"/>
                <a:gd name="connsiteY22" fmla="*/ 205749 h 767604"/>
                <a:gd name="connsiteX23" fmla="*/ 627799 w 826956"/>
                <a:gd name="connsiteY23" fmla="*/ 0 h 767604"/>
                <a:gd name="connsiteX24" fmla="*/ 718804 w 826956"/>
                <a:gd name="connsiteY24" fmla="*/ 75178 h 767604"/>
                <a:gd name="connsiteX25" fmla="*/ 47479 w 826956"/>
                <a:gd name="connsiteY25" fmla="*/ 158269 h 767604"/>
                <a:gd name="connsiteX26" fmla="*/ 137165 w 826956"/>
                <a:gd name="connsiteY26" fmla="*/ 44843 h 76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6956" h="767604">
                  <a:moveTo>
                    <a:pt x="156949" y="679237"/>
                  </a:moveTo>
                  <a:lnTo>
                    <a:pt x="648902" y="693746"/>
                  </a:lnTo>
                  <a:cubicBezTo>
                    <a:pt x="581637" y="739906"/>
                    <a:pt x="501185" y="767604"/>
                    <a:pt x="412817" y="767604"/>
                  </a:cubicBezTo>
                  <a:cubicBezTo>
                    <a:pt x="316538" y="767604"/>
                    <a:pt x="226852" y="734631"/>
                    <a:pt x="156949" y="679237"/>
                  </a:cubicBezTo>
                  <a:close/>
                  <a:moveTo>
                    <a:pt x="52756" y="555261"/>
                  </a:moveTo>
                  <a:lnTo>
                    <a:pt x="772879" y="560537"/>
                  </a:lnTo>
                  <a:cubicBezTo>
                    <a:pt x="763648" y="576363"/>
                    <a:pt x="753095" y="590872"/>
                    <a:pt x="742545" y="605379"/>
                  </a:cubicBezTo>
                  <a:lnTo>
                    <a:pt x="85729" y="605379"/>
                  </a:lnTo>
                  <a:cubicBezTo>
                    <a:pt x="72540" y="589552"/>
                    <a:pt x="61988" y="573726"/>
                    <a:pt x="52756" y="555261"/>
                  </a:cubicBezTo>
                  <a:close/>
                  <a:moveTo>
                    <a:pt x="826955" y="365337"/>
                  </a:moveTo>
                  <a:cubicBezTo>
                    <a:pt x="825635" y="410180"/>
                    <a:pt x="817722" y="452385"/>
                    <a:pt x="803214" y="493272"/>
                  </a:cubicBezTo>
                  <a:lnTo>
                    <a:pt x="11869" y="455023"/>
                  </a:lnTo>
                  <a:cubicBezTo>
                    <a:pt x="9232" y="443153"/>
                    <a:pt x="6594" y="429964"/>
                    <a:pt x="3956" y="416775"/>
                  </a:cubicBezTo>
                  <a:close/>
                  <a:moveTo>
                    <a:pt x="6595" y="280926"/>
                  </a:moveTo>
                  <a:lnTo>
                    <a:pt x="6595" y="282246"/>
                  </a:lnTo>
                  <a:lnTo>
                    <a:pt x="820361" y="282246"/>
                  </a:lnTo>
                  <a:cubicBezTo>
                    <a:pt x="824317" y="298072"/>
                    <a:pt x="825636" y="316537"/>
                    <a:pt x="826956" y="333682"/>
                  </a:cubicBezTo>
                  <a:lnTo>
                    <a:pt x="0" y="350828"/>
                  </a:lnTo>
                  <a:cubicBezTo>
                    <a:pt x="0" y="327088"/>
                    <a:pt x="2638" y="303348"/>
                    <a:pt x="6595" y="280926"/>
                  </a:cubicBezTo>
                  <a:close/>
                  <a:moveTo>
                    <a:pt x="778156" y="155631"/>
                  </a:moveTo>
                  <a:cubicBezTo>
                    <a:pt x="788707" y="174096"/>
                    <a:pt x="796620" y="193878"/>
                    <a:pt x="804534" y="214982"/>
                  </a:cubicBezTo>
                  <a:lnTo>
                    <a:pt x="23740" y="214982"/>
                  </a:lnTo>
                  <a:cubicBezTo>
                    <a:pt x="23740" y="212344"/>
                    <a:pt x="25058" y="208387"/>
                    <a:pt x="27696" y="205749"/>
                  </a:cubicBezTo>
                  <a:close/>
                  <a:moveTo>
                    <a:pt x="627799" y="0"/>
                  </a:moveTo>
                  <a:cubicBezTo>
                    <a:pt x="662090" y="21103"/>
                    <a:pt x="692426" y="46162"/>
                    <a:pt x="718804" y="75178"/>
                  </a:cubicBezTo>
                  <a:lnTo>
                    <a:pt x="47479" y="158269"/>
                  </a:lnTo>
                  <a:cubicBezTo>
                    <a:pt x="71219" y="114746"/>
                    <a:pt x="101555" y="76497"/>
                    <a:pt x="137165" y="44843"/>
                  </a:cubicBezTo>
                  <a:close/>
                </a:path>
              </a:pathLst>
            </a:custGeom>
            <a:gradFill flip="none" rotWithShape="1">
              <a:gsLst>
                <a:gs pos="85000">
                  <a:schemeClr val="accent2">
                    <a:lumMod val="60000"/>
                    <a:lumOff val="40000"/>
                    <a:alpha val="20000"/>
                  </a:schemeClr>
                </a:gs>
                <a:gs pos="24000">
                  <a:schemeClr val="accent6">
                    <a:lumMod val="20000"/>
                    <a:lumOff val="80000"/>
                    <a:alpha val="50000"/>
                  </a:schemeClr>
                </a:gs>
              </a:gsLst>
              <a:lin ang="8100000" scaled="1"/>
              <a:tileRect/>
            </a:gradFill>
            <a:ln w="9525" cap="flat">
              <a:noFill/>
              <a:prstDash val="solid"/>
              <a:miter/>
            </a:ln>
          </p:spPr>
          <p:txBody>
            <a:bodyPr rtlCol="0" anchor="ctr"/>
            <a:lstStyle/>
            <a:p>
              <a:endParaRPr lang="zh-CN" altLang="en-US"/>
            </a:p>
          </p:txBody>
        </p:sp>
      </p:grpSp>
      <p:grpSp>
        <p:nvGrpSpPr>
          <p:cNvPr id="9873" name="组合 9872">
            <a:extLst>
              <a:ext uri="{FF2B5EF4-FFF2-40B4-BE49-F238E27FC236}">
                <a16:creationId xmlns:a16="http://schemas.microsoft.com/office/drawing/2014/main" id="{37BB4035-B479-4970-B619-02122D125B3E}"/>
              </a:ext>
            </a:extLst>
          </p:cNvPr>
          <p:cNvGrpSpPr/>
          <p:nvPr userDrawn="1"/>
        </p:nvGrpSpPr>
        <p:grpSpPr>
          <a:xfrm>
            <a:off x="9439010" y="1959009"/>
            <a:ext cx="1541139" cy="3737449"/>
            <a:chOff x="9439010" y="1959009"/>
            <a:chExt cx="1541139" cy="3737449"/>
          </a:xfrm>
          <a:effectLst/>
        </p:grpSpPr>
        <p:sp>
          <p:nvSpPr>
            <p:cNvPr id="9814" name="任意多边形: 形状 9813">
              <a:extLst>
                <a:ext uri="{FF2B5EF4-FFF2-40B4-BE49-F238E27FC236}">
                  <a16:creationId xmlns:a16="http://schemas.microsoft.com/office/drawing/2014/main" id="{413F70D0-44B4-43EA-88C6-F70BB11A9BFB}"/>
                </a:ext>
              </a:extLst>
            </p:cNvPr>
            <p:cNvSpPr/>
            <p:nvPr/>
          </p:nvSpPr>
          <p:spPr>
            <a:xfrm rot="21376662">
              <a:off x="9439010" y="2346224"/>
              <a:ext cx="1541139" cy="3350234"/>
            </a:xfrm>
            <a:custGeom>
              <a:avLst/>
              <a:gdLst>
                <a:gd name="connsiteX0" fmla="*/ 1419022 w 1861619"/>
                <a:gd name="connsiteY0" fmla="*/ 0 h 5008250"/>
                <a:gd name="connsiteX1" fmla="*/ 1428907 w 1861619"/>
                <a:gd name="connsiteY1" fmla="*/ 9885 h 5008250"/>
                <a:gd name="connsiteX2" fmla="*/ 1437144 w 1861619"/>
                <a:gd name="connsiteY2" fmla="*/ 19769 h 5008250"/>
                <a:gd name="connsiteX3" fmla="*/ 1453619 w 1861619"/>
                <a:gd name="connsiteY3" fmla="*/ 37891 h 5008250"/>
                <a:gd name="connsiteX4" fmla="*/ 1484920 w 1861619"/>
                <a:gd name="connsiteY4" fmla="*/ 75783 h 5008250"/>
                <a:gd name="connsiteX5" fmla="*/ 1544229 w 1861619"/>
                <a:gd name="connsiteY5" fmla="*/ 151565 h 5008250"/>
                <a:gd name="connsiteX6" fmla="*/ 1649666 w 1861619"/>
                <a:gd name="connsiteY6" fmla="*/ 311368 h 5008250"/>
                <a:gd name="connsiteX7" fmla="*/ 1738628 w 1861619"/>
                <a:gd name="connsiteY7" fmla="*/ 481056 h 5008250"/>
                <a:gd name="connsiteX8" fmla="*/ 1809468 w 1861619"/>
                <a:gd name="connsiteY8" fmla="*/ 660628 h 5008250"/>
                <a:gd name="connsiteX9" fmla="*/ 1873719 w 1861619"/>
                <a:gd name="connsiteY9" fmla="*/ 1046131 h 5008250"/>
                <a:gd name="connsiteX10" fmla="*/ 1799584 w 1861619"/>
                <a:gd name="connsiteY10" fmla="*/ 1433282 h 5008250"/>
                <a:gd name="connsiteX11" fmla="*/ 1596947 w 1861619"/>
                <a:gd name="connsiteY11" fmla="*/ 1762772 h 5008250"/>
                <a:gd name="connsiteX12" fmla="*/ 1532697 w 1861619"/>
                <a:gd name="connsiteY12" fmla="*/ 1833613 h 5008250"/>
                <a:gd name="connsiteX13" fmla="*/ 1463504 w 1861619"/>
                <a:gd name="connsiteY13" fmla="*/ 1899511 h 5008250"/>
                <a:gd name="connsiteX14" fmla="*/ 1427260 w 1861619"/>
                <a:gd name="connsiteY14" fmla="*/ 1930812 h 5008250"/>
                <a:gd name="connsiteX15" fmla="*/ 1391016 w 1861619"/>
                <a:gd name="connsiteY15" fmla="*/ 1960467 h 5008250"/>
                <a:gd name="connsiteX16" fmla="*/ 1354772 w 1861619"/>
                <a:gd name="connsiteY16" fmla="*/ 1990121 h 5008250"/>
                <a:gd name="connsiteX17" fmla="*/ 1316881 w 1861619"/>
                <a:gd name="connsiteY17" fmla="*/ 2018127 h 5008250"/>
                <a:gd name="connsiteX18" fmla="*/ 1241098 w 1861619"/>
                <a:gd name="connsiteY18" fmla="*/ 2072493 h 5008250"/>
                <a:gd name="connsiteX19" fmla="*/ 1168610 w 1861619"/>
                <a:gd name="connsiteY19" fmla="*/ 2121917 h 5008250"/>
                <a:gd name="connsiteX20" fmla="*/ 1026929 w 1861619"/>
                <a:gd name="connsiteY20" fmla="*/ 2225706 h 5008250"/>
                <a:gd name="connsiteX21" fmla="*/ 760042 w 1861619"/>
                <a:gd name="connsiteY21" fmla="*/ 2453054 h 5008250"/>
                <a:gd name="connsiteX22" fmla="*/ 521162 w 1861619"/>
                <a:gd name="connsiteY22" fmla="*/ 2708409 h 5008250"/>
                <a:gd name="connsiteX23" fmla="*/ 320173 w 1861619"/>
                <a:gd name="connsiteY23" fmla="*/ 2995066 h 5008250"/>
                <a:gd name="connsiteX24" fmla="*/ 77997 w 1861619"/>
                <a:gd name="connsiteY24" fmla="*/ 3650751 h 5008250"/>
                <a:gd name="connsiteX25" fmla="*/ 107652 w 1861619"/>
                <a:gd name="connsiteY25" fmla="*/ 4352565 h 5008250"/>
                <a:gd name="connsiteX26" fmla="*/ 381128 w 1861619"/>
                <a:gd name="connsiteY26" fmla="*/ 5009898 h 5008250"/>
                <a:gd name="connsiteX27" fmla="*/ 74703 w 1861619"/>
                <a:gd name="connsiteY27" fmla="*/ 4360802 h 5008250"/>
                <a:gd name="connsiteX28" fmla="*/ 12099 w 1861619"/>
                <a:gd name="connsiteY28" fmla="*/ 3642514 h 5008250"/>
                <a:gd name="connsiteX29" fmla="*/ 232858 w 1861619"/>
                <a:gd name="connsiteY29" fmla="*/ 2948937 h 5008250"/>
                <a:gd name="connsiteX30" fmla="*/ 428904 w 1861619"/>
                <a:gd name="connsiteY30" fmla="*/ 2640864 h 5008250"/>
                <a:gd name="connsiteX31" fmla="*/ 666137 w 1861619"/>
                <a:gd name="connsiteY31" fmla="*/ 2362444 h 5008250"/>
                <a:gd name="connsiteX32" fmla="*/ 933024 w 1861619"/>
                <a:gd name="connsiteY32" fmla="*/ 2113680 h 5008250"/>
                <a:gd name="connsiteX33" fmla="*/ 1076353 w 1861619"/>
                <a:gd name="connsiteY33" fmla="*/ 2000005 h 5008250"/>
                <a:gd name="connsiteX34" fmla="*/ 1148840 w 1861619"/>
                <a:gd name="connsiteY34" fmla="*/ 1945639 h 5008250"/>
                <a:gd name="connsiteX35" fmla="*/ 1216386 w 1861619"/>
                <a:gd name="connsiteY35" fmla="*/ 1892921 h 5008250"/>
                <a:gd name="connsiteX36" fmla="*/ 1613422 w 1861619"/>
                <a:gd name="connsiteY36" fmla="*/ 1369032 h 5008250"/>
                <a:gd name="connsiteX37" fmla="*/ 1657903 w 1861619"/>
                <a:gd name="connsiteY37" fmla="*/ 1054369 h 5008250"/>
                <a:gd name="connsiteX38" fmla="*/ 1590357 w 1861619"/>
                <a:gd name="connsiteY38" fmla="*/ 739705 h 5008250"/>
                <a:gd name="connsiteX39" fmla="*/ 1522812 w 1861619"/>
                <a:gd name="connsiteY39" fmla="*/ 589787 h 5008250"/>
                <a:gd name="connsiteX40" fmla="*/ 1438792 w 1861619"/>
                <a:gd name="connsiteY40" fmla="*/ 446459 h 5008250"/>
                <a:gd name="connsiteX41" fmla="*/ 1339945 w 1861619"/>
                <a:gd name="connsiteY41" fmla="*/ 311368 h 5008250"/>
                <a:gd name="connsiteX42" fmla="*/ 1285579 w 1861619"/>
                <a:gd name="connsiteY42" fmla="*/ 247118 h 5008250"/>
                <a:gd name="connsiteX43" fmla="*/ 1257572 w 1861619"/>
                <a:gd name="connsiteY43" fmla="*/ 217464 h 5008250"/>
                <a:gd name="connsiteX44" fmla="*/ 1244393 w 1861619"/>
                <a:gd name="connsiteY44" fmla="*/ 202636 h 5008250"/>
                <a:gd name="connsiteX45" fmla="*/ 1239450 w 1861619"/>
                <a:gd name="connsiteY45" fmla="*/ 192752 h 5008250"/>
                <a:gd name="connsiteX46" fmla="*/ 1234508 w 1861619"/>
                <a:gd name="connsiteY46" fmla="*/ 187809 h 5008250"/>
                <a:gd name="connsiteX47" fmla="*/ 1419022 w 1861619"/>
                <a:gd name="connsiteY47" fmla="*/ 0 h 500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61619" h="5008250">
                  <a:moveTo>
                    <a:pt x="1419022" y="0"/>
                  </a:moveTo>
                  <a:lnTo>
                    <a:pt x="1428907" y="9885"/>
                  </a:lnTo>
                  <a:lnTo>
                    <a:pt x="1437144" y="19769"/>
                  </a:lnTo>
                  <a:lnTo>
                    <a:pt x="1453619" y="37891"/>
                  </a:lnTo>
                  <a:cubicBezTo>
                    <a:pt x="1465151" y="51071"/>
                    <a:pt x="1475036" y="62603"/>
                    <a:pt x="1484920" y="75783"/>
                  </a:cubicBezTo>
                  <a:cubicBezTo>
                    <a:pt x="1504690" y="100495"/>
                    <a:pt x="1524459" y="126854"/>
                    <a:pt x="1544229" y="151565"/>
                  </a:cubicBezTo>
                  <a:cubicBezTo>
                    <a:pt x="1582120" y="202636"/>
                    <a:pt x="1616717" y="257002"/>
                    <a:pt x="1649666" y="311368"/>
                  </a:cubicBezTo>
                  <a:cubicBezTo>
                    <a:pt x="1682615" y="365734"/>
                    <a:pt x="1712269" y="423395"/>
                    <a:pt x="1738628" y="481056"/>
                  </a:cubicBezTo>
                  <a:cubicBezTo>
                    <a:pt x="1764987" y="540364"/>
                    <a:pt x="1789699" y="599672"/>
                    <a:pt x="1809468" y="660628"/>
                  </a:cubicBezTo>
                  <a:cubicBezTo>
                    <a:pt x="1849007" y="784187"/>
                    <a:pt x="1873719" y="914335"/>
                    <a:pt x="1873719" y="1046131"/>
                  </a:cubicBezTo>
                  <a:cubicBezTo>
                    <a:pt x="1873719" y="1177927"/>
                    <a:pt x="1849007" y="1311371"/>
                    <a:pt x="1799584" y="1433282"/>
                  </a:cubicBezTo>
                  <a:cubicBezTo>
                    <a:pt x="1750160" y="1555194"/>
                    <a:pt x="1679320" y="1667220"/>
                    <a:pt x="1596947" y="1762772"/>
                  </a:cubicBezTo>
                  <a:cubicBezTo>
                    <a:pt x="1575530" y="1785837"/>
                    <a:pt x="1555761" y="1810548"/>
                    <a:pt x="1532697" y="1833613"/>
                  </a:cubicBezTo>
                  <a:lnTo>
                    <a:pt x="1463504" y="1899511"/>
                  </a:lnTo>
                  <a:cubicBezTo>
                    <a:pt x="1451971" y="1911043"/>
                    <a:pt x="1440439" y="1920928"/>
                    <a:pt x="1427260" y="1930812"/>
                  </a:cubicBezTo>
                  <a:lnTo>
                    <a:pt x="1391016" y="1960467"/>
                  </a:lnTo>
                  <a:lnTo>
                    <a:pt x="1354772" y="1990121"/>
                  </a:lnTo>
                  <a:cubicBezTo>
                    <a:pt x="1343240" y="2000005"/>
                    <a:pt x="1330060" y="2008242"/>
                    <a:pt x="1316881" y="2018127"/>
                  </a:cubicBezTo>
                  <a:lnTo>
                    <a:pt x="1241098" y="2072493"/>
                  </a:lnTo>
                  <a:lnTo>
                    <a:pt x="1168610" y="2121917"/>
                  </a:lnTo>
                  <a:cubicBezTo>
                    <a:pt x="1119186" y="2154866"/>
                    <a:pt x="1073058" y="2191110"/>
                    <a:pt x="1026929" y="2225706"/>
                  </a:cubicBezTo>
                  <a:cubicBezTo>
                    <a:pt x="934672" y="2298194"/>
                    <a:pt x="844062" y="2372329"/>
                    <a:pt x="760042" y="2453054"/>
                  </a:cubicBezTo>
                  <a:cubicBezTo>
                    <a:pt x="676022" y="2533779"/>
                    <a:pt x="593650" y="2617799"/>
                    <a:pt x="521162" y="2708409"/>
                  </a:cubicBezTo>
                  <a:cubicBezTo>
                    <a:pt x="447026" y="2799019"/>
                    <a:pt x="379481" y="2894571"/>
                    <a:pt x="320173" y="2995066"/>
                  </a:cubicBezTo>
                  <a:cubicBezTo>
                    <a:pt x="199909" y="3197702"/>
                    <a:pt x="115889" y="3418461"/>
                    <a:pt x="77997" y="3650751"/>
                  </a:cubicBezTo>
                  <a:cubicBezTo>
                    <a:pt x="38459" y="3883042"/>
                    <a:pt x="53286" y="4121922"/>
                    <a:pt x="107652" y="4352565"/>
                  </a:cubicBezTo>
                  <a:cubicBezTo>
                    <a:pt x="162017" y="4583208"/>
                    <a:pt x="259217" y="4803967"/>
                    <a:pt x="381128" y="5009898"/>
                  </a:cubicBezTo>
                  <a:cubicBezTo>
                    <a:pt x="249332" y="4808909"/>
                    <a:pt x="140601" y="4593093"/>
                    <a:pt x="74703" y="4360802"/>
                  </a:cubicBezTo>
                  <a:cubicBezTo>
                    <a:pt x="8804" y="4130159"/>
                    <a:pt x="-17555" y="3883042"/>
                    <a:pt x="12099" y="3642514"/>
                  </a:cubicBezTo>
                  <a:cubicBezTo>
                    <a:pt x="40106" y="3400338"/>
                    <a:pt x="117536" y="3164753"/>
                    <a:pt x="232858" y="2948937"/>
                  </a:cubicBezTo>
                  <a:cubicBezTo>
                    <a:pt x="290519" y="2841853"/>
                    <a:pt x="356417" y="2738063"/>
                    <a:pt x="428904" y="2640864"/>
                  </a:cubicBezTo>
                  <a:cubicBezTo>
                    <a:pt x="501392" y="2542017"/>
                    <a:pt x="582117" y="2451407"/>
                    <a:pt x="666137" y="2362444"/>
                  </a:cubicBezTo>
                  <a:cubicBezTo>
                    <a:pt x="750157" y="2273482"/>
                    <a:pt x="840767" y="2192757"/>
                    <a:pt x="933024" y="2113680"/>
                  </a:cubicBezTo>
                  <a:cubicBezTo>
                    <a:pt x="980801" y="2075788"/>
                    <a:pt x="1026929" y="2036249"/>
                    <a:pt x="1076353" y="2000005"/>
                  </a:cubicBezTo>
                  <a:lnTo>
                    <a:pt x="1148840" y="1945639"/>
                  </a:lnTo>
                  <a:lnTo>
                    <a:pt x="1216386" y="1892921"/>
                  </a:lnTo>
                  <a:cubicBezTo>
                    <a:pt x="1394311" y="1751240"/>
                    <a:pt x="1542581" y="1573316"/>
                    <a:pt x="1613422" y="1369032"/>
                  </a:cubicBezTo>
                  <a:cubicBezTo>
                    <a:pt x="1648018" y="1268537"/>
                    <a:pt x="1662845" y="1161453"/>
                    <a:pt x="1657903" y="1054369"/>
                  </a:cubicBezTo>
                  <a:cubicBezTo>
                    <a:pt x="1654608" y="947284"/>
                    <a:pt x="1628249" y="841847"/>
                    <a:pt x="1590357" y="739705"/>
                  </a:cubicBezTo>
                  <a:cubicBezTo>
                    <a:pt x="1572235" y="688634"/>
                    <a:pt x="1547524" y="639211"/>
                    <a:pt x="1522812" y="589787"/>
                  </a:cubicBezTo>
                  <a:cubicBezTo>
                    <a:pt x="1496453" y="540364"/>
                    <a:pt x="1468446" y="492588"/>
                    <a:pt x="1438792" y="446459"/>
                  </a:cubicBezTo>
                  <a:cubicBezTo>
                    <a:pt x="1407490" y="400331"/>
                    <a:pt x="1374541" y="354202"/>
                    <a:pt x="1339945" y="311368"/>
                  </a:cubicBezTo>
                  <a:cubicBezTo>
                    <a:pt x="1321823" y="289951"/>
                    <a:pt x="1305348" y="268534"/>
                    <a:pt x="1285579" y="247118"/>
                  </a:cubicBezTo>
                  <a:cubicBezTo>
                    <a:pt x="1275694" y="237233"/>
                    <a:pt x="1267457" y="227348"/>
                    <a:pt x="1257572" y="217464"/>
                  </a:cubicBezTo>
                  <a:lnTo>
                    <a:pt x="1244393" y="202636"/>
                  </a:lnTo>
                  <a:lnTo>
                    <a:pt x="1239450" y="192752"/>
                  </a:lnTo>
                  <a:lnTo>
                    <a:pt x="1234508" y="187809"/>
                  </a:lnTo>
                  <a:lnTo>
                    <a:pt x="1419022" y="0"/>
                  </a:lnTo>
                  <a:close/>
                </a:path>
              </a:pathLst>
            </a:custGeom>
            <a:gradFill flip="none" rotWithShape="1">
              <a:gsLst>
                <a:gs pos="81000">
                  <a:schemeClr val="accent1">
                    <a:lumMod val="75000"/>
                  </a:schemeClr>
                </a:gs>
                <a:gs pos="24000">
                  <a:schemeClr val="accent2"/>
                </a:gs>
              </a:gsLst>
              <a:lin ang="5400000" scaled="1"/>
              <a:tileRect/>
            </a:gradFill>
            <a:ln w="16460" cap="flat">
              <a:noFill/>
              <a:prstDash val="solid"/>
              <a:miter/>
            </a:ln>
          </p:spPr>
          <p:txBody>
            <a:bodyPr rtlCol="0" anchor="ctr"/>
            <a:lstStyle/>
            <a:p>
              <a:endParaRPr lang="zh-CN" altLang="en-US"/>
            </a:p>
          </p:txBody>
        </p:sp>
        <p:sp>
          <p:nvSpPr>
            <p:cNvPr id="9815" name="任意多边形: 形状 9814">
              <a:extLst>
                <a:ext uri="{FF2B5EF4-FFF2-40B4-BE49-F238E27FC236}">
                  <a16:creationId xmlns:a16="http://schemas.microsoft.com/office/drawing/2014/main" id="{9D231407-B34D-4CEC-B8A7-1827C97B66AB}"/>
                </a:ext>
              </a:extLst>
            </p:cNvPr>
            <p:cNvSpPr/>
            <p:nvPr/>
          </p:nvSpPr>
          <p:spPr>
            <a:xfrm rot="21376662">
              <a:off x="10432333" y="2195407"/>
              <a:ext cx="354598" cy="300045"/>
            </a:xfrm>
            <a:custGeom>
              <a:avLst/>
              <a:gdLst>
                <a:gd name="connsiteX0" fmla="*/ 8237 w 428337"/>
                <a:gd name="connsiteY0" fmla="*/ 0 h 362439"/>
                <a:gd name="connsiteX1" fmla="*/ 0 w 428337"/>
                <a:gd name="connsiteY1" fmla="*/ 6590 h 362439"/>
                <a:gd name="connsiteX2" fmla="*/ 151566 w 428337"/>
                <a:gd name="connsiteY2" fmla="*/ 194399 h 362439"/>
                <a:gd name="connsiteX3" fmla="*/ 341022 w 428337"/>
                <a:gd name="connsiteY3" fmla="*/ 261945 h 362439"/>
                <a:gd name="connsiteX4" fmla="*/ 416805 w 428337"/>
                <a:gd name="connsiteY4" fmla="*/ 365734 h 362439"/>
                <a:gd name="connsiteX5" fmla="*/ 443164 w 428337"/>
                <a:gd name="connsiteY5" fmla="*/ 345965 h 362439"/>
                <a:gd name="connsiteX6" fmla="*/ 395388 w 428337"/>
                <a:gd name="connsiteY6" fmla="*/ 280067 h 362439"/>
                <a:gd name="connsiteX7" fmla="*/ 308073 w 428337"/>
                <a:gd name="connsiteY7" fmla="*/ 163098 h 36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337" h="362439">
                  <a:moveTo>
                    <a:pt x="8237" y="0"/>
                  </a:moveTo>
                  <a:lnTo>
                    <a:pt x="0" y="6590"/>
                  </a:lnTo>
                  <a:lnTo>
                    <a:pt x="151566" y="194399"/>
                  </a:lnTo>
                  <a:lnTo>
                    <a:pt x="341022" y="261945"/>
                  </a:lnTo>
                  <a:lnTo>
                    <a:pt x="416805" y="365734"/>
                  </a:lnTo>
                  <a:lnTo>
                    <a:pt x="443164" y="345965"/>
                  </a:lnTo>
                  <a:lnTo>
                    <a:pt x="395388" y="280067"/>
                  </a:lnTo>
                  <a:lnTo>
                    <a:pt x="308073" y="163098"/>
                  </a:lnTo>
                  <a:close/>
                </a:path>
              </a:pathLst>
            </a:custGeom>
            <a:solidFill>
              <a:schemeClr val="accent2">
                <a:lumMod val="20000"/>
                <a:lumOff val="80000"/>
              </a:schemeClr>
            </a:solidFill>
            <a:ln w="16460" cap="flat">
              <a:noFill/>
              <a:prstDash val="solid"/>
              <a:miter/>
            </a:ln>
          </p:spPr>
          <p:txBody>
            <a:bodyPr rtlCol="0" anchor="ctr"/>
            <a:lstStyle/>
            <a:p>
              <a:endParaRPr lang="zh-CN" altLang="en-US"/>
            </a:p>
          </p:txBody>
        </p:sp>
        <p:sp>
          <p:nvSpPr>
            <p:cNvPr id="9816" name="任意多边形: 形状 9815">
              <a:extLst>
                <a:ext uri="{FF2B5EF4-FFF2-40B4-BE49-F238E27FC236}">
                  <a16:creationId xmlns:a16="http://schemas.microsoft.com/office/drawing/2014/main" id="{8D29FC2A-7661-40A1-84C2-23A535AC4BA2}"/>
                </a:ext>
              </a:extLst>
            </p:cNvPr>
            <p:cNvSpPr/>
            <p:nvPr/>
          </p:nvSpPr>
          <p:spPr>
            <a:xfrm rot="21376662">
              <a:off x="10432687" y="2200852"/>
              <a:ext cx="354598" cy="300045"/>
            </a:xfrm>
            <a:custGeom>
              <a:avLst/>
              <a:gdLst>
                <a:gd name="connsiteX0" fmla="*/ 0 w 428337"/>
                <a:gd name="connsiteY0" fmla="*/ 0 h 362439"/>
                <a:gd name="connsiteX1" fmla="*/ 143328 w 428337"/>
                <a:gd name="connsiteY1" fmla="*/ 194399 h 362439"/>
                <a:gd name="connsiteX2" fmla="*/ 332785 w 428337"/>
                <a:gd name="connsiteY2" fmla="*/ 261945 h 362439"/>
                <a:gd name="connsiteX3" fmla="*/ 408568 w 428337"/>
                <a:gd name="connsiteY3" fmla="*/ 364087 h 362439"/>
                <a:gd name="connsiteX4" fmla="*/ 434927 w 428337"/>
                <a:gd name="connsiteY4" fmla="*/ 345965 h 362439"/>
                <a:gd name="connsiteX5" fmla="*/ 385504 w 428337"/>
                <a:gd name="connsiteY5" fmla="*/ 280067 h 362439"/>
                <a:gd name="connsiteX6" fmla="*/ 299836 w 428337"/>
                <a:gd name="connsiteY6" fmla="*/ 163098 h 36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8337" h="362439">
                  <a:moveTo>
                    <a:pt x="0" y="0"/>
                  </a:moveTo>
                  <a:lnTo>
                    <a:pt x="143328" y="194399"/>
                  </a:lnTo>
                  <a:lnTo>
                    <a:pt x="332785" y="261945"/>
                  </a:lnTo>
                  <a:lnTo>
                    <a:pt x="408568" y="364087"/>
                  </a:lnTo>
                  <a:lnTo>
                    <a:pt x="434927" y="345965"/>
                  </a:lnTo>
                  <a:lnTo>
                    <a:pt x="385504" y="280067"/>
                  </a:lnTo>
                  <a:lnTo>
                    <a:pt x="299836" y="163098"/>
                  </a:lnTo>
                  <a:close/>
                </a:path>
              </a:pathLst>
            </a:custGeom>
            <a:gradFill>
              <a:gsLst>
                <a:gs pos="93000">
                  <a:schemeClr val="accent3">
                    <a:lumMod val="60000"/>
                    <a:lumOff val="40000"/>
                  </a:schemeClr>
                </a:gs>
                <a:gs pos="0">
                  <a:schemeClr val="accent3"/>
                </a:gs>
              </a:gsLst>
              <a:lin ang="5400000" scaled="1"/>
            </a:gradFill>
            <a:ln w="16460" cap="flat">
              <a:noFill/>
              <a:prstDash val="solid"/>
              <a:miter/>
            </a:ln>
          </p:spPr>
          <p:txBody>
            <a:bodyPr rtlCol="0" anchor="ctr"/>
            <a:lstStyle/>
            <a:p>
              <a:endParaRPr lang="zh-CN" altLang="en-US"/>
            </a:p>
          </p:txBody>
        </p:sp>
        <p:sp>
          <p:nvSpPr>
            <p:cNvPr id="9817" name="任意多边形: 形状 9816">
              <a:extLst>
                <a:ext uri="{FF2B5EF4-FFF2-40B4-BE49-F238E27FC236}">
                  <a16:creationId xmlns:a16="http://schemas.microsoft.com/office/drawing/2014/main" id="{88F743BE-1A3E-42CF-912A-5B537857CEF4}"/>
                </a:ext>
              </a:extLst>
            </p:cNvPr>
            <p:cNvSpPr/>
            <p:nvPr/>
          </p:nvSpPr>
          <p:spPr>
            <a:xfrm rot="21376662">
              <a:off x="10774428" y="2463681"/>
              <a:ext cx="109107" cy="136384"/>
            </a:xfrm>
            <a:custGeom>
              <a:avLst/>
              <a:gdLst>
                <a:gd name="connsiteX0" fmla="*/ 50053 w 131796"/>
                <a:gd name="connsiteY0" fmla="*/ 234 h 164745"/>
                <a:gd name="connsiteX1" fmla="*/ 26988 w 131796"/>
                <a:gd name="connsiteY1" fmla="*/ 16709 h 164745"/>
                <a:gd name="connsiteX2" fmla="*/ 3924 w 131796"/>
                <a:gd name="connsiteY2" fmla="*/ 33183 h 164745"/>
                <a:gd name="connsiteX3" fmla="*/ 8867 w 131796"/>
                <a:gd name="connsiteY3" fmla="*/ 71075 h 164745"/>
                <a:gd name="connsiteX4" fmla="*/ 137368 w 131796"/>
                <a:gd name="connsiteY4" fmla="*/ 166627 h 164745"/>
                <a:gd name="connsiteX5" fmla="*/ 84649 w 131796"/>
                <a:gd name="connsiteY5" fmla="*/ 15061 h 164745"/>
                <a:gd name="connsiteX6" fmla="*/ 50053 w 131796"/>
                <a:gd name="connsiteY6" fmla="*/ 234 h 16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796" h="164745">
                  <a:moveTo>
                    <a:pt x="50053" y="234"/>
                  </a:moveTo>
                  <a:lnTo>
                    <a:pt x="26988" y="16709"/>
                  </a:lnTo>
                  <a:lnTo>
                    <a:pt x="3924" y="33183"/>
                  </a:lnTo>
                  <a:cubicBezTo>
                    <a:pt x="3924" y="33183"/>
                    <a:pt x="-7608" y="52953"/>
                    <a:pt x="8867" y="71075"/>
                  </a:cubicBezTo>
                  <a:cubicBezTo>
                    <a:pt x="25341" y="89197"/>
                    <a:pt x="78059" y="146857"/>
                    <a:pt x="137368" y="166627"/>
                  </a:cubicBezTo>
                  <a:cubicBezTo>
                    <a:pt x="137368" y="104024"/>
                    <a:pt x="96181" y="36478"/>
                    <a:pt x="84649" y="15061"/>
                  </a:cubicBezTo>
                  <a:cubicBezTo>
                    <a:pt x="73117" y="-3061"/>
                    <a:pt x="50053" y="234"/>
                    <a:pt x="50053" y="234"/>
                  </a:cubicBezTo>
                  <a:close/>
                </a:path>
              </a:pathLst>
            </a:custGeom>
            <a:gradFill flip="none" rotWithShape="1">
              <a:gsLst>
                <a:gs pos="100000">
                  <a:srgbClr val="FDE549"/>
                </a:gs>
                <a:gs pos="6195">
                  <a:srgbClr val="D9250F"/>
                </a:gs>
                <a:gs pos="38000">
                  <a:srgbClr val="FA6116"/>
                </a:gs>
              </a:gsLst>
              <a:path path="rect">
                <a:fillToRect l="100000" t="100000"/>
              </a:path>
              <a:tileRect r="-100000" b="-100000"/>
            </a:gradFill>
            <a:ln w="16460" cap="flat">
              <a:noFill/>
              <a:prstDash val="solid"/>
              <a:miter/>
            </a:ln>
          </p:spPr>
          <p:txBody>
            <a:bodyPr rtlCol="0" anchor="ctr"/>
            <a:lstStyle/>
            <a:p>
              <a:endParaRPr lang="zh-CN" altLang="en-US"/>
            </a:p>
          </p:txBody>
        </p:sp>
        <p:sp>
          <p:nvSpPr>
            <p:cNvPr id="9818" name="任意多边形: 形状 9817">
              <a:extLst>
                <a:ext uri="{FF2B5EF4-FFF2-40B4-BE49-F238E27FC236}">
                  <a16:creationId xmlns:a16="http://schemas.microsoft.com/office/drawing/2014/main" id="{890310C5-DA2A-4ED2-B35C-F853685F0889}"/>
                </a:ext>
              </a:extLst>
            </p:cNvPr>
            <p:cNvSpPr/>
            <p:nvPr/>
          </p:nvSpPr>
          <p:spPr>
            <a:xfrm rot="21376662">
              <a:off x="10762327" y="2452430"/>
              <a:ext cx="40916" cy="40916"/>
            </a:xfrm>
            <a:custGeom>
              <a:avLst/>
              <a:gdLst>
                <a:gd name="connsiteX0" fmla="*/ 5560 w 49423"/>
                <a:gd name="connsiteY0" fmla="*/ 27183 h 49423"/>
                <a:gd name="connsiteX1" fmla="*/ 618 w 49423"/>
                <a:gd name="connsiteY1" fmla="*/ 42010 h 49423"/>
                <a:gd name="connsiteX2" fmla="*/ 7208 w 49423"/>
                <a:gd name="connsiteY2" fmla="*/ 53542 h 49423"/>
                <a:gd name="connsiteX3" fmla="*/ 7208 w 49423"/>
                <a:gd name="connsiteY3" fmla="*/ 53542 h 49423"/>
                <a:gd name="connsiteX4" fmla="*/ 63221 w 49423"/>
                <a:gd name="connsiteY4" fmla="*/ 12356 h 49423"/>
                <a:gd name="connsiteX5" fmla="*/ 63221 w 49423"/>
                <a:gd name="connsiteY5" fmla="*/ 12356 h 49423"/>
                <a:gd name="connsiteX6" fmla="*/ 53336 w 49423"/>
                <a:gd name="connsiteY6" fmla="*/ 2471 h 49423"/>
                <a:gd name="connsiteX7" fmla="*/ 38509 w 49423"/>
                <a:gd name="connsiteY7" fmla="*/ 2471 h 49423"/>
                <a:gd name="connsiteX8" fmla="*/ 5560 w 49423"/>
                <a:gd name="connsiteY8" fmla="*/ 27183 h 4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23" h="49423">
                  <a:moveTo>
                    <a:pt x="5560" y="27183"/>
                  </a:moveTo>
                  <a:cubicBezTo>
                    <a:pt x="618" y="30478"/>
                    <a:pt x="-1030" y="37068"/>
                    <a:pt x="618" y="42010"/>
                  </a:cubicBezTo>
                  <a:cubicBezTo>
                    <a:pt x="2265" y="46952"/>
                    <a:pt x="3913" y="51895"/>
                    <a:pt x="7208" y="53542"/>
                  </a:cubicBezTo>
                  <a:lnTo>
                    <a:pt x="7208" y="53542"/>
                  </a:lnTo>
                  <a:cubicBezTo>
                    <a:pt x="30272" y="48600"/>
                    <a:pt x="51689" y="33773"/>
                    <a:pt x="63221" y="12356"/>
                  </a:cubicBezTo>
                  <a:lnTo>
                    <a:pt x="63221" y="12356"/>
                  </a:lnTo>
                  <a:cubicBezTo>
                    <a:pt x="61574" y="9061"/>
                    <a:pt x="58279" y="5766"/>
                    <a:pt x="53336" y="2471"/>
                  </a:cubicBezTo>
                  <a:cubicBezTo>
                    <a:pt x="48394" y="-824"/>
                    <a:pt x="41804" y="-824"/>
                    <a:pt x="38509" y="2471"/>
                  </a:cubicBezTo>
                  <a:lnTo>
                    <a:pt x="5560" y="27183"/>
                  </a:lnTo>
                  <a:close/>
                </a:path>
              </a:pathLst>
            </a:custGeom>
            <a:gradFill>
              <a:gsLst>
                <a:gs pos="100000">
                  <a:schemeClr val="accent2">
                    <a:lumMod val="60000"/>
                    <a:lumOff val="40000"/>
                  </a:schemeClr>
                </a:gs>
                <a:gs pos="0">
                  <a:schemeClr val="bg1"/>
                </a:gs>
              </a:gsLst>
              <a:lin ang="5400000" scaled="1"/>
            </a:gradFill>
            <a:ln w="16460" cap="flat">
              <a:noFill/>
              <a:prstDash val="solid"/>
              <a:miter/>
            </a:ln>
          </p:spPr>
          <p:txBody>
            <a:bodyPr rtlCol="0" anchor="ctr"/>
            <a:lstStyle/>
            <a:p>
              <a:endParaRPr lang="zh-CN" altLang="en-US"/>
            </a:p>
          </p:txBody>
        </p:sp>
        <p:sp>
          <p:nvSpPr>
            <p:cNvPr id="9819" name="任意多边形: 形状 9818">
              <a:extLst>
                <a:ext uri="{FF2B5EF4-FFF2-40B4-BE49-F238E27FC236}">
                  <a16:creationId xmlns:a16="http://schemas.microsoft.com/office/drawing/2014/main" id="{5C16CBCF-A436-437D-9543-C90C00E5A863}"/>
                </a:ext>
              </a:extLst>
            </p:cNvPr>
            <p:cNvSpPr/>
            <p:nvPr/>
          </p:nvSpPr>
          <p:spPr>
            <a:xfrm rot="21376662">
              <a:off x="10313410" y="2304712"/>
              <a:ext cx="177300" cy="422791"/>
            </a:xfrm>
            <a:custGeom>
              <a:avLst/>
              <a:gdLst>
                <a:gd name="connsiteX0" fmla="*/ 0 w 214168"/>
                <a:gd name="connsiteY0" fmla="*/ 6590 h 510709"/>
                <a:gd name="connsiteX1" fmla="*/ 8237 w 214168"/>
                <a:gd name="connsiteY1" fmla="*/ 0 h 510709"/>
                <a:gd name="connsiteX2" fmla="*/ 143328 w 214168"/>
                <a:gd name="connsiteY2" fmla="*/ 200989 h 510709"/>
                <a:gd name="connsiteX3" fmla="*/ 151566 w 214168"/>
                <a:gd name="connsiteY3" fmla="*/ 401978 h 510709"/>
                <a:gd name="connsiteX4" fmla="*/ 227348 w 214168"/>
                <a:gd name="connsiteY4" fmla="*/ 504120 h 510709"/>
                <a:gd name="connsiteX5" fmla="*/ 200989 w 214168"/>
                <a:gd name="connsiteY5" fmla="*/ 523889 h 510709"/>
                <a:gd name="connsiteX6" fmla="*/ 153213 w 214168"/>
                <a:gd name="connsiteY6" fmla="*/ 457991 h 510709"/>
                <a:gd name="connsiteX7" fmla="*/ 65898 w 214168"/>
                <a:gd name="connsiteY7" fmla="*/ 341022 h 51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168" h="510709">
                  <a:moveTo>
                    <a:pt x="0" y="6590"/>
                  </a:moveTo>
                  <a:lnTo>
                    <a:pt x="8237" y="0"/>
                  </a:lnTo>
                  <a:lnTo>
                    <a:pt x="143328" y="200989"/>
                  </a:lnTo>
                  <a:lnTo>
                    <a:pt x="151566" y="401978"/>
                  </a:lnTo>
                  <a:lnTo>
                    <a:pt x="227348" y="504120"/>
                  </a:lnTo>
                  <a:lnTo>
                    <a:pt x="200989" y="523889"/>
                  </a:lnTo>
                  <a:lnTo>
                    <a:pt x="153213" y="457991"/>
                  </a:lnTo>
                  <a:lnTo>
                    <a:pt x="65898" y="341022"/>
                  </a:lnTo>
                  <a:close/>
                </a:path>
              </a:pathLst>
            </a:custGeom>
            <a:solidFill>
              <a:schemeClr val="accent2">
                <a:lumMod val="20000"/>
                <a:lumOff val="80000"/>
              </a:schemeClr>
            </a:solidFill>
            <a:ln w="16460" cap="flat">
              <a:noFill/>
              <a:prstDash val="solid"/>
              <a:miter/>
            </a:ln>
          </p:spPr>
          <p:txBody>
            <a:bodyPr rtlCol="0" anchor="ctr"/>
            <a:lstStyle/>
            <a:p>
              <a:endParaRPr lang="zh-CN" altLang="en-US"/>
            </a:p>
          </p:txBody>
        </p:sp>
        <p:sp>
          <p:nvSpPr>
            <p:cNvPr id="9820" name="任意多边形: 形状 9819">
              <a:extLst>
                <a:ext uri="{FF2B5EF4-FFF2-40B4-BE49-F238E27FC236}">
                  <a16:creationId xmlns:a16="http://schemas.microsoft.com/office/drawing/2014/main" id="{4B10F402-44F8-4A12-A2C6-3577EECBBC1A}"/>
                </a:ext>
              </a:extLst>
            </p:cNvPr>
            <p:cNvSpPr/>
            <p:nvPr/>
          </p:nvSpPr>
          <p:spPr>
            <a:xfrm rot="21376662">
              <a:off x="10320215" y="2304269"/>
              <a:ext cx="177300" cy="422791"/>
            </a:xfrm>
            <a:custGeom>
              <a:avLst/>
              <a:gdLst>
                <a:gd name="connsiteX0" fmla="*/ 0 w 214168"/>
                <a:gd name="connsiteY0" fmla="*/ 0 h 510709"/>
                <a:gd name="connsiteX1" fmla="*/ 143328 w 214168"/>
                <a:gd name="connsiteY1" fmla="*/ 194399 h 510709"/>
                <a:gd name="connsiteX2" fmla="*/ 151566 w 214168"/>
                <a:gd name="connsiteY2" fmla="*/ 395388 h 510709"/>
                <a:gd name="connsiteX3" fmla="*/ 227348 w 214168"/>
                <a:gd name="connsiteY3" fmla="*/ 499178 h 510709"/>
                <a:gd name="connsiteX4" fmla="*/ 200989 w 214168"/>
                <a:gd name="connsiteY4" fmla="*/ 517300 h 510709"/>
                <a:gd name="connsiteX5" fmla="*/ 153213 w 214168"/>
                <a:gd name="connsiteY5" fmla="*/ 453049 h 510709"/>
                <a:gd name="connsiteX6" fmla="*/ 67545 w 214168"/>
                <a:gd name="connsiteY6" fmla="*/ 334433 h 51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168" h="510709">
                  <a:moveTo>
                    <a:pt x="0" y="0"/>
                  </a:moveTo>
                  <a:lnTo>
                    <a:pt x="143328" y="194399"/>
                  </a:lnTo>
                  <a:lnTo>
                    <a:pt x="151566" y="395388"/>
                  </a:lnTo>
                  <a:lnTo>
                    <a:pt x="227348" y="499178"/>
                  </a:lnTo>
                  <a:lnTo>
                    <a:pt x="200989" y="517300"/>
                  </a:lnTo>
                  <a:lnTo>
                    <a:pt x="153213" y="453049"/>
                  </a:lnTo>
                  <a:lnTo>
                    <a:pt x="67545" y="334433"/>
                  </a:lnTo>
                  <a:close/>
                </a:path>
              </a:pathLst>
            </a:custGeom>
            <a:gradFill>
              <a:gsLst>
                <a:gs pos="93000">
                  <a:schemeClr val="accent3">
                    <a:lumMod val="60000"/>
                    <a:lumOff val="40000"/>
                  </a:schemeClr>
                </a:gs>
                <a:gs pos="0">
                  <a:schemeClr val="accent3"/>
                </a:gs>
              </a:gsLst>
              <a:lin ang="5400000" scaled="1"/>
            </a:gradFill>
            <a:ln w="16460" cap="flat">
              <a:noFill/>
              <a:prstDash val="solid"/>
              <a:miter/>
            </a:ln>
          </p:spPr>
          <p:txBody>
            <a:bodyPr rtlCol="0" anchor="ctr"/>
            <a:lstStyle/>
            <a:p>
              <a:endParaRPr lang="zh-CN" altLang="en-US"/>
            </a:p>
          </p:txBody>
        </p:sp>
        <p:sp>
          <p:nvSpPr>
            <p:cNvPr id="9821" name="任意多边形: 形状 9820">
              <a:extLst>
                <a:ext uri="{FF2B5EF4-FFF2-40B4-BE49-F238E27FC236}">
                  <a16:creationId xmlns:a16="http://schemas.microsoft.com/office/drawing/2014/main" id="{DB374FD4-1BE7-4322-8D33-279B1B12C19D}"/>
                </a:ext>
              </a:extLst>
            </p:cNvPr>
            <p:cNvSpPr/>
            <p:nvPr/>
          </p:nvSpPr>
          <p:spPr>
            <a:xfrm rot="21376662">
              <a:off x="10489435" y="2704784"/>
              <a:ext cx="109107" cy="136384"/>
            </a:xfrm>
            <a:custGeom>
              <a:avLst/>
              <a:gdLst>
                <a:gd name="connsiteX0" fmla="*/ 3924 w 131796"/>
                <a:gd name="connsiteY0" fmla="*/ 33442 h 164745"/>
                <a:gd name="connsiteX1" fmla="*/ 26988 w 131796"/>
                <a:gd name="connsiteY1" fmla="*/ 16967 h 164745"/>
                <a:gd name="connsiteX2" fmla="*/ 50053 w 131796"/>
                <a:gd name="connsiteY2" fmla="*/ 493 h 164745"/>
                <a:gd name="connsiteX3" fmla="*/ 84649 w 131796"/>
                <a:gd name="connsiteY3" fmla="*/ 16967 h 164745"/>
                <a:gd name="connsiteX4" fmla="*/ 137368 w 131796"/>
                <a:gd name="connsiteY4" fmla="*/ 168533 h 164745"/>
                <a:gd name="connsiteX5" fmla="*/ 8867 w 131796"/>
                <a:gd name="connsiteY5" fmla="*/ 72981 h 164745"/>
                <a:gd name="connsiteX6" fmla="*/ 3924 w 131796"/>
                <a:gd name="connsiteY6" fmla="*/ 33442 h 16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796" h="164745">
                  <a:moveTo>
                    <a:pt x="3924" y="33442"/>
                  </a:moveTo>
                  <a:lnTo>
                    <a:pt x="26988" y="16967"/>
                  </a:lnTo>
                  <a:lnTo>
                    <a:pt x="50053" y="493"/>
                  </a:lnTo>
                  <a:cubicBezTo>
                    <a:pt x="50053" y="493"/>
                    <a:pt x="73117" y="-4449"/>
                    <a:pt x="84649" y="16967"/>
                  </a:cubicBezTo>
                  <a:cubicBezTo>
                    <a:pt x="96181" y="38384"/>
                    <a:pt x="137368" y="104282"/>
                    <a:pt x="137368" y="168533"/>
                  </a:cubicBezTo>
                  <a:cubicBezTo>
                    <a:pt x="76412" y="148763"/>
                    <a:pt x="25341" y="91103"/>
                    <a:pt x="8867" y="72981"/>
                  </a:cubicBezTo>
                  <a:cubicBezTo>
                    <a:pt x="-7608" y="54859"/>
                    <a:pt x="3924" y="33442"/>
                    <a:pt x="3924" y="33442"/>
                  </a:cubicBezTo>
                  <a:close/>
                </a:path>
              </a:pathLst>
            </a:custGeom>
            <a:gradFill flip="none" rotWithShape="1">
              <a:gsLst>
                <a:gs pos="100000">
                  <a:srgbClr val="FDE549"/>
                </a:gs>
                <a:gs pos="6195">
                  <a:srgbClr val="D9250F"/>
                </a:gs>
                <a:gs pos="38000">
                  <a:srgbClr val="FA6116"/>
                </a:gs>
              </a:gsLst>
              <a:path path="rect">
                <a:fillToRect l="100000" t="100000"/>
              </a:path>
              <a:tileRect r="-100000" b="-100000"/>
            </a:gradFill>
            <a:ln w="16460" cap="flat">
              <a:noFill/>
              <a:prstDash val="solid"/>
              <a:miter/>
            </a:ln>
          </p:spPr>
          <p:txBody>
            <a:bodyPr rtlCol="0" anchor="ctr"/>
            <a:lstStyle/>
            <a:p>
              <a:endParaRPr lang="zh-CN" altLang="en-US"/>
            </a:p>
          </p:txBody>
        </p:sp>
        <p:sp>
          <p:nvSpPr>
            <p:cNvPr id="9822" name="任意多边形: 形状 9821">
              <a:extLst>
                <a:ext uri="{FF2B5EF4-FFF2-40B4-BE49-F238E27FC236}">
                  <a16:creationId xmlns:a16="http://schemas.microsoft.com/office/drawing/2014/main" id="{964FCE00-808F-49FE-B3A1-ED89E981D238}"/>
                </a:ext>
              </a:extLst>
            </p:cNvPr>
            <p:cNvSpPr/>
            <p:nvPr/>
          </p:nvSpPr>
          <p:spPr>
            <a:xfrm rot="21376662">
              <a:off x="10475899" y="2692473"/>
              <a:ext cx="40916" cy="40916"/>
            </a:xfrm>
            <a:custGeom>
              <a:avLst/>
              <a:gdLst>
                <a:gd name="connsiteX0" fmla="*/ 38509 w 49423"/>
                <a:gd name="connsiteY0" fmla="*/ 2471 h 49423"/>
                <a:gd name="connsiteX1" fmla="*/ 53336 w 49423"/>
                <a:gd name="connsiteY1" fmla="*/ 2471 h 49423"/>
                <a:gd name="connsiteX2" fmla="*/ 63221 w 49423"/>
                <a:gd name="connsiteY2" fmla="*/ 12356 h 49423"/>
                <a:gd name="connsiteX3" fmla="*/ 63221 w 49423"/>
                <a:gd name="connsiteY3" fmla="*/ 12356 h 49423"/>
                <a:gd name="connsiteX4" fmla="*/ 7208 w 49423"/>
                <a:gd name="connsiteY4" fmla="*/ 53542 h 49423"/>
                <a:gd name="connsiteX5" fmla="*/ 7208 w 49423"/>
                <a:gd name="connsiteY5" fmla="*/ 53542 h 49423"/>
                <a:gd name="connsiteX6" fmla="*/ 618 w 49423"/>
                <a:gd name="connsiteY6" fmla="*/ 42010 h 49423"/>
                <a:gd name="connsiteX7" fmla="*/ 5560 w 49423"/>
                <a:gd name="connsiteY7" fmla="*/ 27183 h 49423"/>
                <a:gd name="connsiteX8" fmla="*/ 38509 w 49423"/>
                <a:gd name="connsiteY8" fmla="*/ 2471 h 4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23" h="49423">
                  <a:moveTo>
                    <a:pt x="38509" y="2471"/>
                  </a:moveTo>
                  <a:cubicBezTo>
                    <a:pt x="43451" y="-824"/>
                    <a:pt x="50041" y="-824"/>
                    <a:pt x="53336" y="2471"/>
                  </a:cubicBezTo>
                  <a:cubicBezTo>
                    <a:pt x="56631" y="5766"/>
                    <a:pt x="61574" y="9061"/>
                    <a:pt x="63221" y="12356"/>
                  </a:cubicBezTo>
                  <a:lnTo>
                    <a:pt x="63221" y="12356"/>
                  </a:lnTo>
                  <a:cubicBezTo>
                    <a:pt x="51689" y="33773"/>
                    <a:pt x="31919" y="48600"/>
                    <a:pt x="7208" y="53542"/>
                  </a:cubicBezTo>
                  <a:lnTo>
                    <a:pt x="7208" y="53542"/>
                  </a:lnTo>
                  <a:cubicBezTo>
                    <a:pt x="3913" y="50247"/>
                    <a:pt x="2265" y="45305"/>
                    <a:pt x="618" y="42010"/>
                  </a:cubicBezTo>
                  <a:cubicBezTo>
                    <a:pt x="-1030" y="37068"/>
                    <a:pt x="618" y="30478"/>
                    <a:pt x="5560" y="27183"/>
                  </a:cubicBezTo>
                  <a:lnTo>
                    <a:pt x="38509" y="2471"/>
                  </a:lnTo>
                  <a:close/>
                </a:path>
              </a:pathLst>
            </a:custGeom>
            <a:gradFill>
              <a:gsLst>
                <a:gs pos="100000">
                  <a:schemeClr val="accent2">
                    <a:lumMod val="60000"/>
                    <a:lumOff val="40000"/>
                  </a:schemeClr>
                </a:gs>
                <a:gs pos="0">
                  <a:schemeClr val="bg1"/>
                </a:gs>
              </a:gsLst>
              <a:lin ang="5400000" scaled="1"/>
            </a:gradFill>
            <a:ln w="16460" cap="flat">
              <a:noFill/>
              <a:prstDash val="solid"/>
              <a:miter/>
            </a:ln>
          </p:spPr>
          <p:txBody>
            <a:bodyPr rtlCol="0" anchor="ctr"/>
            <a:lstStyle/>
            <a:p>
              <a:endParaRPr lang="zh-CN" altLang="en-US"/>
            </a:p>
          </p:txBody>
        </p:sp>
        <p:sp>
          <p:nvSpPr>
            <p:cNvPr id="9823" name="任意多边形: 形状 9822">
              <a:extLst>
                <a:ext uri="{FF2B5EF4-FFF2-40B4-BE49-F238E27FC236}">
                  <a16:creationId xmlns:a16="http://schemas.microsoft.com/office/drawing/2014/main" id="{0F37DE83-59FC-4E0A-B276-74CB97612A57}"/>
                </a:ext>
              </a:extLst>
            </p:cNvPr>
            <p:cNvSpPr/>
            <p:nvPr/>
          </p:nvSpPr>
          <p:spPr>
            <a:xfrm rot="21376662">
              <a:off x="10527055" y="2469152"/>
              <a:ext cx="286407" cy="340960"/>
            </a:xfrm>
            <a:custGeom>
              <a:avLst/>
              <a:gdLst>
                <a:gd name="connsiteX0" fmla="*/ 127917 w 345964"/>
                <a:gd name="connsiteY0" fmla="*/ 1405 h 411862"/>
                <a:gd name="connsiteX1" fmla="*/ 68609 w 345964"/>
                <a:gd name="connsiteY1" fmla="*/ 44239 h 411862"/>
                <a:gd name="connsiteX2" fmla="*/ 9301 w 345964"/>
                <a:gd name="connsiteY2" fmla="*/ 87073 h 411862"/>
                <a:gd name="connsiteX3" fmla="*/ 22480 w 345964"/>
                <a:gd name="connsiteY3" fmla="*/ 182625 h 411862"/>
                <a:gd name="connsiteX4" fmla="*/ 348676 w 345964"/>
                <a:gd name="connsiteY4" fmla="*/ 424800 h 411862"/>
                <a:gd name="connsiteX5" fmla="*/ 215232 w 345964"/>
                <a:gd name="connsiteY5" fmla="*/ 42592 h 411862"/>
                <a:gd name="connsiteX6" fmla="*/ 127917 w 345964"/>
                <a:gd name="connsiteY6" fmla="*/ 1405 h 411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964" h="411862">
                  <a:moveTo>
                    <a:pt x="127917" y="1405"/>
                  </a:moveTo>
                  <a:lnTo>
                    <a:pt x="68609" y="44239"/>
                  </a:lnTo>
                  <a:lnTo>
                    <a:pt x="9301" y="87073"/>
                  </a:lnTo>
                  <a:cubicBezTo>
                    <a:pt x="9301" y="87073"/>
                    <a:pt x="-18706" y="138144"/>
                    <a:pt x="22480" y="182625"/>
                  </a:cubicBezTo>
                  <a:cubicBezTo>
                    <a:pt x="63667" y="227106"/>
                    <a:pt x="195463" y="375377"/>
                    <a:pt x="348676" y="424800"/>
                  </a:cubicBezTo>
                  <a:cubicBezTo>
                    <a:pt x="347028" y="264997"/>
                    <a:pt x="244886" y="95310"/>
                    <a:pt x="215232" y="42592"/>
                  </a:cubicBezTo>
                  <a:cubicBezTo>
                    <a:pt x="185578" y="-11774"/>
                    <a:pt x="127917" y="1405"/>
                    <a:pt x="127917" y="1405"/>
                  </a:cubicBezTo>
                  <a:close/>
                </a:path>
              </a:pathLst>
            </a:custGeom>
            <a:gradFill flip="none" rotWithShape="1">
              <a:gsLst>
                <a:gs pos="100000">
                  <a:srgbClr val="FDE549"/>
                </a:gs>
                <a:gs pos="6195">
                  <a:srgbClr val="D9250F"/>
                </a:gs>
                <a:gs pos="38000">
                  <a:srgbClr val="FA6116"/>
                </a:gs>
              </a:gsLst>
              <a:path path="rect">
                <a:fillToRect l="100000" t="100000"/>
              </a:path>
              <a:tileRect r="-100000" b="-100000"/>
            </a:gradFill>
            <a:ln w="16460" cap="flat">
              <a:noFill/>
              <a:prstDash val="solid"/>
              <a:miter/>
            </a:ln>
          </p:spPr>
          <p:txBody>
            <a:bodyPr rtlCol="0" anchor="ctr"/>
            <a:lstStyle/>
            <a:p>
              <a:endParaRPr lang="zh-CN" altLang="en-US"/>
            </a:p>
          </p:txBody>
        </p:sp>
        <p:sp>
          <p:nvSpPr>
            <p:cNvPr id="9824" name="任意多边形: 形状 9823">
              <a:extLst>
                <a:ext uri="{FF2B5EF4-FFF2-40B4-BE49-F238E27FC236}">
                  <a16:creationId xmlns:a16="http://schemas.microsoft.com/office/drawing/2014/main" id="{686FF20D-53AE-40B4-A2CD-17857571D380}"/>
                </a:ext>
              </a:extLst>
            </p:cNvPr>
            <p:cNvSpPr/>
            <p:nvPr/>
          </p:nvSpPr>
          <p:spPr>
            <a:xfrm rot="21376662">
              <a:off x="10493311" y="2433413"/>
              <a:ext cx="136384" cy="109107"/>
            </a:xfrm>
            <a:custGeom>
              <a:avLst/>
              <a:gdLst>
                <a:gd name="connsiteX0" fmla="*/ 0 w 164745"/>
                <a:gd name="connsiteY0" fmla="*/ 88962 h 131796"/>
                <a:gd name="connsiteX1" fmla="*/ 24712 w 164745"/>
                <a:gd name="connsiteY1" fmla="*/ 143328 h 131796"/>
                <a:gd name="connsiteX2" fmla="*/ 24712 w 164745"/>
                <a:gd name="connsiteY2" fmla="*/ 143328 h 131796"/>
                <a:gd name="connsiteX3" fmla="*/ 164745 w 164745"/>
                <a:gd name="connsiteY3" fmla="*/ 39539 h 131796"/>
                <a:gd name="connsiteX4" fmla="*/ 164745 w 164745"/>
                <a:gd name="connsiteY4" fmla="*/ 39539 h 131796"/>
                <a:gd name="connsiteX5" fmla="*/ 120264 w 164745"/>
                <a:gd name="connsiteY5" fmla="*/ 0 h 131796"/>
                <a:gd name="connsiteX6" fmla="*/ 0 w 164745"/>
                <a:gd name="connsiteY6" fmla="*/ 88962 h 131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745" h="131796">
                  <a:moveTo>
                    <a:pt x="0" y="88962"/>
                  </a:moveTo>
                  <a:cubicBezTo>
                    <a:pt x="0" y="88962"/>
                    <a:pt x="11532" y="128501"/>
                    <a:pt x="24712" y="143328"/>
                  </a:cubicBezTo>
                  <a:lnTo>
                    <a:pt x="24712" y="143328"/>
                  </a:lnTo>
                  <a:cubicBezTo>
                    <a:pt x="84020" y="131796"/>
                    <a:pt x="135091" y="93905"/>
                    <a:pt x="164745" y="39539"/>
                  </a:cubicBezTo>
                  <a:lnTo>
                    <a:pt x="164745" y="39539"/>
                  </a:lnTo>
                  <a:cubicBezTo>
                    <a:pt x="154860" y="23064"/>
                    <a:pt x="120264" y="0"/>
                    <a:pt x="120264" y="0"/>
                  </a:cubicBezTo>
                  <a:lnTo>
                    <a:pt x="0" y="88962"/>
                  </a:lnTo>
                  <a:close/>
                </a:path>
              </a:pathLst>
            </a:custGeom>
            <a:gradFill flip="none" rotWithShape="1">
              <a:gsLst>
                <a:gs pos="100000">
                  <a:schemeClr val="accent2">
                    <a:lumMod val="20000"/>
                    <a:lumOff val="80000"/>
                  </a:schemeClr>
                </a:gs>
                <a:gs pos="0">
                  <a:schemeClr val="accent2">
                    <a:lumMod val="60000"/>
                    <a:lumOff val="40000"/>
                  </a:schemeClr>
                </a:gs>
              </a:gsLst>
              <a:lin ang="8100000" scaled="1"/>
              <a:tileRect/>
            </a:gradFill>
            <a:ln w="16460" cap="flat">
              <a:noFill/>
              <a:prstDash val="solid"/>
              <a:miter/>
            </a:ln>
          </p:spPr>
          <p:txBody>
            <a:bodyPr rtlCol="0" anchor="ctr"/>
            <a:lstStyle/>
            <a:p>
              <a:endParaRPr lang="zh-CN" altLang="en-US"/>
            </a:p>
          </p:txBody>
        </p:sp>
        <p:sp>
          <p:nvSpPr>
            <p:cNvPr id="9825" name="任意多边形: 形状 9824">
              <a:extLst>
                <a:ext uri="{FF2B5EF4-FFF2-40B4-BE49-F238E27FC236}">
                  <a16:creationId xmlns:a16="http://schemas.microsoft.com/office/drawing/2014/main" id="{95126631-349D-4CB9-9083-C36511185D16}"/>
                </a:ext>
              </a:extLst>
            </p:cNvPr>
            <p:cNvSpPr/>
            <p:nvPr/>
          </p:nvSpPr>
          <p:spPr>
            <a:xfrm rot="21376662">
              <a:off x="10118431" y="1959009"/>
              <a:ext cx="450067" cy="559175"/>
            </a:xfrm>
            <a:custGeom>
              <a:avLst/>
              <a:gdLst>
                <a:gd name="connsiteX0" fmla="*/ 27451 w 543658"/>
                <a:gd name="connsiteY0" fmla="*/ 3027 h 675454"/>
                <a:gd name="connsiteX1" fmla="*/ 119709 w 543658"/>
                <a:gd name="connsiteY1" fmla="*/ 403358 h 675454"/>
                <a:gd name="connsiteX2" fmla="*/ 427782 w 543658"/>
                <a:gd name="connsiteY2" fmla="*/ 685072 h 675454"/>
                <a:gd name="connsiteX3" fmla="*/ 427782 w 543658"/>
                <a:gd name="connsiteY3" fmla="*/ 685072 h 675454"/>
                <a:gd name="connsiteX4" fmla="*/ 559578 w 543658"/>
                <a:gd name="connsiteY4" fmla="*/ 587872 h 675454"/>
                <a:gd name="connsiteX5" fmla="*/ 559578 w 543658"/>
                <a:gd name="connsiteY5" fmla="*/ 587872 h 675454"/>
                <a:gd name="connsiteX6" fmla="*/ 383301 w 543658"/>
                <a:gd name="connsiteY6" fmla="*/ 210606 h 675454"/>
                <a:gd name="connsiteX7" fmla="*/ 27451 w 543658"/>
                <a:gd name="connsiteY7" fmla="*/ 3027 h 675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3658" h="675454">
                  <a:moveTo>
                    <a:pt x="27451" y="3027"/>
                  </a:moveTo>
                  <a:cubicBezTo>
                    <a:pt x="27451" y="3027"/>
                    <a:pt x="-76338" y="190836"/>
                    <a:pt x="119709" y="403358"/>
                  </a:cubicBezTo>
                  <a:cubicBezTo>
                    <a:pt x="315755" y="614231"/>
                    <a:pt x="427782" y="685072"/>
                    <a:pt x="427782" y="685072"/>
                  </a:cubicBezTo>
                  <a:lnTo>
                    <a:pt x="427782" y="685072"/>
                  </a:lnTo>
                  <a:cubicBezTo>
                    <a:pt x="487090" y="681777"/>
                    <a:pt x="538161" y="643885"/>
                    <a:pt x="559578" y="587872"/>
                  </a:cubicBezTo>
                  <a:lnTo>
                    <a:pt x="559578" y="587872"/>
                  </a:lnTo>
                  <a:cubicBezTo>
                    <a:pt x="559578" y="587872"/>
                    <a:pt x="526629" y="461018"/>
                    <a:pt x="383301" y="210606"/>
                  </a:cubicBezTo>
                  <a:cubicBezTo>
                    <a:pt x="238325" y="-41454"/>
                    <a:pt x="27451" y="3027"/>
                    <a:pt x="27451" y="3027"/>
                  </a:cubicBezTo>
                  <a:close/>
                </a:path>
              </a:pathLst>
            </a:custGeom>
            <a:gradFill flip="none" rotWithShape="1">
              <a:gsLst>
                <a:gs pos="6195">
                  <a:schemeClr val="accent2">
                    <a:lumMod val="60000"/>
                    <a:lumOff val="40000"/>
                  </a:schemeClr>
                </a:gs>
                <a:gs pos="88000">
                  <a:schemeClr val="bg1"/>
                </a:gs>
              </a:gsLst>
              <a:lin ang="8100000" scaled="1"/>
              <a:tileRect/>
            </a:gradFill>
            <a:ln w="16460" cap="flat">
              <a:noFill/>
              <a:prstDash val="solid"/>
              <a:miter/>
            </a:ln>
          </p:spPr>
          <p:txBody>
            <a:bodyPr rtlCol="0" anchor="ctr"/>
            <a:lstStyle/>
            <a:p>
              <a:endParaRPr lang="zh-CN" altLang="en-US"/>
            </a:p>
          </p:txBody>
        </p:sp>
        <p:sp>
          <p:nvSpPr>
            <p:cNvPr id="9826" name="任意多边形: 形状 9825">
              <a:extLst>
                <a:ext uri="{FF2B5EF4-FFF2-40B4-BE49-F238E27FC236}">
                  <a16:creationId xmlns:a16="http://schemas.microsoft.com/office/drawing/2014/main" id="{160A11A6-6792-4602-9D7D-F0ACB013BA1D}"/>
                </a:ext>
              </a:extLst>
            </p:cNvPr>
            <p:cNvSpPr/>
            <p:nvPr/>
          </p:nvSpPr>
          <p:spPr>
            <a:xfrm rot="21376662">
              <a:off x="10442652" y="2382978"/>
              <a:ext cx="150023" cy="122746"/>
            </a:xfrm>
            <a:custGeom>
              <a:avLst/>
              <a:gdLst>
                <a:gd name="connsiteX0" fmla="*/ 0 w 181219"/>
                <a:gd name="connsiteY0" fmla="*/ 120264 h 148270"/>
                <a:gd name="connsiteX1" fmla="*/ 52718 w 181219"/>
                <a:gd name="connsiteY1" fmla="*/ 158155 h 148270"/>
                <a:gd name="connsiteX2" fmla="*/ 52718 w 181219"/>
                <a:gd name="connsiteY2" fmla="*/ 158155 h 148270"/>
                <a:gd name="connsiteX3" fmla="*/ 184514 w 181219"/>
                <a:gd name="connsiteY3" fmla="*/ 60956 h 148270"/>
                <a:gd name="connsiteX4" fmla="*/ 184514 w 181219"/>
                <a:gd name="connsiteY4" fmla="*/ 60956 h 148270"/>
                <a:gd name="connsiteX5" fmla="*/ 163098 w 181219"/>
                <a:gd name="connsiteY5" fmla="*/ 0 h 148270"/>
                <a:gd name="connsiteX6" fmla="*/ 0 w 181219"/>
                <a:gd name="connsiteY6" fmla="*/ 120264 h 148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219" h="148270">
                  <a:moveTo>
                    <a:pt x="0" y="120264"/>
                  </a:moveTo>
                  <a:cubicBezTo>
                    <a:pt x="34596" y="146623"/>
                    <a:pt x="52718" y="158155"/>
                    <a:pt x="52718" y="158155"/>
                  </a:cubicBezTo>
                  <a:lnTo>
                    <a:pt x="52718" y="158155"/>
                  </a:lnTo>
                  <a:cubicBezTo>
                    <a:pt x="112027" y="154860"/>
                    <a:pt x="163098" y="116969"/>
                    <a:pt x="184514" y="60956"/>
                  </a:cubicBezTo>
                  <a:lnTo>
                    <a:pt x="184514" y="60956"/>
                  </a:lnTo>
                  <a:cubicBezTo>
                    <a:pt x="184514" y="60956"/>
                    <a:pt x="179572" y="41186"/>
                    <a:pt x="163098" y="0"/>
                  </a:cubicBezTo>
                  <a:cubicBezTo>
                    <a:pt x="128501" y="62603"/>
                    <a:pt x="69193" y="105437"/>
                    <a:pt x="0" y="120264"/>
                  </a:cubicBezTo>
                  <a:close/>
                </a:path>
              </a:pathLst>
            </a:custGeom>
            <a:gradFill>
              <a:gsLst>
                <a:gs pos="93000">
                  <a:schemeClr val="accent3">
                    <a:lumMod val="60000"/>
                    <a:lumOff val="40000"/>
                  </a:schemeClr>
                </a:gs>
                <a:gs pos="0">
                  <a:schemeClr val="accent3"/>
                </a:gs>
              </a:gsLst>
              <a:lin ang="5400000" scaled="1"/>
            </a:gradFill>
            <a:ln w="16460" cap="flat">
              <a:noFill/>
              <a:prstDash val="solid"/>
              <a:miter/>
            </a:ln>
          </p:spPr>
          <p:txBody>
            <a:bodyPr rtlCol="0" anchor="ctr"/>
            <a:lstStyle/>
            <a:p>
              <a:endParaRPr lang="zh-CN" altLang="en-US"/>
            </a:p>
          </p:txBody>
        </p:sp>
        <p:sp>
          <p:nvSpPr>
            <p:cNvPr id="9827" name="任意多边形: 形状 9826">
              <a:extLst>
                <a:ext uri="{FF2B5EF4-FFF2-40B4-BE49-F238E27FC236}">
                  <a16:creationId xmlns:a16="http://schemas.microsoft.com/office/drawing/2014/main" id="{981CD2DC-EBAE-4F17-B2D9-996B866D9A5E}"/>
                </a:ext>
              </a:extLst>
            </p:cNvPr>
            <p:cNvSpPr/>
            <p:nvPr/>
          </p:nvSpPr>
          <p:spPr>
            <a:xfrm rot="21376662">
              <a:off x="10105265" y="1968670"/>
              <a:ext cx="163661" cy="150023"/>
            </a:xfrm>
            <a:custGeom>
              <a:avLst/>
              <a:gdLst>
                <a:gd name="connsiteX0" fmla="*/ 210539 w 197694"/>
                <a:gd name="connsiteY0" fmla="*/ 36071 h 181219"/>
                <a:gd name="connsiteX1" fmla="*/ 27671 w 197694"/>
                <a:gd name="connsiteY1" fmla="*/ 3122 h 181219"/>
                <a:gd name="connsiteX2" fmla="*/ 4607 w 197694"/>
                <a:gd name="connsiteY2" fmla="*/ 187637 h 181219"/>
                <a:gd name="connsiteX3" fmla="*/ 210539 w 197694"/>
                <a:gd name="connsiteY3" fmla="*/ 36071 h 181219"/>
              </a:gdLst>
              <a:ahLst/>
              <a:cxnLst>
                <a:cxn ang="0">
                  <a:pos x="connsiteX0" y="connsiteY0"/>
                </a:cxn>
                <a:cxn ang="0">
                  <a:pos x="connsiteX1" y="connsiteY1"/>
                </a:cxn>
                <a:cxn ang="0">
                  <a:pos x="connsiteX2" y="connsiteY2"/>
                </a:cxn>
                <a:cxn ang="0">
                  <a:pos x="connsiteX3" y="connsiteY3"/>
                </a:cxn>
              </a:cxnLst>
              <a:rect l="l" t="t" r="r" b="b"/>
              <a:pathLst>
                <a:path w="197694" h="181219">
                  <a:moveTo>
                    <a:pt x="210539" y="36071"/>
                  </a:moveTo>
                  <a:cubicBezTo>
                    <a:pt x="111692" y="-14999"/>
                    <a:pt x="27671" y="3122"/>
                    <a:pt x="27671" y="3122"/>
                  </a:cubicBezTo>
                  <a:cubicBezTo>
                    <a:pt x="27671" y="3122"/>
                    <a:pt x="-13515" y="78905"/>
                    <a:pt x="4607" y="187637"/>
                  </a:cubicBezTo>
                  <a:cubicBezTo>
                    <a:pt x="96864" y="179400"/>
                    <a:pt x="175942" y="120091"/>
                    <a:pt x="210539" y="36071"/>
                  </a:cubicBezTo>
                  <a:close/>
                </a:path>
              </a:pathLst>
            </a:custGeom>
            <a:gradFill>
              <a:gsLst>
                <a:gs pos="93000">
                  <a:schemeClr val="accent3">
                    <a:lumMod val="60000"/>
                    <a:lumOff val="40000"/>
                  </a:schemeClr>
                </a:gs>
                <a:gs pos="0">
                  <a:schemeClr val="accent3"/>
                </a:gs>
              </a:gsLst>
              <a:lin ang="5400000" scaled="1"/>
            </a:gradFill>
            <a:ln w="16460" cap="flat">
              <a:noFill/>
              <a:prstDash val="solid"/>
              <a:miter/>
            </a:ln>
          </p:spPr>
          <p:txBody>
            <a:bodyPr rtlCol="0" anchor="ctr"/>
            <a:lstStyle/>
            <a:p>
              <a:endParaRPr lang="zh-CN" altLang="en-US"/>
            </a:p>
          </p:txBody>
        </p:sp>
        <p:sp>
          <p:nvSpPr>
            <p:cNvPr id="9828" name="任意多边形: 形状 9827">
              <a:extLst>
                <a:ext uri="{FF2B5EF4-FFF2-40B4-BE49-F238E27FC236}">
                  <a16:creationId xmlns:a16="http://schemas.microsoft.com/office/drawing/2014/main" id="{0A02B75E-A7D8-4138-8918-3BE36A030DC2}"/>
                </a:ext>
              </a:extLst>
            </p:cNvPr>
            <p:cNvSpPr/>
            <p:nvPr/>
          </p:nvSpPr>
          <p:spPr>
            <a:xfrm rot="21376662">
              <a:off x="10130191" y="2026219"/>
              <a:ext cx="231853" cy="177300"/>
            </a:xfrm>
            <a:custGeom>
              <a:avLst/>
              <a:gdLst>
                <a:gd name="connsiteX0" fmla="*/ 0 w 280066"/>
                <a:gd name="connsiteY0" fmla="*/ 181220 h 214168"/>
                <a:gd name="connsiteX1" fmla="*/ 19769 w 280066"/>
                <a:gd name="connsiteY1" fmla="*/ 225701 h 214168"/>
                <a:gd name="connsiteX2" fmla="*/ 281714 w 280066"/>
                <a:gd name="connsiteY2" fmla="*/ 32949 h 214168"/>
                <a:gd name="connsiteX3" fmla="*/ 245470 w 280066"/>
                <a:gd name="connsiteY3" fmla="*/ 0 h 214168"/>
                <a:gd name="connsiteX4" fmla="*/ 0 w 280066"/>
                <a:gd name="connsiteY4" fmla="*/ 181220 h 214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066" h="214168">
                  <a:moveTo>
                    <a:pt x="0" y="181220"/>
                  </a:moveTo>
                  <a:cubicBezTo>
                    <a:pt x="4942" y="196047"/>
                    <a:pt x="11532" y="210874"/>
                    <a:pt x="19769" y="225701"/>
                  </a:cubicBezTo>
                  <a:cubicBezTo>
                    <a:pt x="131796" y="205931"/>
                    <a:pt x="228996" y="135091"/>
                    <a:pt x="281714" y="32949"/>
                  </a:cubicBezTo>
                  <a:cubicBezTo>
                    <a:pt x="270182" y="21417"/>
                    <a:pt x="258650" y="9885"/>
                    <a:pt x="245470" y="0"/>
                  </a:cubicBezTo>
                  <a:cubicBezTo>
                    <a:pt x="194399" y="93905"/>
                    <a:pt x="105437" y="159803"/>
                    <a:pt x="0" y="181220"/>
                  </a:cubicBezTo>
                  <a:close/>
                </a:path>
              </a:pathLst>
            </a:custGeom>
            <a:gradFill>
              <a:gsLst>
                <a:gs pos="93000">
                  <a:schemeClr val="accent3">
                    <a:lumMod val="60000"/>
                    <a:lumOff val="40000"/>
                  </a:schemeClr>
                </a:gs>
                <a:gs pos="0">
                  <a:schemeClr val="accent3"/>
                </a:gs>
              </a:gsLst>
              <a:lin ang="5400000" scaled="1"/>
            </a:gradFill>
            <a:ln w="16460" cap="flat">
              <a:noFill/>
              <a:prstDash val="solid"/>
              <a:miter/>
            </a:ln>
          </p:spPr>
          <p:txBody>
            <a:bodyPr rtlCol="0" anchor="ctr"/>
            <a:lstStyle/>
            <a:p>
              <a:endParaRPr lang="zh-CN" altLang="en-US"/>
            </a:p>
          </p:txBody>
        </p:sp>
        <p:sp>
          <p:nvSpPr>
            <p:cNvPr id="9829" name="任意多边形: 形状 9828">
              <a:extLst>
                <a:ext uri="{FF2B5EF4-FFF2-40B4-BE49-F238E27FC236}">
                  <a16:creationId xmlns:a16="http://schemas.microsoft.com/office/drawing/2014/main" id="{984FF896-5733-4B44-A50D-278E4E9F5C64}"/>
                </a:ext>
              </a:extLst>
            </p:cNvPr>
            <p:cNvSpPr/>
            <p:nvPr/>
          </p:nvSpPr>
          <p:spPr>
            <a:xfrm rot="21376662">
              <a:off x="10270436" y="2162982"/>
              <a:ext cx="150023" cy="150023"/>
            </a:xfrm>
            <a:custGeom>
              <a:avLst/>
              <a:gdLst>
                <a:gd name="connsiteX0" fmla="*/ 148574 w 181219"/>
                <a:gd name="connsiteY0" fmla="*/ 168343 h 181219"/>
                <a:gd name="connsiteX1" fmla="*/ 18425 w 181219"/>
                <a:gd name="connsiteY1" fmla="*/ 148574 h 181219"/>
                <a:gd name="connsiteX2" fmla="*/ 38195 w 181219"/>
                <a:gd name="connsiteY2" fmla="*/ 18425 h 181219"/>
                <a:gd name="connsiteX3" fmla="*/ 168343 w 181219"/>
                <a:gd name="connsiteY3" fmla="*/ 38195 h 181219"/>
                <a:gd name="connsiteX4" fmla="*/ 148574 w 181219"/>
                <a:gd name="connsiteY4" fmla="*/ 168343 h 181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19" h="181219">
                  <a:moveTo>
                    <a:pt x="148574" y="168343"/>
                  </a:moveTo>
                  <a:cubicBezTo>
                    <a:pt x="107388" y="199645"/>
                    <a:pt x="48079" y="189760"/>
                    <a:pt x="18425" y="148574"/>
                  </a:cubicBezTo>
                  <a:cubicBezTo>
                    <a:pt x="-12876" y="107388"/>
                    <a:pt x="-2992" y="48079"/>
                    <a:pt x="38195" y="18425"/>
                  </a:cubicBezTo>
                  <a:cubicBezTo>
                    <a:pt x="79381" y="-12876"/>
                    <a:pt x="138689" y="-2992"/>
                    <a:pt x="168343" y="38195"/>
                  </a:cubicBezTo>
                  <a:cubicBezTo>
                    <a:pt x="197997" y="79381"/>
                    <a:pt x="189760" y="138689"/>
                    <a:pt x="148574" y="168343"/>
                  </a:cubicBezTo>
                  <a:close/>
                </a:path>
              </a:pathLst>
            </a:custGeom>
            <a:gradFill>
              <a:gsLst>
                <a:gs pos="6195">
                  <a:schemeClr val="accent3"/>
                </a:gs>
                <a:gs pos="88000">
                  <a:schemeClr val="accent3">
                    <a:lumMod val="60000"/>
                    <a:lumOff val="40000"/>
                  </a:schemeClr>
                </a:gs>
              </a:gsLst>
              <a:lin ang="8100000" scaled="1"/>
            </a:gradFill>
            <a:ln w="16460" cap="flat">
              <a:noFill/>
              <a:prstDash val="solid"/>
              <a:miter/>
            </a:ln>
          </p:spPr>
          <p:txBody>
            <a:bodyPr rtlCol="0" anchor="ctr"/>
            <a:lstStyle/>
            <a:p>
              <a:endParaRPr lang="zh-CN" altLang="en-US"/>
            </a:p>
          </p:txBody>
        </p:sp>
        <p:sp>
          <p:nvSpPr>
            <p:cNvPr id="9830" name="任意多边形: 形状 9829">
              <a:extLst>
                <a:ext uri="{FF2B5EF4-FFF2-40B4-BE49-F238E27FC236}">
                  <a16:creationId xmlns:a16="http://schemas.microsoft.com/office/drawing/2014/main" id="{91C4FB5F-F488-420C-B8D3-9F01C0EB9D72}"/>
                </a:ext>
              </a:extLst>
            </p:cNvPr>
            <p:cNvSpPr/>
            <p:nvPr/>
          </p:nvSpPr>
          <p:spPr>
            <a:xfrm rot="21376662">
              <a:off x="10289200" y="2181954"/>
              <a:ext cx="109107" cy="109107"/>
            </a:xfrm>
            <a:custGeom>
              <a:avLst/>
              <a:gdLst>
                <a:gd name="connsiteX0" fmla="*/ 127434 w 131796"/>
                <a:gd name="connsiteY0" fmla="*/ 28587 h 131796"/>
                <a:gd name="connsiteX1" fmla="*/ 112607 w 131796"/>
                <a:gd name="connsiteY1" fmla="*/ 127434 h 131796"/>
                <a:gd name="connsiteX2" fmla="*/ 13760 w 131796"/>
                <a:gd name="connsiteY2" fmla="*/ 112607 h 131796"/>
                <a:gd name="connsiteX3" fmla="*/ 28587 w 131796"/>
                <a:gd name="connsiteY3" fmla="*/ 13760 h 131796"/>
                <a:gd name="connsiteX4" fmla="*/ 127434 w 131796"/>
                <a:gd name="connsiteY4" fmla="*/ 28587 h 131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96" h="131796">
                  <a:moveTo>
                    <a:pt x="127434" y="28587"/>
                  </a:moveTo>
                  <a:cubicBezTo>
                    <a:pt x="150498" y="59889"/>
                    <a:pt x="143909" y="104370"/>
                    <a:pt x="112607" y="127434"/>
                  </a:cubicBezTo>
                  <a:cubicBezTo>
                    <a:pt x="81305" y="150498"/>
                    <a:pt x="36824" y="143909"/>
                    <a:pt x="13760" y="112607"/>
                  </a:cubicBezTo>
                  <a:cubicBezTo>
                    <a:pt x="-9304" y="81305"/>
                    <a:pt x="-2715" y="36824"/>
                    <a:pt x="28587" y="13760"/>
                  </a:cubicBezTo>
                  <a:cubicBezTo>
                    <a:pt x="59889" y="-9304"/>
                    <a:pt x="104370" y="-2715"/>
                    <a:pt x="127434" y="28587"/>
                  </a:cubicBezTo>
                  <a:close/>
                </a:path>
              </a:pathLst>
            </a:custGeom>
            <a:solidFill>
              <a:schemeClr val="accent2">
                <a:lumMod val="75000"/>
              </a:schemeClr>
            </a:solidFill>
            <a:ln w="16460" cap="flat">
              <a:noFill/>
              <a:prstDash val="solid"/>
              <a:miter/>
            </a:ln>
          </p:spPr>
          <p:txBody>
            <a:bodyPr rtlCol="0" anchor="ctr"/>
            <a:lstStyle/>
            <a:p>
              <a:endParaRPr lang="zh-CN" altLang="en-US"/>
            </a:p>
          </p:txBody>
        </p:sp>
        <p:sp>
          <p:nvSpPr>
            <p:cNvPr id="9831" name="任意多边形: 形状 9830">
              <a:extLst>
                <a:ext uri="{FF2B5EF4-FFF2-40B4-BE49-F238E27FC236}">
                  <a16:creationId xmlns:a16="http://schemas.microsoft.com/office/drawing/2014/main" id="{AF94DF5E-33D3-4BEF-87F8-0E3259284BC2}"/>
                </a:ext>
              </a:extLst>
            </p:cNvPr>
            <p:cNvSpPr/>
            <p:nvPr/>
          </p:nvSpPr>
          <p:spPr>
            <a:xfrm rot="21376662">
              <a:off x="10391410" y="2304209"/>
              <a:ext cx="122746" cy="122746"/>
            </a:xfrm>
            <a:custGeom>
              <a:avLst/>
              <a:gdLst>
                <a:gd name="connsiteX0" fmla="*/ 118158 w 148270"/>
                <a:gd name="connsiteY0" fmla="*/ 134632 h 148270"/>
                <a:gd name="connsiteX1" fmla="*/ 14369 w 148270"/>
                <a:gd name="connsiteY1" fmla="*/ 118158 h 148270"/>
                <a:gd name="connsiteX2" fmla="*/ 30843 w 148270"/>
                <a:gd name="connsiteY2" fmla="*/ 14369 h 148270"/>
                <a:gd name="connsiteX3" fmla="*/ 134632 w 148270"/>
                <a:gd name="connsiteY3" fmla="*/ 30843 h 148270"/>
                <a:gd name="connsiteX4" fmla="*/ 118158 w 148270"/>
                <a:gd name="connsiteY4" fmla="*/ 134632 h 148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70" h="148270">
                  <a:moveTo>
                    <a:pt x="118158" y="134632"/>
                  </a:moveTo>
                  <a:cubicBezTo>
                    <a:pt x="85209" y="159344"/>
                    <a:pt x="39080" y="151107"/>
                    <a:pt x="14369" y="118158"/>
                  </a:cubicBezTo>
                  <a:cubicBezTo>
                    <a:pt x="-10343" y="85209"/>
                    <a:pt x="-2106" y="39080"/>
                    <a:pt x="30843" y="14369"/>
                  </a:cubicBezTo>
                  <a:cubicBezTo>
                    <a:pt x="63792" y="-10343"/>
                    <a:pt x="109921" y="-2106"/>
                    <a:pt x="134632" y="30843"/>
                  </a:cubicBezTo>
                  <a:cubicBezTo>
                    <a:pt x="157697" y="63792"/>
                    <a:pt x="151107" y="109921"/>
                    <a:pt x="118158" y="134632"/>
                  </a:cubicBezTo>
                  <a:close/>
                </a:path>
              </a:pathLst>
            </a:custGeom>
            <a:gradFill>
              <a:gsLst>
                <a:gs pos="6195">
                  <a:schemeClr val="accent3"/>
                </a:gs>
                <a:gs pos="88000">
                  <a:schemeClr val="accent3">
                    <a:lumMod val="60000"/>
                    <a:lumOff val="40000"/>
                  </a:schemeClr>
                </a:gs>
              </a:gsLst>
              <a:lin ang="8100000" scaled="1"/>
            </a:gradFill>
            <a:ln w="16460" cap="flat">
              <a:noFill/>
              <a:prstDash val="solid"/>
              <a:miter/>
            </a:ln>
          </p:spPr>
          <p:txBody>
            <a:bodyPr rtlCol="0" anchor="ctr"/>
            <a:lstStyle/>
            <a:p>
              <a:endParaRPr lang="zh-CN" altLang="en-US"/>
            </a:p>
          </p:txBody>
        </p:sp>
        <p:sp>
          <p:nvSpPr>
            <p:cNvPr id="9832" name="任意多边形: 形状 9831">
              <a:extLst>
                <a:ext uri="{FF2B5EF4-FFF2-40B4-BE49-F238E27FC236}">
                  <a16:creationId xmlns:a16="http://schemas.microsoft.com/office/drawing/2014/main" id="{8303645C-42E8-4D12-8E15-059B5C68397F}"/>
                </a:ext>
              </a:extLst>
            </p:cNvPr>
            <p:cNvSpPr/>
            <p:nvPr/>
          </p:nvSpPr>
          <p:spPr>
            <a:xfrm rot="21376662">
              <a:off x="10407116" y="2320495"/>
              <a:ext cx="81830" cy="81830"/>
            </a:xfrm>
            <a:custGeom>
              <a:avLst/>
              <a:gdLst>
                <a:gd name="connsiteX0" fmla="*/ 112027 w 98847"/>
                <a:gd name="connsiteY0" fmla="*/ 56013 h 98847"/>
                <a:gd name="connsiteX1" fmla="*/ 56013 w 98847"/>
                <a:gd name="connsiteY1" fmla="*/ 112027 h 98847"/>
                <a:gd name="connsiteX2" fmla="*/ 0 w 98847"/>
                <a:gd name="connsiteY2" fmla="*/ 56013 h 98847"/>
                <a:gd name="connsiteX3" fmla="*/ 56013 w 98847"/>
                <a:gd name="connsiteY3" fmla="*/ 0 h 98847"/>
                <a:gd name="connsiteX4" fmla="*/ 112027 w 98847"/>
                <a:gd name="connsiteY4" fmla="*/ 56013 h 98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47" h="98847">
                  <a:moveTo>
                    <a:pt x="112027" y="56013"/>
                  </a:moveTo>
                  <a:cubicBezTo>
                    <a:pt x="112027" y="86949"/>
                    <a:pt x="86949" y="112027"/>
                    <a:pt x="56013" y="112027"/>
                  </a:cubicBezTo>
                  <a:cubicBezTo>
                    <a:pt x="25078" y="112027"/>
                    <a:pt x="0" y="86949"/>
                    <a:pt x="0" y="56013"/>
                  </a:cubicBezTo>
                  <a:cubicBezTo>
                    <a:pt x="0" y="25078"/>
                    <a:pt x="25078" y="0"/>
                    <a:pt x="56013" y="0"/>
                  </a:cubicBezTo>
                  <a:cubicBezTo>
                    <a:pt x="86949" y="0"/>
                    <a:pt x="112027" y="25078"/>
                    <a:pt x="112027" y="56013"/>
                  </a:cubicBezTo>
                  <a:close/>
                </a:path>
              </a:pathLst>
            </a:custGeom>
            <a:solidFill>
              <a:schemeClr val="accent2">
                <a:lumMod val="75000"/>
              </a:schemeClr>
            </a:solidFill>
            <a:ln w="16460" cap="flat">
              <a:noFill/>
              <a:prstDash val="solid"/>
              <a:miter/>
            </a:ln>
          </p:spPr>
          <p:txBody>
            <a:bodyPr rtlCol="0" anchor="ctr"/>
            <a:lstStyle/>
            <a:p>
              <a:endParaRPr lang="zh-CN" altLang="en-US"/>
            </a:p>
          </p:txBody>
        </p:sp>
      </p:grpSp>
      <p:grpSp>
        <p:nvGrpSpPr>
          <p:cNvPr id="9871" name="组合 9870">
            <a:extLst>
              <a:ext uri="{FF2B5EF4-FFF2-40B4-BE49-F238E27FC236}">
                <a16:creationId xmlns:a16="http://schemas.microsoft.com/office/drawing/2014/main" id="{3FEEB655-D49E-44CD-976C-CF746319F5CD}"/>
              </a:ext>
            </a:extLst>
          </p:cNvPr>
          <p:cNvGrpSpPr/>
          <p:nvPr userDrawn="1"/>
        </p:nvGrpSpPr>
        <p:grpSpPr>
          <a:xfrm>
            <a:off x="8696617" y="734862"/>
            <a:ext cx="998833" cy="998833"/>
            <a:chOff x="8696617" y="734862"/>
            <a:chExt cx="998833" cy="998833"/>
          </a:xfrm>
          <a:effectLst>
            <a:glow rad="101600">
              <a:schemeClr val="accent2">
                <a:lumMod val="60000"/>
                <a:lumOff val="40000"/>
                <a:alpha val="28000"/>
              </a:schemeClr>
            </a:glow>
          </a:effectLst>
        </p:grpSpPr>
        <p:sp>
          <p:nvSpPr>
            <p:cNvPr id="9835" name="任意多边形: 形状 9834">
              <a:extLst>
                <a:ext uri="{FF2B5EF4-FFF2-40B4-BE49-F238E27FC236}">
                  <a16:creationId xmlns:a16="http://schemas.microsoft.com/office/drawing/2014/main" id="{1EFE32C2-714A-442D-8D82-1F7F7CB17A92}"/>
                </a:ext>
              </a:extLst>
            </p:cNvPr>
            <p:cNvSpPr/>
            <p:nvPr/>
          </p:nvSpPr>
          <p:spPr>
            <a:xfrm>
              <a:off x="8696617" y="734862"/>
              <a:ext cx="998833" cy="998833"/>
            </a:xfrm>
            <a:custGeom>
              <a:avLst/>
              <a:gdLst>
                <a:gd name="connsiteX0" fmla="*/ 781050 w 781050"/>
                <a:gd name="connsiteY0" fmla="*/ 390525 h 781050"/>
                <a:gd name="connsiteX1" fmla="*/ 390525 w 781050"/>
                <a:gd name="connsiteY1" fmla="*/ 781050 h 781050"/>
                <a:gd name="connsiteX2" fmla="*/ 0 w 781050"/>
                <a:gd name="connsiteY2" fmla="*/ 390525 h 781050"/>
                <a:gd name="connsiteX3" fmla="*/ 390525 w 781050"/>
                <a:gd name="connsiteY3" fmla="*/ 0 h 781050"/>
                <a:gd name="connsiteX4" fmla="*/ 781050 w 781050"/>
                <a:gd name="connsiteY4" fmla="*/ 390525 h 78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0" h="781050">
                  <a:moveTo>
                    <a:pt x="781050" y="390525"/>
                  </a:moveTo>
                  <a:cubicBezTo>
                    <a:pt x="781050" y="606206"/>
                    <a:pt x="606206" y="781050"/>
                    <a:pt x="390525" y="781050"/>
                  </a:cubicBezTo>
                  <a:cubicBezTo>
                    <a:pt x="174844" y="781050"/>
                    <a:pt x="0" y="606206"/>
                    <a:pt x="0" y="390525"/>
                  </a:cubicBezTo>
                  <a:cubicBezTo>
                    <a:pt x="0" y="174844"/>
                    <a:pt x="174844" y="0"/>
                    <a:pt x="390525" y="0"/>
                  </a:cubicBezTo>
                  <a:cubicBezTo>
                    <a:pt x="606206" y="0"/>
                    <a:pt x="781050" y="174844"/>
                    <a:pt x="781050" y="390525"/>
                  </a:cubicBezTo>
                  <a:close/>
                </a:path>
              </a:pathLst>
            </a:custGeom>
            <a:gradFill flip="none" rotWithShape="1">
              <a:gsLst>
                <a:gs pos="95000">
                  <a:schemeClr val="accent3">
                    <a:lumMod val="50000"/>
                  </a:schemeClr>
                </a:gs>
                <a:gs pos="0">
                  <a:schemeClr val="accent3"/>
                </a:gs>
              </a:gsLst>
              <a:lin ang="8100000" scaled="1"/>
              <a:tileRect/>
            </a:gradFill>
            <a:ln w="9525" cap="flat">
              <a:noFill/>
              <a:prstDash val="solid"/>
              <a:miter/>
            </a:ln>
          </p:spPr>
          <p:txBody>
            <a:bodyPr rtlCol="0" anchor="ctr"/>
            <a:lstStyle/>
            <a:p>
              <a:endParaRPr lang="zh-CN" altLang="en-US"/>
            </a:p>
          </p:txBody>
        </p:sp>
        <p:sp>
          <p:nvSpPr>
            <p:cNvPr id="9836" name="任意多边形: 形状 9835">
              <a:extLst>
                <a:ext uri="{FF2B5EF4-FFF2-40B4-BE49-F238E27FC236}">
                  <a16:creationId xmlns:a16="http://schemas.microsoft.com/office/drawing/2014/main" id="{CCB3BB73-ED5A-4D14-A3FD-75238C51C04D}"/>
                </a:ext>
              </a:extLst>
            </p:cNvPr>
            <p:cNvSpPr/>
            <p:nvPr/>
          </p:nvSpPr>
          <p:spPr>
            <a:xfrm>
              <a:off x="8978639" y="734862"/>
              <a:ext cx="706492" cy="767396"/>
            </a:xfrm>
            <a:custGeom>
              <a:avLst/>
              <a:gdLst>
                <a:gd name="connsiteX0" fmla="*/ 493844 w 552450"/>
                <a:gd name="connsiteY0" fmla="*/ 606743 h 600075"/>
                <a:gd name="connsiteX1" fmla="*/ 559566 w 552450"/>
                <a:gd name="connsiteY1" fmla="*/ 390525 h 600075"/>
                <a:gd name="connsiteX2" fmla="*/ 169041 w 552450"/>
                <a:gd name="connsiteY2" fmla="*/ 0 h 600075"/>
                <a:gd name="connsiteX3" fmla="*/ 58551 w 552450"/>
                <a:gd name="connsiteY3" fmla="*/ 16193 h 600075"/>
                <a:gd name="connsiteX4" fmla="*/ 21404 w 552450"/>
                <a:gd name="connsiteY4" fmla="*/ 368618 h 600075"/>
                <a:gd name="connsiteX5" fmla="*/ 324299 w 552450"/>
                <a:gd name="connsiteY5" fmla="*/ 555308 h 600075"/>
                <a:gd name="connsiteX6" fmla="*/ 493844 w 552450"/>
                <a:gd name="connsiteY6" fmla="*/ 606743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450" h="600075">
                  <a:moveTo>
                    <a:pt x="493844" y="606743"/>
                  </a:moveTo>
                  <a:cubicBezTo>
                    <a:pt x="535754" y="544830"/>
                    <a:pt x="559566" y="470535"/>
                    <a:pt x="559566" y="390525"/>
                  </a:cubicBezTo>
                  <a:cubicBezTo>
                    <a:pt x="559566" y="175260"/>
                    <a:pt x="385259" y="0"/>
                    <a:pt x="169041" y="0"/>
                  </a:cubicBezTo>
                  <a:cubicBezTo>
                    <a:pt x="130941" y="0"/>
                    <a:pt x="93794" y="5715"/>
                    <a:pt x="58551" y="16193"/>
                  </a:cubicBezTo>
                  <a:cubicBezTo>
                    <a:pt x="-5266" y="118110"/>
                    <a:pt x="-15744" y="262890"/>
                    <a:pt x="21404" y="368618"/>
                  </a:cubicBezTo>
                  <a:cubicBezTo>
                    <a:pt x="69029" y="501968"/>
                    <a:pt x="198569" y="533400"/>
                    <a:pt x="324299" y="555308"/>
                  </a:cubicBezTo>
                  <a:cubicBezTo>
                    <a:pt x="381449" y="565785"/>
                    <a:pt x="442409" y="578168"/>
                    <a:pt x="493844" y="606743"/>
                  </a:cubicBezTo>
                  <a:close/>
                </a:path>
              </a:pathLst>
            </a:custGeom>
            <a:gradFill>
              <a:gsLst>
                <a:gs pos="100000">
                  <a:schemeClr val="accent3">
                    <a:lumMod val="75000"/>
                  </a:schemeClr>
                </a:gs>
                <a:gs pos="47000">
                  <a:schemeClr val="accent3"/>
                </a:gs>
              </a:gsLst>
              <a:lin ang="8100000" scaled="1"/>
            </a:gradFill>
            <a:ln w="9525" cap="flat">
              <a:noFill/>
              <a:prstDash val="solid"/>
              <a:miter/>
            </a:ln>
          </p:spPr>
          <p:txBody>
            <a:bodyPr rtlCol="0" anchor="ctr"/>
            <a:lstStyle/>
            <a:p>
              <a:endParaRPr lang="zh-CN" altLang="en-US"/>
            </a:p>
          </p:txBody>
        </p:sp>
        <p:sp>
          <p:nvSpPr>
            <p:cNvPr id="9837" name="任意多边形: 形状 9836">
              <a:extLst>
                <a:ext uri="{FF2B5EF4-FFF2-40B4-BE49-F238E27FC236}">
                  <a16:creationId xmlns:a16="http://schemas.microsoft.com/office/drawing/2014/main" id="{70F3DB0E-E0DD-4C78-BCA1-ECD0D46DCDF1}"/>
                </a:ext>
              </a:extLst>
            </p:cNvPr>
            <p:cNvSpPr/>
            <p:nvPr/>
          </p:nvSpPr>
          <p:spPr>
            <a:xfrm>
              <a:off x="9171829" y="739734"/>
              <a:ext cx="511597" cy="584683"/>
            </a:xfrm>
            <a:custGeom>
              <a:avLst/>
              <a:gdLst>
                <a:gd name="connsiteX0" fmla="*/ 70362 w 400050"/>
                <a:gd name="connsiteY0" fmla="*/ 0 h 457200"/>
                <a:gd name="connsiteX1" fmla="*/ 42739 w 400050"/>
                <a:gd name="connsiteY1" fmla="*/ 29528 h 457200"/>
                <a:gd name="connsiteX2" fmla="*/ 6544 w 400050"/>
                <a:gd name="connsiteY2" fmla="*/ 191453 h 457200"/>
                <a:gd name="connsiteX3" fmla="*/ 169422 w 400050"/>
                <a:gd name="connsiteY3" fmla="*/ 327660 h 457200"/>
                <a:gd name="connsiteX4" fmla="*/ 364684 w 400050"/>
                <a:gd name="connsiteY4" fmla="*/ 422910 h 457200"/>
                <a:gd name="connsiteX5" fmla="*/ 400879 w 400050"/>
                <a:gd name="connsiteY5" fmla="*/ 464820 h 457200"/>
                <a:gd name="connsiteX6" fmla="*/ 408499 w 400050"/>
                <a:gd name="connsiteY6" fmla="*/ 386715 h 457200"/>
                <a:gd name="connsiteX7" fmla="*/ 70362 w 400050"/>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57200">
                  <a:moveTo>
                    <a:pt x="70362" y="0"/>
                  </a:moveTo>
                  <a:cubicBezTo>
                    <a:pt x="60837" y="9525"/>
                    <a:pt x="51312" y="19050"/>
                    <a:pt x="42739" y="29528"/>
                  </a:cubicBezTo>
                  <a:cubicBezTo>
                    <a:pt x="7497" y="74295"/>
                    <a:pt x="-10601" y="136208"/>
                    <a:pt x="6544" y="191453"/>
                  </a:cubicBezTo>
                  <a:cubicBezTo>
                    <a:pt x="29404" y="260985"/>
                    <a:pt x="100842" y="301943"/>
                    <a:pt x="169422" y="327660"/>
                  </a:cubicBezTo>
                  <a:cubicBezTo>
                    <a:pt x="238002" y="353378"/>
                    <a:pt x="312297" y="372428"/>
                    <a:pt x="364684" y="422910"/>
                  </a:cubicBezTo>
                  <a:cubicBezTo>
                    <a:pt x="378019" y="435293"/>
                    <a:pt x="389449" y="450533"/>
                    <a:pt x="400879" y="464820"/>
                  </a:cubicBezTo>
                  <a:cubicBezTo>
                    <a:pt x="405642" y="439103"/>
                    <a:pt x="408499" y="413385"/>
                    <a:pt x="408499" y="386715"/>
                  </a:cubicBezTo>
                  <a:cubicBezTo>
                    <a:pt x="408499" y="188595"/>
                    <a:pt x="260862" y="24765"/>
                    <a:pt x="70362" y="0"/>
                  </a:cubicBezTo>
                  <a:close/>
                </a:path>
              </a:pathLst>
            </a:custGeom>
            <a:solidFill>
              <a:schemeClr val="accent3">
                <a:lumMod val="60000"/>
                <a:lumOff val="40000"/>
                <a:alpha val="50000"/>
              </a:schemeClr>
            </a:solidFill>
            <a:ln w="9525" cap="flat">
              <a:noFill/>
              <a:prstDash val="solid"/>
              <a:miter/>
            </a:ln>
          </p:spPr>
          <p:txBody>
            <a:bodyPr rtlCol="0" anchor="ctr"/>
            <a:lstStyle/>
            <a:p>
              <a:endParaRPr lang="zh-CN" altLang="en-US"/>
            </a:p>
          </p:txBody>
        </p:sp>
        <p:sp>
          <p:nvSpPr>
            <p:cNvPr id="9838" name="任意多边形: 形状 9837">
              <a:extLst>
                <a:ext uri="{FF2B5EF4-FFF2-40B4-BE49-F238E27FC236}">
                  <a16:creationId xmlns:a16="http://schemas.microsoft.com/office/drawing/2014/main" id="{1203A917-A95F-4DB8-9C06-1FAAA64928A5}"/>
                </a:ext>
              </a:extLst>
            </p:cNvPr>
            <p:cNvSpPr/>
            <p:nvPr/>
          </p:nvSpPr>
          <p:spPr>
            <a:xfrm>
              <a:off x="9348295" y="1402375"/>
              <a:ext cx="158352" cy="158352"/>
            </a:xfrm>
            <a:custGeom>
              <a:avLst/>
              <a:gdLst>
                <a:gd name="connsiteX0" fmla="*/ 127635 w 123825"/>
                <a:gd name="connsiteY0" fmla="*/ 63818 h 123825"/>
                <a:gd name="connsiteX1" fmla="*/ 63818 w 123825"/>
                <a:gd name="connsiteY1" fmla="*/ 127635 h 123825"/>
                <a:gd name="connsiteX2" fmla="*/ 0 w 123825"/>
                <a:gd name="connsiteY2" fmla="*/ 63817 h 123825"/>
                <a:gd name="connsiteX3" fmla="*/ 63818 w 123825"/>
                <a:gd name="connsiteY3" fmla="*/ 0 h 123825"/>
                <a:gd name="connsiteX4" fmla="*/ 127635 w 123825"/>
                <a:gd name="connsiteY4" fmla="*/ 63818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23825">
                  <a:moveTo>
                    <a:pt x="127635" y="63818"/>
                  </a:moveTo>
                  <a:cubicBezTo>
                    <a:pt x="127635" y="99063"/>
                    <a:pt x="99063" y="127635"/>
                    <a:pt x="63818" y="127635"/>
                  </a:cubicBezTo>
                  <a:cubicBezTo>
                    <a:pt x="28572" y="127635"/>
                    <a:pt x="0" y="99063"/>
                    <a:pt x="0" y="63817"/>
                  </a:cubicBezTo>
                  <a:cubicBezTo>
                    <a:pt x="0" y="28572"/>
                    <a:pt x="28572" y="0"/>
                    <a:pt x="63818" y="0"/>
                  </a:cubicBezTo>
                  <a:cubicBezTo>
                    <a:pt x="99063" y="0"/>
                    <a:pt x="127635" y="28572"/>
                    <a:pt x="127635" y="63818"/>
                  </a:cubicBezTo>
                  <a:close/>
                </a:path>
              </a:pathLst>
            </a:custGeom>
            <a:gradFill>
              <a:gsLst>
                <a:gs pos="100000">
                  <a:schemeClr val="accent3">
                    <a:lumMod val="75000"/>
                  </a:schemeClr>
                </a:gs>
                <a:gs pos="0">
                  <a:schemeClr val="accent3">
                    <a:lumMod val="50000"/>
                  </a:schemeClr>
                </a:gs>
              </a:gsLst>
              <a:lin ang="8100000" scaled="1"/>
            </a:gradFill>
            <a:ln w="9525" cap="flat">
              <a:noFill/>
              <a:prstDash val="solid"/>
              <a:miter/>
            </a:ln>
          </p:spPr>
          <p:txBody>
            <a:bodyPr rtlCol="0" anchor="ctr"/>
            <a:lstStyle/>
            <a:p>
              <a:endParaRPr lang="zh-CN" altLang="en-US"/>
            </a:p>
          </p:txBody>
        </p:sp>
        <p:sp>
          <p:nvSpPr>
            <p:cNvPr id="9839" name="任意多边形: 形状 9838">
              <a:extLst>
                <a:ext uri="{FF2B5EF4-FFF2-40B4-BE49-F238E27FC236}">
                  <a16:creationId xmlns:a16="http://schemas.microsoft.com/office/drawing/2014/main" id="{A32C970D-26EA-45C5-8F10-D86D52553694}"/>
                </a:ext>
              </a:extLst>
            </p:cNvPr>
            <p:cNvSpPr/>
            <p:nvPr/>
          </p:nvSpPr>
          <p:spPr>
            <a:xfrm>
              <a:off x="9348295" y="1471806"/>
              <a:ext cx="158352" cy="85266"/>
            </a:xfrm>
            <a:custGeom>
              <a:avLst/>
              <a:gdLst>
                <a:gd name="connsiteX0" fmla="*/ 63818 w 123825"/>
                <a:gd name="connsiteY0" fmla="*/ 54292 h 66675"/>
                <a:gd name="connsiteX1" fmla="*/ 952 w 123825"/>
                <a:gd name="connsiteY1" fmla="*/ 0 h 66675"/>
                <a:gd name="connsiteX2" fmla="*/ 0 w 123825"/>
                <a:gd name="connsiteY2" fmla="*/ 9525 h 66675"/>
                <a:gd name="connsiteX3" fmla="*/ 63818 w 123825"/>
                <a:gd name="connsiteY3" fmla="*/ 73342 h 66675"/>
                <a:gd name="connsiteX4" fmla="*/ 127635 w 123825"/>
                <a:gd name="connsiteY4" fmla="*/ 9525 h 66675"/>
                <a:gd name="connsiteX5" fmla="*/ 126683 w 123825"/>
                <a:gd name="connsiteY5" fmla="*/ 0 h 66675"/>
                <a:gd name="connsiteX6" fmla="*/ 63818 w 123825"/>
                <a:gd name="connsiteY6" fmla="*/ 5429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5" h="66675">
                  <a:moveTo>
                    <a:pt x="63818" y="54292"/>
                  </a:moveTo>
                  <a:cubicBezTo>
                    <a:pt x="31432" y="54292"/>
                    <a:pt x="5715" y="30480"/>
                    <a:pt x="952" y="0"/>
                  </a:cubicBezTo>
                  <a:cubicBezTo>
                    <a:pt x="952" y="2857"/>
                    <a:pt x="0" y="6668"/>
                    <a:pt x="0" y="9525"/>
                  </a:cubicBezTo>
                  <a:cubicBezTo>
                    <a:pt x="0" y="44767"/>
                    <a:pt x="28575" y="73342"/>
                    <a:pt x="63818" y="73342"/>
                  </a:cubicBezTo>
                  <a:cubicBezTo>
                    <a:pt x="99060" y="73342"/>
                    <a:pt x="127635" y="44767"/>
                    <a:pt x="127635" y="9525"/>
                  </a:cubicBezTo>
                  <a:cubicBezTo>
                    <a:pt x="127635" y="6668"/>
                    <a:pt x="127635" y="2857"/>
                    <a:pt x="126683" y="0"/>
                  </a:cubicBezTo>
                  <a:cubicBezTo>
                    <a:pt x="121920" y="30480"/>
                    <a:pt x="96202" y="54292"/>
                    <a:pt x="63818" y="54292"/>
                  </a:cubicBezTo>
                  <a:close/>
                </a:path>
              </a:pathLst>
            </a:custGeom>
            <a:solidFill>
              <a:schemeClr val="accent3">
                <a:lumMod val="50000"/>
              </a:schemeClr>
            </a:solidFill>
            <a:ln w="9525" cap="flat">
              <a:noFill/>
              <a:prstDash val="solid"/>
              <a:miter/>
            </a:ln>
          </p:spPr>
          <p:txBody>
            <a:bodyPr rtlCol="0" anchor="ctr"/>
            <a:lstStyle/>
            <a:p>
              <a:endParaRPr lang="zh-CN" altLang="en-US"/>
            </a:p>
          </p:txBody>
        </p:sp>
        <p:sp>
          <p:nvSpPr>
            <p:cNvPr id="9840" name="任意多边形: 形状 9839">
              <a:extLst>
                <a:ext uri="{FF2B5EF4-FFF2-40B4-BE49-F238E27FC236}">
                  <a16:creationId xmlns:a16="http://schemas.microsoft.com/office/drawing/2014/main" id="{B4BBC0CC-E62D-4B9F-B620-AD7D8305A42D}"/>
                </a:ext>
              </a:extLst>
            </p:cNvPr>
            <p:cNvSpPr/>
            <p:nvPr/>
          </p:nvSpPr>
          <p:spPr>
            <a:xfrm>
              <a:off x="8871128" y="1351539"/>
              <a:ext cx="121809" cy="121809"/>
            </a:xfrm>
            <a:custGeom>
              <a:avLst/>
              <a:gdLst>
                <a:gd name="connsiteX0" fmla="*/ 86424 w 95250"/>
                <a:gd name="connsiteY0" fmla="*/ 79757 h 95250"/>
                <a:gd name="connsiteX1" fmla="*/ 17844 w 95250"/>
                <a:gd name="connsiteY1" fmla="*/ 86424 h 95250"/>
                <a:gd name="connsiteX2" fmla="*/ 11177 w 95250"/>
                <a:gd name="connsiteY2" fmla="*/ 17844 h 95250"/>
                <a:gd name="connsiteX3" fmla="*/ 79757 w 95250"/>
                <a:gd name="connsiteY3" fmla="*/ 11177 h 95250"/>
                <a:gd name="connsiteX4" fmla="*/ 86424 w 95250"/>
                <a:gd name="connsiteY4" fmla="*/ 79757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6424" y="79757"/>
                  </a:moveTo>
                  <a:cubicBezTo>
                    <a:pt x="69279" y="100712"/>
                    <a:pt x="38799" y="103569"/>
                    <a:pt x="17844" y="86424"/>
                  </a:cubicBezTo>
                  <a:cubicBezTo>
                    <a:pt x="-3111" y="69279"/>
                    <a:pt x="-5968" y="38799"/>
                    <a:pt x="11177" y="17844"/>
                  </a:cubicBezTo>
                  <a:cubicBezTo>
                    <a:pt x="28322" y="-3111"/>
                    <a:pt x="58802" y="-5968"/>
                    <a:pt x="79757" y="11177"/>
                  </a:cubicBezTo>
                  <a:cubicBezTo>
                    <a:pt x="100712" y="28322"/>
                    <a:pt x="103569" y="58802"/>
                    <a:pt x="86424" y="79757"/>
                  </a:cubicBezTo>
                  <a:close/>
                </a:path>
              </a:pathLst>
            </a:custGeom>
            <a:solidFill>
              <a:schemeClr val="accent3">
                <a:lumMod val="50000"/>
              </a:schemeClr>
            </a:solidFill>
            <a:ln w="9525" cap="flat">
              <a:noFill/>
              <a:prstDash val="solid"/>
              <a:miter/>
            </a:ln>
          </p:spPr>
          <p:txBody>
            <a:bodyPr rtlCol="0" anchor="ctr"/>
            <a:lstStyle/>
            <a:p>
              <a:endParaRPr lang="zh-CN" altLang="en-US"/>
            </a:p>
          </p:txBody>
        </p:sp>
        <p:sp>
          <p:nvSpPr>
            <p:cNvPr id="9841" name="任意多边形: 形状 9840">
              <a:extLst>
                <a:ext uri="{FF2B5EF4-FFF2-40B4-BE49-F238E27FC236}">
                  <a16:creationId xmlns:a16="http://schemas.microsoft.com/office/drawing/2014/main" id="{006BDF77-596C-4E08-81A4-71329B690905}"/>
                </a:ext>
              </a:extLst>
            </p:cNvPr>
            <p:cNvSpPr/>
            <p:nvPr/>
          </p:nvSpPr>
          <p:spPr>
            <a:xfrm>
              <a:off x="8871518" y="1369486"/>
              <a:ext cx="109628" cy="97447"/>
            </a:xfrm>
            <a:custGeom>
              <a:avLst/>
              <a:gdLst>
                <a:gd name="connsiteX0" fmla="*/ 27064 w 85725"/>
                <a:gd name="connsiteY0" fmla="*/ 61913 h 76200"/>
                <a:gd name="connsiteX1" fmla="*/ 15634 w 85725"/>
                <a:gd name="connsiteY1" fmla="*/ 0 h 76200"/>
                <a:gd name="connsiteX2" fmla="*/ 10872 w 85725"/>
                <a:gd name="connsiteY2" fmla="*/ 4763 h 76200"/>
                <a:gd name="connsiteX3" fmla="*/ 17539 w 85725"/>
                <a:gd name="connsiteY3" fmla="*/ 73343 h 76200"/>
                <a:gd name="connsiteX4" fmla="*/ 86119 w 85725"/>
                <a:gd name="connsiteY4" fmla="*/ 66675 h 76200"/>
                <a:gd name="connsiteX5" fmla="*/ 89929 w 85725"/>
                <a:gd name="connsiteY5" fmla="*/ 60960 h 76200"/>
                <a:gd name="connsiteX6" fmla="*/ 27064 w 85725"/>
                <a:gd name="connsiteY6" fmla="*/ 6191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 h="76200">
                  <a:moveTo>
                    <a:pt x="27064" y="61913"/>
                  </a:moveTo>
                  <a:cubicBezTo>
                    <a:pt x="8014" y="46673"/>
                    <a:pt x="4204" y="20003"/>
                    <a:pt x="15634" y="0"/>
                  </a:cubicBezTo>
                  <a:cubicBezTo>
                    <a:pt x="13729" y="1905"/>
                    <a:pt x="11824" y="3810"/>
                    <a:pt x="10872" y="4763"/>
                  </a:cubicBezTo>
                  <a:cubicBezTo>
                    <a:pt x="-6273" y="25718"/>
                    <a:pt x="-2463" y="56198"/>
                    <a:pt x="17539" y="73343"/>
                  </a:cubicBezTo>
                  <a:cubicBezTo>
                    <a:pt x="38494" y="90488"/>
                    <a:pt x="68974" y="86678"/>
                    <a:pt x="86119" y="66675"/>
                  </a:cubicBezTo>
                  <a:cubicBezTo>
                    <a:pt x="88024" y="64770"/>
                    <a:pt x="88977" y="62865"/>
                    <a:pt x="89929" y="60960"/>
                  </a:cubicBezTo>
                  <a:cubicBezTo>
                    <a:pt x="72784" y="76200"/>
                    <a:pt x="46114" y="77153"/>
                    <a:pt x="27064" y="61913"/>
                  </a:cubicBezTo>
                  <a:close/>
                </a:path>
              </a:pathLst>
            </a:custGeom>
            <a:solidFill>
              <a:srgbClr val="200A24"/>
            </a:solidFill>
            <a:ln w="9525" cap="flat">
              <a:noFill/>
              <a:prstDash val="solid"/>
              <a:miter/>
            </a:ln>
          </p:spPr>
          <p:txBody>
            <a:bodyPr rtlCol="0" anchor="ctr"/>
            <a:lstStyle/>
            <a:p>
              <a:endParaRPr lang="zh-CN" altLang="en-US"/>
            </a:p>
          </p:txBody>
        </p:sp>
        <p:sp>
          <p:nvSpPr>
            <p:cNvPr id="9842" name="任意多边形: 形状 9841">
              <a:extLst>
                <a:ext uri="{FF2B5EF4-FFF2-40B4-BE49-F238E27FC236}">
                  <a16:creationId xmlns:a16="http://schemas.microsoft.com/office/drawing/2014/main" id="{B8BB4FD7-3DAE-41F9-AD73-5C41FF05B8D9}"/>
                </a:ext>
              </a:extLst>
            </p:cNvPr>
            <p:cNvSpPr/>
            <p:nvPr/>
          </p:nvSpPr>
          <p:spPr>
            <a:xfrm>
              <a:off x="8825837" y="1040704"/>
              <a:ext cx="85266" cy="85266"/>
            </a:xfrm>
            <a:custGeom>
              <a:avLst/>
              <a:gdLst>
                <a:gd name="connsiteX0" fmla="*/ 49450 w 66675"/>
                <a:gd name="connsiteY0" fmla="*/ 64690 h 66675"/>
                <a:gd name="connsiteX1" fmla="*/ 3730 w 66675"/>
                <a:gd name="connsiteY1" fmla="*/ 49450 h 66675"/>
                <a:gd name="connsiteX2" fmla="*/ 18970 w 66675"/>
                <a:gd name="connsiteY2" fmla="*/ 3730 h 66675"/>
                <a:gd name="connsiteX3" fmla="*/ 64690 w 66675"/>
                <a:gd name="connsiteY3" fmla="*/ 18970 h 66675"/>
                <a:gd name="connsiteX4" fmla="*/ 49450 w 66675"/>
                <a:gd name="connsiteY4" fmla="*/ 64690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49450" y="64690"/>
                  </a:moveTo>
                  <a:cubicBezTo>
                    <a:pt x="32305" y="73263"/>
                    <a:pt x="12303" y="66595"/>
                    <a:pt x="3730" y="49450"/>
                  </a:cubicBezTo>
                  <a:cubicBezTo>
                    <a:pt x="-4842" y="32305"/>
                    <a:pt x="1825" y="12303"/>
                    <a:pt x="18970" y="3730"/>
                  </a:cubicBezTo>
                  <a:cubicBezTo>
                    <a:pt x="36115" y="-4842"/>
                    <a:pt x="56118" y="1825"/>
                    <a:pt x="64690" y="18970"/>
                  </a:cubicBezTo>
                  <a:cubicBezTo>
                    <a:pt x="73263" y="36115"/>
                    <a:pt x="65643" y="56118"/>
                    <a:pt x="49450" y="64690"/>
                  </a:cubicBezTo>
                  <a:close/>
                </a:path>
              </a:pathLst>
            </a:custGeom>
            <a:solidFill>
              <a:schemeClr val="accent3">
                <a:lumMod val="50000"/>
              </a:schemeClr>
            </a:solidFill>
            <a:ln w="9525" cap="flat">
              <a:noFill/>
              <a:prstDash val="solid"/>
              <a:miter/>
            </a:ln>
          </p:spPr>
          <p:txBody>
            <a:bodyPr rtlCol="0" anchor="ctr"/>
            <a:lstStyle/>
            <a:p>
              <a:endParaRPr lang="zh-CN" altLang="en-US"/>
            </a:p>
          </p:txBody>
        </p:sp>
        <p:sp>
          <p:nvSpPr>
            <p:cNvPr id="9843" name="任意多边形: 形状 9842">
              <a:extLst>
                <a:ext uri="{FF2B5EF4-FFF2-40B4-BE49-F238E27FC236}">
                  <a16:creationId xmlns:a16="http://schemas.microsoft.com/office/drawing/2014/main" id="{9544D240-7712-4F6C-8732-5727581E3DD5}"/>
                </a:ext>
              </a:extLst>
            </p:cNvPr>
            <p:cNvSpPr/>
            <p:nvPr/>
          </p:nvSpPr>
          <p:spPr>
            <a:xfrm>
              <a:off x="8824618" y="1043038"/>
              <a:ext cx="60904" cy="73085"/>
            </a:xfrm>
            <a:custGeom>
              <a:avLst/>
              <a:gdLst>
                <a:gd name="connsiteX0" fmla="*/ 13255 w 47625"/>
                <a:gd name="connsiteY0" fmla="*/ 42863 h 57150"/>
                <a:gd name="connsiteX1" fmla="*/ 23733 w 47625"/>
                <a:gd name="connsiteY1" fmla="*/ 0 h 57150"/>
                <a:gd name="connsiteX2" fmla="*/ 18970 w 47625"/>
                <a:gd name="connsiteY2" fmla="*/ 1905 h 57150"/>
                <a:gd name="connsiteX3" fmla="*/ 3730 w 47625"/>
                <a:gd name="connsiteY3" fmla="*/ 47625 h 57150"/>
                <a:gd name="connsiteX4" fmla="*/ 49450 w 47625"/>
                <a:gd name="connsiteY4" fmla="*/ 62865 h 57150"/>
                <a:gd name="connsiteX5" fmla="*/ 54213 w 47625"/>
                <a:gd name="connsiteY5" fmla="*/ 60008 h 57150"/>
                <a:gd name="connsiteX6" fmla="*/ 13255 w 47625"/>
                <a:gd name="connsiteY6" fmla="*/ 42863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57150">
                  <a:moveTo>
                    <a:pt x="13255" y="42863"/>
                  </a:moveTo>
                  <a:cubicBezTo>
                    <a:pt x="5635" y="27623"/>
                    <a:pt x="10398" y="9525"/>
                    <a:pt x="23733" y="0"/>
                  </a:cubicBezTo>
                  <a:cubicBezTo>
                    <a:pt x="21828" y="953"/>
                    <a:pt x="20875" y="953"/>
                    <a:pt x="18970" y="1905"/>
                  </a:cubicBezTo>
                  <a:cubicBezTo>
                    <a:pt x="1825" y="10478"/>
                    <a:pt x="-4842" y="30480"/>
                    <a:pt x="3730" y="47625"/>
                  </a:cubicBezTo>
                  <a:cubicBezTo>
                    <a:pt x="12303" y="64770"/>
                    <a:pt x="32305" y="71438"/>
                    <a:pt x="49450" y="62865"/>
                  </a:cubicBezTo>
                  <a:cubicBezTo>
                    <a:pt x="51355" y="61913"/>
                    <a:pt x="52308" y="60960"/>
                    <a:pt x="54213" y="60008"/>
                  </a:cubicBezTo>
                  <a:cubicBezTo>
                    <a:pt x="38973" y="65723"/>
                    <a:pt x="20875" y="59055"/>
                    <a:pt x="13255" y="42863"/>
                  </a:cubicBezTo>
                  <a:close/>
                </a:path>
              </a:pathLst>
            </a:custGeom>
            <a:solidFill>
              <a:srgbClr val="200A24"/>
            </a:solidFill>
            <a:ln w="9525" cap="flat">
              <a:noFill/>
              <a:prstDash val="solid"/>
              <a:miter/>
            </a:ln>
          </p:spPr>
          <p:txBody>
            <a:bodyPr rtlCol="0" anchor="ctr"/>
            <a:lstStyle/>
            <a:p>
              <a:endParaRPr lang="zh-CN" altLang="en-US"/>
            </a:p>
          </p:txBody>
        </p:sp>
        <p:sp>
          <p:nvSpPr>
            <p:cNvPr id="9844" name="任意多边形: 形状 9843">
              <a:extLst>
                <a:ext uri="{FF2B5EF4-FFF2-40B4-BE49-F238E27FC236}">
                  <a16:creationId xmlns:a16="http://schemas.microsoft.com/office/drawing/2014/main" id="{F6D45096-8CB1-4AF5-9736-D22F63361245}"/>
                </a:ext>
              </a:extLst>
            </p:cNvPr>
            <p:cNvSpPr/>
            <p:nvPr/>
          </p:nvSpPr>
          <p:spPr>
            <a:xfrm>
              <a:off x="9394516" y="910200"/>
              <a:ext cx="60904" cy="60904"/>
            </a:xfrm>
            <a:custGeom>
              <a:avLst/>
              <a:gdLst>
                <a:gd name="connsiteX0" fmla="*/ 52 w 47625"/>
                <a:gd name="connsiteY0" fmla="*/ 26722 h 47625"/>
                <a:gd name="connsiteX1" fmla="*/ 28627 w 47625"/>
                <a:gd name="connsiteY1" fmla="*/ 52 h 47625"/>
                <a:gd name="connsiteX2" fmla="*/ 55297 w 47625"/>
                <a:gd name="connsiteY2" fmla="*/ 28627 h 47625"/>
                <a:gd name="connsiteX3" fmla="*/ 26722 w 47625"/>
                <a:gd name="connsiteY3" fmla="*/ 55297 h 47625"/>
                <a:gd name="connsiteX4" fmla="*/ 52 w 47625"/>
                <a:gd name="connsiteY4" fmla="*/ 267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2" y="26722"/>
                  </a:moveTo>
                  <a:cubicBezTo>
                    <a:pt x="1004" y="11482"/>
                    <a:pt x="13387" y="-901"/>
                    <a:pt x="28627" y="52"/>
                  </a:cubicBezTo>
                  <a:cubicBezTo>
                    <a:pt x="43867" y="1004"/>
                    <a:pt x="56249" y="13387"/>
                    <a:pt x="55297" y="28627"/>
                  </a:cubicBezTo>
                  <a:cubicBezTo>
                    <a:pt x="54344" y="43867"/>
                    <a:pt x="41962" y="56249"/>
                    <a:pt x="26722" y="55297"/>
                  </a:cubicBezTo>
                  <a:cubicBezTo>
                    <a:pt x="11482" y="54344"/>
                    <a:pt x="-901" y="41962"/>
                    <a:pt x="52" y="26722"/>
                  </a:cubicBezTo>
                  <a:close/>
                </a:path>
              </a:pathLst>
            </a:custGeom>
            <a:gradFill>
              <a:gsLst>
                <a:gs pos="100000">
                  <a:schemeClr val="accent3">
                    <a:lumMod val="75000"/>
                  </a:schemeClr>
                </a:gs>
                <a:gs pos="0">
                  <a:schemeClr val="accent3">
                    <a:lumMod val="50000"/>
                  </a:schemeClr>
                </a:gs>
              </a:gsLst>
              <a:lin ang="8100000" scaled="1"/>
            </a:gradFill>
            <a:ln w="9525" cap="flat">
              <a:noFill/>
              <a:prstDash val="solid"/>
              <a:miter/>
            </a:ln>
          </p:spPr>
          <p:txBody>
            <a:bodyPr rtlCol="0" anchor="ctr"/>
            <a:lstStyle/>
            <a:p>
              <a:endParaRPr lang="zh-CN" altLang="en-US"/>
            </a:p>
          </p:txBody>
        </p:sp>
        <p:sp>
          <p:nvSpPr>
            <p:cNvPr id="9845" name="任意多边形: 形状 9844">
              <a:extLst>
                <a:ext uri="{FF2B5EF4-FFF2-40B4-BE49-F238E27FC236}">
                  <a16:creationId xmlns:a16="http://schemas.microsoft.com/office/drawing/2014/main" id="{B9B98E64-30DF-492E-8404-D9587BA6D461}"/>
                </a:ext>
              </a:extLst>
            </p:cNvPr>
            <p:cNvSpPr/>
            <p:nvPr/>
          </p:nvSpPr>
          <p:spPr>
            <a:xfrm>
              <a:off x="9394581" y="910200"/>
              <a:ext cx="60904" cy="36543"/>
            </a:xfrm>
            <a:custGeom>
              <a:avLst/>
              <a:gdLst>
                <a:gd name="connsiteX0" fmla="*/ 28575 w 47625"/>
                <a:gd name="connsiteY0" fmla="*/ 7672 h 28575"/>
                <a:gd name="connsiteX1" fmla="*/ 55245 w 47625"/>
                <a:gd name="connsiteY1" fmla="*/ 32437 h 28575"/>
                <a:gd name="connsiteX2" fmla="*/ 55245 w 47625"/>
                <a:gd name="connsiteY2" fmla="*/ 28627 h 28575"/>
                <a:gd name="connsiteX3" fmla="*/ 28575 w 47625"/>
                <a:gd name="connsiteY3" fmla="*/ 52 h 28575"/>
                <a:gd name="connsiteX4" fmla="*/ 0 w 47625"/>
                <a:gd name="connsiteY4" fmla="*/ 26722 h 28575"/>
                <a:gd name="connsiteX5" fmla="*/ 0 w 47625"/>
                <a:gd name="connsiteY5" fmla="*/ 30532 h 28575"/>
                <a:gd name="connsiteX6" fmla="*/ 28575 w 47625"/>
                <a:gd name="connsiteY6" fmla="*/ 7672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8575">
                  <a:moveTo>
                    <a:pt x="28575" y="7672"/>
                  </a:moveTo>
                  <a:cubicBezTo>
                    <a:pt x="42863" y="8624"/>
                    <a:pt x="53340" y="19102"/>
                    <a:pt x="55245" y="32437"/>
                  </a:cubicBezTo>
                  <a:cubicBezTo>
                    <a:pt x="55245" y="31484"/>
                    <a:pt x="55245" y="29579"/>
                    <a:pt x="55245" y="28627"/>
                  </a:cubicBezTo>
                  <a:cubicBezTo>
                    <a:pt x="56198" y="13387"/>
                    <a:pt x="43815" y="52"/>
                    <a:pt x="28575" y="52"/>
                  </a:cubicBezTo>
                  <a:cubicBezTo>
                    <a:pt x="13335" y="-901"/>
                    <a:pt x="0" y="11482"/>
                    <a:pt x="0" y="26722"/>
                  </a:cubicBezTo>
                  <a:cubicBezTo>
                    <a:pt x="0" y="27674"/>
                    <a:pt x="0" y="29579"/>
                    <a:pt x="0" y="30532"/>
                  </a:cubicBezTo>
                  <a:cubicBezTo>
                    <a:pt x="2857" y="17197"/>
                    <a:pt x="14288" y="7672"/>
                    <a:pt x="28575" y="7672"/>
                  </a:cubicBezTo>
                  <a:close/>
                </a:path>
              </a:pathLst>
            </a:custGeom>
            <a:solidFill>
              <a:schemeClr val="accent3">
                <a:lumMod val="50000"/>
              </a:schemeClr>
            </a:solidFill>
            <a:ln w="9525" cap="flat">
              <a:noFill/>
              <a:prstDash val="solid"/>
              <a:miter/>
            </a:ln>
          </p:spPr>
          <p:txBody>
            <a:bodyPr rtlCol="0" anchor="ctr"/>
            <a:lstStyle/>
            <a:p>
              <a:endParaRPr lang="zh-CN" altLang="en-US"/>
            </a:p>
          </p:txBody>
        </p:sp>
        <p:sp>
          <p:nvSpPr>
            <p:cNvPr id="9846" name="任意多边形: 形状 9845">
              <a:extLst>
                <a:ext uri="{FF2B5EF4-FFF2-40B4-BE49-F238E27FC236}">
                  <a16:creationId xmlns:a16="http://schemas.microsoft.com/office/drawing/2014/main" id="{4E14DF93-8603-432B-B629-A439E593033D}"/>
                </a:ext>
              </a:extLst>
            </p:cNvPr>
            <p:cNvSpPr/>
            <p:nvPr/>
          </p:nvSpPr>
          <p:spPr>
            <a:xfrm>
              <a:off x="9136569" y="1537805"/>
              <a:ext cx="60904" cy="60904"/>
            </a:xfrm>
            <a:custGeom>
              <a:avLst/>
              <a:gdLst>
                <a:gd name="connsiteX0" fmla="*/ 52214 w 47625"/>
                <a:gd name="connsiteY0" fmla="*/ 14114 h 47625"/>
                <a:gd name="connsiteX1" fmla="*/ 41737 w 47625"/>
                <a:gd name="connsiteY1" fmla="*/ 52214 h 47625"/>
                <a:gd name="connsiteX2" fmla="*/ 3637 w 47625"/>
                <a:gd name="connsiteY2" fmla="*/ 41737 h 47625"/>
                <a:gd name="connsiteX3" fmla="*/ 14114 w 47625"/>
                <a:gd name="connsiteY3" fmla="*/ 3637 h 47625"/>
                <a:gd name="connsiteX4" fmla="*/ 52214 w 47625"/>
                <a:gd name="connsiteY4" fmla="*/ 1411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2214" y="14114"/>
                  </a:moveTo>
                  <a:cubicBezTo>
                    <a:pt x="59834" y="27449"/>
                    <a:pt x="55072" y="44594"/>
                    <a:pt x="41737" y="52214"/>
                  </a:cubicBezTo>
                  <a:cubicBezTo>
                    <a:pt x="28402" y="59834"/>
                    <a:pt x="11257" y="55072"/>
                    <a:pt x="3637" y="41737"/>
                  </a:cubicBezTo>
                  <a:cubicBezTo>
                    <a:pt x="-3983" y="28402"/>
                    <a:pt x="779" y="11257"/>
                    <a:pt x="14114" y="3637"/>
                  </a:cubicBezTo>
                  <a:cubicBezTo>
                    <a:pt x="27449" y="-3983"/>
                    <a:pt x="44594" y="779"/>
                    <a:pt x="52214" y="14114"/>
                  </a:cubicBezTo>
                  <a:close/>
                </a:path>
              </a:pathLst>
            </a:custGeom>
            <a:solidFill>
              <a:schemeClr val="accent3">
                <a:lumMod val="50000"/>
              </a:schemeClr>
            </a:solidFill>
            <a:ln w="9525" cap="flat">
              <a:noFill/>
              <a:prstDash val="solid"/>
              <a:miter/>
            </a:ln>
          </p:spPr>
          <p:txBody>
            <a:bodyPr rtlCol="0" anchor="ctr"/>
            <a:lstStyle/>
            <a:p>
              <a:endParaRPr lang="zh-CN" altLang="en-US"/>
            </a:p>
          </p:txBody>
        </p:sp>
        <p:sp>
          <p:nvSpPr>
            <p:cNvPr id="9847" name="任意多边形: 形状 9846">
              <a:extLst>
                <a:ext uri="{FF2B5EF4-FFF2-40B4-BE49-F238E27FC236}">
                  <a16:creationId xmlns:a16="http://schemas.microsoft.com/office/drawing/2014/main" id="{7F95732F-BC19-493E-AD94-6548693D51C1}"/>
                </a:ext>
              </a:extLst>
            </p:cNvPr>
            <p:cNvSpPr/>
            <p:nvPr/>
          </p:nvSpPr>
          <p:spPr>
            <a:xfrm>
              <a:off x="9140001" y="1550982"/>
              <a:ext cx="60904" cy="48724"/>
            </a:xfrm>
            <a:custGeom>
              <a:avLst/>
              <a:gdLst>
                <a:gd name="connsiteX0" fmla="*/ 35242 w 47625"/>
                <a:gd name="connsiteY0" fmla="*/ 34290 h 38100"/>
                <a:gd name="connsiteX1" fmla="*/ 0 w 47625"/>
                <a:gd name="connsiteY1" fmla="*/ 27623 h 38100"/>
                <a:gd name="connsiteX2" fmla="*/ 1905 w 47625"/>
                <a:gd name="connsiteY2" fmla="*/ 31433 h 38100"/>
                <a:gd name="connsiteX3" fmla="*/ 40005 w 47625"/>
                <a:gd name="connsiteY3" fmla="*/ 41910 h 38100"/>
                <a:gd name="connsiteX4" fmla="*/ 50482 w 47625"/>
                <a:gd name="connsiteY4" fmla="*/ 3810 h 38100"/>
                <a:gd name="connsiteX5" fmla="*/ 48577 w 47625"/>
                <a:gd name="connsiteY5" fmla="*/ 0 h 38100"/>
                <a:gd name="connsiteX6" fmla="*/ 35242 w 47625"/>
                <a:gd name="connsiteY6" fmla="*/ 3429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38100">
                  <a:moveTo>
                    <a:pt x="35242" y="34290"/>
                  </a:moveTo>
                  <a:cubicBezTo>
                    <a:pt x="22860" y="40958"/>
                    <a:pt x="8572" y="38100"/>
                    <a:pt x="0" y="27623"/>
                  </a:cubicBezTo>
                  <a:cubicBezTo>
                    <a:pt x="952" y="28575"/>
                    <a:pt x="952" y="30480"/>
                    <a:pt x="1905" y="31433"/>
                  </a:cubicBezTo>
                  <a:cubicBezTo>
                    <a:pt x="9525" y="44767"/>
                    <a:pt x="26670" y="49530"/>
                    <a:pt x="40005" y="41910"/>
                  </a:cubicBezTo>
                  <a:cubicBezTo>
                    <a:pt x="53340" y="34290"/>
                    <a:pt x="58102" y="17145"/>
                    <a:pt x="50482" y="3810"/>
                  </a:cubicBezTo>
                  <a:cubicBezTo>
                    <a:pt x="49530" y="2858"/>
                    <a:pt x="48577" y="1905"/>
                    <a:pt x="48577" y="0"/>
                  </a:cubicBezTo>
                  <a:cubicBezTo>
                    <a:pt x="51435" y="12383"/>
                    <a:pt x="46672" y="26670"/>
                    <a:pt x="35242" y="34290"/>
                  </a:cubicBezTo>
                  <a:close/>
                </a:path>
              </a:pathLst>
            </a:custGeom>
            <a:solidFill>
              <a:srgbClr val="200A24"/>
            </a:solidFill>
            <a:ln w="9525" cap="flat">
              <a:noFill/>
              <a:prstDash val="solid"/>
              <a:miter/>
            </a:ln>
          </p:spPr>
          <p:txBody>
            <a:bodyPr rtlCol="0" anchor="ctr"/>
            <a:lstStyle/>
            <a:p>
              <a:endParaRPr lang="zh-CN" altLang="en-US"/>
            </a:p>
          </p:txBody>
        </p:sp>
        <p:sp>
          <p:nvSpPr>
            <p:cNvPr id="9848" name="任意多边形: 形状 9847">
              <a:extLst>
                <a:ext uri="{FF2B5EF4-FFF2-40B4-BE49-F238E27FC236}">
                  <a16:creationId xmlns:a16="http://schemas.microsoft.com/office/drawing/2014/main" id="{60A6ACE5-F7A2-4831-9A0F-94306A7DA49D}"/>
                </a:ext>
              </a:extLst>
            </p:cNvPr>
            <p:cNvSpPr/>
            <p:nvPr/>
          </p:nvSpPr>
          <p:spPr>
            <a:xfrm>
              <a:off x="9075443" y="857890"/>
              <a:ext cx="121809" cy="121809"/>
            </a:xfrm>
            <a:custGeom>
              <a:avLst/>
              <a:gdLst>
                <a:gd name="connsiteX0" fmla="*/ 0 w 95250"/>
                <a:gd name="connsiteY0" fmla="*/ 51435 h 95250"/>
                <a:gd name="connsiteX1" fmla="*/ 51435 w 95250"/>
                <a:gd name="connsiteY1" fmla="*/ 0 h 95250"/>
                <a:gd name="connsiteX2" fmla="*/ 102870 w 95250"/>
                <a:gd name="connsiteY2" fmla="*/ 51435 h 95250"/>
                <a:gd name="connsiteX3" fmla="*/ 51435 w 95250"/>
                <a:gd name="connsiteY3" fmla="*/ 102870 h 95250"/>
                <a:gd name="connsiteX4" fmla="*/ 0 w 95250"/>
                <a:gd name="connsiteY4" fmla="*/ 51435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0" y="51435"/>
                  </a:moveTo>
                  <a:cubicBezTo>
                    <a:pt x="0" y="22860"/>
                    <a:pt x="22860" y="0"/>
                    <a:pt x="51435" y="0"/>
                  </a:cubicBezTo>
                  <a:cubicBezTo>
                    <a:pt x="80010" y="0"/>
                    <a:pt x="102870" y="22860"/>
                    <a:pt x="102870" y="51435"/>
                  </a:cubicBezTo>
                  <a:cubicBezTo>
                    <a:pt x="102870" y="80010"/>
                    <a:pt x="80010" y="102870"/>
                    <a:pt x="51435" y="102870"/>
                  </a:cubicBezTo>
                  <a:cubicBezTo>
                    <a:pt x="22860" y="102870"/>
                    <a:pt x="0" y="80010"/>
                    <a:pt x="0" y="51435"/>
                  </a:cubicBezTo>
                  <a:close/>
                </a:path>
              </a:pathLst>
            </a:custGeom>
            <a:gradFill>
              <a:gsLst>
                <a:gs pos="100000">
                  <a:schemeClr val="accent3">
                    <a:lumMod val="75000"/>
                  </a:schemeClr>
                </a:gs>
                <a:gs pos="0">
                  <a:schemeClr val="accent3">
                    <a:lumMod val="50000"/>
                  </a:schemeClr>
                </a:gs>
              </a:gsLst>
              <a:lin ang="8100000" scaled="1"/>
            </a:gradFill>
            <a:ln w="9525" cap="flat">
              <a:noFill/>
              <a:prstDash val="solid"/>
              <a:miter/>
            </a:ln>
          </p:spPr>
          <p:txBody>
            <a:bodyPr rtlCol="0" anchor="ctr"/>
            <a:lstStyle/>
            <a:p>
              <a:endParaRPr lang="zh-CN" altLang="en-US"/>
            </a:p>
          </p:txBody>
        </p:sp>
        <p:sp>
          <p:nvSpPr>
            <p:cNvPr id="9849" name="任意多边形: 形状 9848">
              <a:extLst>
                <a:ext uri="{FF2B5EF4-FFF2-40B4-BE49-F238E27FC236}">
                  <a16:creationId xmlns:a16="http://schemas.microsoft.com/office/drawing/2014/main" id="{E53E051F-0990-49FB-AE3C-6E9793825ECA}"/>
                </a:ext>
              </a:extLst>
            </p:cNvPr>
            <p:cNvSpPr/>
            <p:nvPr/>
          </p:nvSpPr>
          <p:spPr>
            <a:xfrm>
              <a:off x="9076661" y="857890"/>
              <a:ext cx="121809" cy="73085"/>
            </a:xfrm>
            <a:custGeom>
              <a:avLst/>
              <a:gdLst>
                <a:gd name="connsiteX0" fmla="*/ 50482 w 95250"/>
                <a:gd name="connsiteY0" fmla="*/ 15240 h 57150"/>
                <a:gd name="connsiteX1" fmla="*/ 101918 w 95250"/>
                <a:gd name="connsiteY1" fmla="*/ 59055 h 57150"/>
                <a:gd name="connsiteX2" fmla="*/ 102870 w 95250"/>
                <a:gd name="connsiteY2" fmla="*/ 51435 h 57150"/>
                <a:gd name="connsiteX3" fmla="*/ 51435 w 95250"/>
                <a:gd name="connsiteY3" fmla="*/ 0 h 57150"/>
                <a:gd name="connsiteX4" fmla="*/ 0 w 95250"/>
                <a:gd name="connsiteY4" fmla="*/ 51435 h 57150"/>
                <a:gd name="connsiteX5" fmla="*/ 952 w 95250"/>
                <a:gd name="connsiteY5" fmla="*/ 59055 h 57150"/>
                <a:gd name="connsiteX6" fmla="*/ 50482 w 95250"/>
                <a:gd name="connsiteY6" fmla="*/ 1524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57150">
                  <a:moveTo>
                    <a:pt x="50482" y="15240"/>
                  </a:moveTo>
                  <a:cubicBezTo>
                    <a:pt x="76200" y="15240"/>
                    <a:pt x="98107" y="34290"/>
                    <a:pt x="101918" y="59055"/>
                  </a:cubicBezTo>
                  <a:cubicBezTo>
                    <a:pt x="101918" y="56197"/>
                    <a:pt x="102870" y="54293"/>
                    <a:pt x="102870" y="51435"/>
                  </a:cubicBezTo>
                  <a:cubicBezTo>
                    <a:pt x="102870" y="22860"/>
                    <a:pt x="80010" y="0"/>
                    <a:pt x="51435" y="0"/>
                  </a:cubicBezTo>
                  <a:cubicBezTo>
                    <a:pt x="22860" y="0"/>
                    <a:pt x="0" y="22860"/>
                    <a:pt x="0" y="51435"/>
                  </a:cubicBezTo>
                  <a:cubicBezTo>
                    <a:pt x="0" y="54293"/>
                    <a:pt x="0" y="56197"/>
                    <a:pt x="952" y="59055"/>
                  </a:cubicBezTo>
                  <a:cubicBezTo>
                    <a:pt x="2857" y="34290"/>
                    <a:pt x="24765" y="15240"/>
                    <a:pt x="50482" y="15240"/>
                  </a:cubicBezTo>
                  <a:close/>
                </a:path>
              </a:pathLst>
            </a:custGeom>
            <a:solidFill>
              <a:schemeClr val="accent3">
                <a:lumMod val="50000"/>
              </a:schemeClr>
            </a:solidFill>
            <a:ln w="9525" cap="flat">
              <a:noFill/>
              <a:prstDash val="solid"/>
              <a:miter/>
            </a:ln>
          </p:spPr>
          <p:txBody>
            <a:bodyPr rtlCol="0" anchor="ctr"/>
            <a:lstStyle/>
            <a:p>
              <a:endParaRPr lang="zh-CN" altLang="en-US"/>
            </a:p>
          </p:txBody>
        </p:sp>
        <p:sp>
          <p:nvSpPr>
            <p:cNvPr id="9850" name="任意多边形: 形状 9849">
              <a:extLst>
                <a:ext uri="{FF2B5EF4-FFF2-40B4-BE49-F238E27FC236}">
                  <a16:creationId xmlns:a16="http://schemas.microsoft.com/office/drawing/2014/main" id="{F00E2AB7-598D-4938-99BF-C1DB2654D0A0}"/>
                </a:ext>
              </a:extLst>
            </p:cNvPr>
            <p:cNvSpPr/>
            <p:nvPr/>
          </p:nvSpPr>
          <p:spPr>
            <a:xfrm>
              <a:off x="9172815" y="1176954"/>
              <a:ext cx="133990" cy="133990"/>
            </a:xfrm>
            <a:custGeom>
              <a:avLst/>
              <a:gdLst>
                <a:gd name="connsiteX0" fmla="*/ 65781 w 104775"/>
                <a:gd name="connsiteY0" fmla="*/ 1011 h 104775"/>
                <a:gd name="connsiteX1" fmla="*/ 109596 w 104775"/>
                <a:gd name="connsiteY1" fmla="*/ 65781 h 104775"/>
                <a:gd name="connsiteX2" fmla="*/ 44826 w 104775"/>
                <a:gd name="connsiteY2" fmla="*/ 109596 h 104775"/>
                <a:gd name="connsiteX3" fmla="*/ 1011 w 104775"/>
                <a:gd name="connsiteY3" fmla="*/ 44826 h 104775"/>
                <a:gd name="connsiteX4" fmla="*/ 65781 w 104775"/>
                <a:gd name="connsiteY4" fmla="*/ 1011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65781" y="1011"/>
                  </a:moveTo>
                  <a:cubicBezTo>
                    <a:pt x="96261" y="6726"/>
                    <a:pt x="115311" y="36253"/>
                    <a:pt x="109596" y="65781"/>
                  </a:cubicBezTo>
                  <a:cubicBezTo>
                    <a:pt x="103881" y="96261"/>
                    <a:pt x="74353" y="115311"/>
                    <a:pt x="44826" y="109596"/>
                  </a:cubicBezTo>
                  <a:cubicBezTo>
                    <a:pt x="14346" y="103881"/>
                    <a:pt x="-4704" y="74353"/>
                    <a:pt x="1011" y="44826"/>
                  </a:cubicBezTo>
                  <a:cubicBezTo>
                    <a:pt x="6726" y="14346"/>
                    <a:pt x="35301" y="-4704"/>
                    <a:pt x="65781" y="1011"/>
                  </a:cubicBezTo>
                  <a:close/>
                </a:path>
              </a:pathLst>
            </a:custGeom>
            <a:gradFill>
              <a:gsLst>
                <a:gs pos="100000">
                  <a:schemeClr val="accent3">
                    <a:lumMod val="75000"/>
                  </a:schemeClr>
                </a:gs>
                <a:gs pos="0">
                  <a:schemeClr val="accent3">
                    <a:lumMod val="50000"/>
                  </a:schemeClr>
                </a:gs>
              </a:gsLst>
              <a:lin ang="8100000" scaled="1"/>
            </a:gradFill>
            <a:ln w="9525" cap="flat">
              <a:noFill/>
              <a:prstDash val="solid"/>
              <a:miter/>
            </a:ln>
          </p:spPr>
          <p:txBody>
            <a:bodyPr rtlCol="0" anchor="ctr"/>
            <a:lstStyle/>
            <a:p>
              <a:endParaRPr lang="zh-CN" altLang="en-US"/>
            </a:p>
          </p:txBody>
        </p:sp>
        <p:sp>
          <p:nvSpPr>
            <p:cNvPr id="9851" name="任意多边形: 形状 9850">
              <a:extLst>
                <a:ext uri="{FF2B5EF4-FFF2-40B4-BE49-F238E27FC236}">
                  <a16:creationId xmlns:a16="http://schemas.microsoft.com/office/drawing/2014/main" id="{4AEB073A-338E-4D27-8DE7-AAC660FD46DF}"/>
                </a:ext>
              </a:extLst>
            </p:cNvPr>
            <p:cNvSpPr/>
            <p:nvPr/>
          </p:nvSpPr>
          <p:spPr>
            <a:xfrm>
              <a:off x="9219178" y="1177028"/>
              <a:ext cx="85266" cy="133990"/>
            </a:xfrm>
            <a:custGeom>
              <a:avLst/>
              <a:gdLst>
                <a:gd name="connsiteX0" fmla="*/ 57150 w 66675"/>
                <a:gd name="connsiteY0" fmla="*/ 62865 h 104775"/>
                <a:gd name="connsiteX1" fmla="*/ 0 w 66675"/>
                <a:gd name="connsiteY1" fmla="*/ 107632 h 104775"/>
                <a:gd name="connsiteX2" fmla="*/ 7620 w 66675"/>
                <a:gd name="connsiteY2" fmla="*/ 109538 h 104775"/>
                <a:gd name="connsiteX3" fmla="*/ 72390 w 66675"/>
                <a:gd name="connsiteY3" fmla="*/ 65723 h 104775"/>
                <a:gd name="connsiteX4" fmla="*/ 28575 w 66675"/>
                <a:gd name="connsiteY4" fmla="*/ 953 h 104775"/>
                <a:gd name="connsiteX5" fmla="*/ 20002 w 66675"/>
                <a:gd name="connsiteY5" fmla="*/ 0 h 104775"/>
                <a:gd name="connsiteX6" fmla="*/ 57150 w 66675"/>
                <a:gd name="connsiteY6" fmla="*/ 6286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104775">
                  <a:moveTo>
                    <a:pt x="57150" y="62865"/>
                  </a:moveTo>
                  <a:cubicBezTo>
                    <a:pt x="51435" y="90488"/>
                    <a:pt x="27622" y="108585"/>
                    <a:pt x="0" y="107632"/>
                  </a:cubicBezTo>
                  <a:cubicBezTo>
                    <a:pt x="2857" y="108585"/>
                    <a:pt x="4763" y="109538"/>
                    <a:pt x="7620" y="109538"/>
                  </a:cubicBezTo>
                  <a:cubicBezTo>
                    <a:pt x="38100" y="115253"/>
                    <a:pt x="66675" y="95250"/>
                    <a:pt x="72390" y="65723"/>
                  </a:cubicBezTo>
                  <a:cubicBezTo>
                    <a:pt x="78105" y="35243"/>
                    <a:pt x="58102" y="6668"/>
                    <a:pt x="28575" y="953"/>
                  </a:cubicBezTo>
                  <a:cubicBezTo>
                    <a:pt x="25717" y="0"/>
                    <a:pt x="22860" y="0"/>
                    <a:pt x="20002" y="0"/>
                  </a:cubicBezTo>
                  <a:cubicBezTo>
                    <a:pt x="46672" y="8573"/>
                    <a:pt x="62865" y="35243"/>
                    <a:pt x="57150" y="62865"/>
                  </a:cubicBezTo>
                  <a:close/>
                </a:path>
              </a:pathLst>
            </a:custGeom>
            <a:solidFill>
              <a:schemeClr val="accent3">
                <a:lumMod val="50000"/>
              </a:schemeClr>
            </a:solidFill>
            <a:ln w="9525" cap="flat">
              <a:noFill/>
              <a:prstDash val="solid"/>
              <a:miter/>
            </a:ln>
          </p:spPr>
          <p:txBody>
            <a:bodyPr rtlCol="0" anchor="ctr"/>
            <a:lstStyle/>
            <a:p>
              <a:endParaRPr lang="zh-CN" altLang="en-US"/>
            </a:p>
          </p:txBody>
        </p:sp>
        <p:sp>
          <p:nvSpPr>
            <p:cNvPr id="9852" name="任意多边形: 形状 9851">
              <a:extLst>
                <a:ext uri="{FF2B5EF4-FFF2-40B4-BE49-F238E27FC236}">
                  <a16:creationId xmlns:a16="http://schemas.microsoft.com/office/drawing/2014/main" id="{4A5F5102-AFC2-4F06-964A-1165F8F85AA8}"/>
                </a:ext>
              </a:extLst>
            </p:cNvPr>
            <p:cNvSpPr/>
            <p:nvPr/>
          </p:nvSpPr>
          <p:spPr>
            <a:xfrm>
              <a:off x="9495667" y="1111234"/>
              <a:ext cx="97447" cy="97447"/>
            </a:xfrm>
            <a:custGeom>
              <a:avLst/>
              <a:gdLst>
                <a:gd name="connsiteX0" fmla="*/ 14301 w 76200"/>
                <a:gd name="connsiteY0" fmla="*/ 9538 h 76200"/>
                <a:gd name="connsiteX1" fmla="*/ 71451 w 76200"/>
                <a:gd name="connsiteY1" fmla="*/ 14301 h 76200"/>
                <a:gd name="connsiteX2" fmla="*/ 66688 w 76200"/>
                <a:gd name="connsiteY2" fmla="*/ 71451 h 76200"/>
                <a:gd name="connsiteX3" fmla="*/ 9538 w 76200"/>
                <a:gd name="connsiteY3" fmla="*/ 66688 h 76200"/>
                <a:gd name="connsiteX4" fmla="*/ 14301 w 76200"/>
                <a:gd name="connsiteY4" fmla="*/ 953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14301" y="9538"/>
                  </a:moveTo>
                  <a:cubicBezTo>
                    <a:pt x="31446" y="-4749"/>
                    <a:pt x="57163" y="-2844"/>
                    <a:pt x="71451" y="14301"/>
                  </a:cubicBezTo>
                  <a:cubicBezTo>
                    <a:pt x="85738" y="31446"/>
                    <a:pt x="83833" y="57163"/>
                    <a:pt x="66688" y="71451"/>
                  </a:cubicBezTo>
                  <a:cubicBezTo>
                    <a:pt x="49543" y="85738"/>
                    <a:pt x="23826" y="83833"/>
                    <a:pt x="9538" y="66688"/>
                  </a:cubicBezTo>
                  <a:cubicBezTo>
                    <a:pt x="-4749" y="49543"/>
                    <a:pt x="-2844" y="24778"/>
                    <a:pt x="14301" y="9538"/>
                  </a:cubicBezTo>
                  <a:close/>
                </a:path>
              </a:pathLst>
            </a:custGeom>
            <a:gradFill>
              <a:gsLst>
                <a:gs pos="100000">
                  <a:schemeClr val="accent3">
                    <a:lumMod val="75000"/>
                  </a:schemeClr>
                </a:gs>
                <a:gs pos="0">
                  <a:schemeClr val="accent3">
                    <a:lumMod val="50000"/>
                  </a:schemeClr>
                </a:gs>
              </a:gsLst>
              <a:lin ang="8100000" scaled="1"/>
            </a:gradFill>
            <a:ln w="9525" cap="flat">
              <a:noFill/>
              <a:prstDash val="solid"/>
              <a:miter/>
            </a:ln>
          </p:spPr>
          <p:txBody>
            <a:bodyPr rtlCol="0" anchor="ctr"/>
            <a:lstStyle/>
            <a:p>
              <a:endParaRPr lang="zh-CN" altLang="en-US"/>
            </a:p>
          </p:txBody>
        </p:sp>
        <p:sp>
          <p:nvSpPr>
            <p:cNvPr id="9853" name="任意多边形: 形状 9852">
              <a:extLst>
                <a:ext uri="{FF2B5EF4-FFF2-40B4-BE49-F238E27FC236}">
                  <a16:creationId xmlns:a16="http://schemas.microsoft.com/office/drawing/2014/main" id="{C4EAA464-B250-4FCA-A14D-BC3419EA30C7}"/>
                </a:ext>
              </a:extLst>
            </p:cNvPr>
            <p:cNvSpPr/>
            <p:nvPr/>
          </p:nvSpPr>
          <p:spPr>
            <a:xfrm>
              <a:off x="9510300" y="1111234"/>
              <a:ext cx="85266" cy="85266"/>
            </a:xfrm>
            <a:custGeom>
              <a:avLst/>
              <a:gdLst>
                <a:gd name="connsiteX0" fmla="*/ 51435 w 66675"/>
                <a:gd name="connsiteY0" fmla="*/ 21921 h 66675"/>
                <a:gd name="connsiteX1" fmla="*/ 51435 w 66675"/>
                <a:gd name="connsiteY1" fmla="*/ 75261 h 66675"/>
                <a:gd name="connsiteX2" fmla="*/ 56197 w 66675"/>
                <a:gd name="connsiteY2" fmla="*/ 71451 h 66675"/>
                <a:gd name="connsiteX3" fmla="*/ 60960 w 66675"/>
                <a:gd name="connsiteY3" fmla="*/ 14301 h 66675"/>
                <a:gd name="connsiteX4" fmla="*/ 3810 w 66675"/>
                <a:gd name="connsiteY4" fmla="*/ 9538 h 66675"/>
                <a:gd name="connsiteX5" fmla="*/ 0 w 66675"/>
                <a:gd name="connsiteY5" fmla="*/ 13348 h 66675"/>
                <a:gd name="connsiteX6" fmla="*/ 51435 w 66675"/>
                <a:gd name="connsiteY6" fmla="*/ 2192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66675">
                  <a:moveTo>
                    <a:pt x="51435" y="21921"/>
                  </a:moveTo>
                  <a:cubicBezTo>
                    <a:pt x="64770" y="37161"/>
                    <a:pt x="64770" y="60021"/>
                    <a:pt x="51435" y="75261"/>
                  </a:cubicBezTo>
                  <a:cubicBezTo>
                    <a:pt x="53340" y="74308"/>
                    <a:pt x="54292" y="73356"/>
                    <a:pt x="56197" y="71451"/>
                  </a:cubicBezTo>
                  <a:cubicBezTo>
                    <a:pt x="73342" y="57163"/>
                    <a:pt x="75247" y="31446"/>
                    <a:pt x="60960" y="14301"/>
                  </a:cubicBezTo>
                  <a:cubicBezTo>
                    <a:pt x="46672" y="-2844"/>
                    <a:pt x="20955" y="-4749"/>
                    <a:pt x="3810" y="9538"/>
                  </a:cubicBezTo>
                  <a:cubicBezTo>
                    <a:pt x="1905" y="10491"/>
                    <a:pt x="952" y="12396"/>
                    <a:pt x="0" y="13348"/>
                  </a:cubicBezTo>
                  <a:cubicBezTo>
                    <a:pt x="15240" y="2871"/>
                    <a:pt x="38100" y="6681"/>
                    <a:pt x="51435" y="21921"/>
                  </a:cubicBezTo>
                  <a:close/>
                </a:path>
              </a:pathLst>
            </a:custGeom>
            <a:solidFill>
              <a:schemeClr val="accent3">
                <a:lumMod val="50000"/>
              </a:schemeClr>
            </a:solidFill>
            <a:ln w="9525" cap="flat">
              <a:noFill/>
              <a:prstDash val="solid"/>
              <a:miter/>
            </a:ln>
          </p:spPr>
          <p:txBody>
            <a:bodyPr rtlCol="0" anchor="ctr"/>
            <a:lstStyle/>
            <a:p>
              <a:endParaRPr lang="zh-CN" altLang="en-US"/>
            </a:p>
          </p:txBody>
        </p:sp>
      </p:grpSp>
      <p:sp>
        <p:nvSpPr>
          <p:cNvPr id="9875" name="任意多边形: 形状 9874">
            <a:extLst>
              <a:ext uri="{FF2B5EF4-FFF2-40B4-BE49-F238E27FC236}">
                <a16:creationId xmlns:a16="http://schemas.microsoft.com/office/drawing/2014/main" id="{3D3D7DA5-D1F6-4F26-A08C-47392DACC1FB}"/>
              </a:ext>
            </a:extLst>
          </p:cNvPr>
          <p:cNvSpPr/>
          <p:nvPr/>
        </p:nvSpPr>
        <p:spPr>
          <a:xfrm>
            <a:off x="10383055" y="5088584"/>
            <a:ext cx="1172781" cy="1172780"/>
          </a:xfrm>
          <a:custGeom>
            <a:avLst/>
            <a:gdLst>
              <a:gd name="connsiteX0" fmla="*/ 906364 w 1172780"/>
              <a:gd name="connsiteY0" fmla="*/ 315645 h 1172780"/>
              <a:gd name="connsiteX1" fmla="*/ 865794 w 1172780"/>
              <a:gd name="connsiteY1" fmla="*/ 906364 h 1172780"/>
              <a:gd name="connsiteX2" fmla="*/ 275075 w 1172780"/>
              <a:gd name="connsiteY2" fmla="*/ 865794 h 1172780"/>
              <a:gd name="connsiteX3" fmla="*/ 315645 w 1172780"/>
              <a:gd name="connsiteY3" fmla="*/ 275074 h 1172780"/>
              <a:gd name="connsiteX4" fmla="*/ 906364 w 1172780"/>
              <a:gd name="connsiteY4" fmla="*/ 315645 h 117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780" h="1172780">
                <a:moveTo>
                  <a:pt x="906364" y="315645"/>
                </a:moveTo>
                <a:cubicBezTo>
                  <a:pt x="1058284" y="489971"/>
                  <a:pt x="1040120" y="754445"/>
                  <a:pt x="865794" y="906364"/>
                </a:cubicBezTo>
                <a:cubicBezTo>
                  <a:pt x="691468" y="1058283"/>
                  <a:pt x="426994" y="1040119"/>
                  <a:pt x="275075" y="865794"/>
                </a:cubicBezTo>
                <a:cubicBezTo>
                  <a:pt x="123155" y="691468"/>
                  <a:pt x="141319" y="426994"/>
                  <a:pt x="315645" y="275074"/>
                </a:cubicBezTo>
                <a:cubicBezTo>
                  <a:pt x="489971" y="123155"/>
                  <a:pt x="754445" y="141319"/>
                  <a:pt x="906364" y="315645"/>
                </a:cubicBezTo>
                <a:close/>
              </a:path>
            </a:pathLst>
          </a:custGeom>
          <a:gradFill>
            <a:gsLst>
              <a:gs pos="88000">
                <a:schemeClr val="accent1">
                  <a:lumMod val="75000"/>
                </a:schemeClr>
              </a:gs>
              <a:gs pos="0">
                <a:schemeClr val="accent2">
                  <a:lumMod val="75000"/>
                </a:schemeClr>
              </a:gs>
            </a:gsLst>
            <a:lin ang="5400000" scaled="1"/>
          </a:gradFill>
          <a:ln w="11657" cap="flat">
            <a:noFill/>
            <a:prstDash val="solid"/>
            <a:miter/>
          </a:ln>
        </p:spPr>
        <p:txBody>
          <a:bodyPr rtlCol="0" anchor="ctr"/>
          <a:lstStyle/>
          <a:p>
            <a:endParaRPr lang="zh-CN" altLang="en-US"/>
          </a:p>
        </p:txBody>
      </p:sp>
      <p:grpSp>
        <p:nvGrpSpPr>
          <p:cNvPr id="9880" name="组合 9879">
            <a:extLst>
              <a:ext uri="{FF2B5EF4-FFF2-40B4-BE49-F238E27FC236}">
                <a16:creationId xmlns:a16="http://schemas.microsoft.com/office/drawing/2014/main" id="{E5F9C1FA-005F-4A09-ADCC-7D9F09BA5560}"/>
              </a:ext>
            </a:extLst>
          </p:cNvPr>
          <p:cNvGrpSpPr/>
          <p:nvPr userDrawn="1"/>
        </p:nvGrpSpPr>
        <p:grpSpPr>
          <a:xfrm>
            <a:off x="10185312" y="5260867"/>
            <a:ext cx="1560970" cy="832791"/>
            <a:chOff x="10185312" y="5260867"/>
            <a:chExt cx="1560970" cy="832791"/>
          </a:xfrm>
          <a:effectLst>
            <a:glow rad="101600">
              <a:schemeClr val="accent2">
                <a:lumMod val="60000"/>
                <a:lumOff val="40000"/>
                <a:alpha val="28000"/>
              </a:schemeClr>
            </a:glow>
          </a:effectLst>
        </p:grpSpPr>
        <p:sp>
          <p:nvSpPr>
            <p:cNvPr id="9876" name="任意多边形: 形状 9875">
              <a:extLst>
                <a:ext uri="{FF2B5EF4-FFF2-40B4-BE49-F238E27FC236}">
                  <a16:creationId xmlns:a16="http://schemas.microsoft.com/office/drawing/2014/main" id="{0D524C5A-03B2-49AD-A846-CEA4B2B9B1FC}"/>
                </a:ext>
              </a:extLst>
            </p:cNvPr>
            <p:cNvSpPr/>
            <p:nvPr/>
          </p:nvSpPr>
          <p:spPr>
            <a:xfrm>
              <a:off x="10609190" y="5260984"/>
              <a:ext cx="774035" cy="832674"/>
            </a:xfrm>
            <a:custGeom>
              <a:avLst/>
              <a:gdLst>
                <a:gd name="connsiteX0" fmla="*/ 778726 w 774035"/>
                <a:gd name="connsiteY0" fmla="*/ 479473 h 832674"/>
                <a:gd name="connsiteX1" fmla="*/ 424547 w 774035"/>
                <a:gd name="connsiteY1" fmla="*/ 4497 h 832674"/>
                <a:gd name="connsiteX2" fmla="*/ 39875 w 774035"/>
                <a:gd name="connsiteY2" fmla="*/ 154613 h 832674"/>
                <a:gd name="connsiteX3" fmla="*/ 55121 w 774035"/>
                <a:gd name="connsiteY3" fmla="*/ 214425 h 832674"/>
                <a:gd name="connsiteX4" fmla="*/ 123142 w 774035"/>
                <a:gd name="connsiteY4" fmla="*/ 266027 h 832674"/>
                <a:gd name="connsiteX5" fmla="*/ 372944 w 774035"/>
                <a:gd name="connsiteY5" fmla="*/ 294174 h 832674"/>
                <a:gd name="connsiteX6" fmla="*/ 565280 w 774035"/>
                <a:gd name="connsiteY6" fmla="*/ 377442 h 832674"/>
                <a:gd name="connsiteX7" fmla="*/ 650893 w 774035"/>
                <a:gd name="connsiteY7" fmla="*/ 565086 h 832674"/>
                <a:gd name="connsiteX8" fmla="*/ 542997 w 774035"/>
                <a:gd name="connsiteY8" fmla="*/ 736312 h 832674"/>
                <a:gd name="connsiteX9" fmla="*/ 431583 w 774035"/>
                <a:gd name="connsiteY9" fmla="*/ 753904 h 832674"/>
                <a:gd name="connsiteX10" fmla="*/ 31665 w 774035"/>
                <a:gd name="connsiteY10" fmla="*/ 627244 h 832674"/>
                <a:gd name="connsiteX11" fmla="*/ 0 w 774035"/>
                <a:gd name="connsiteY11" fmla="*/ 622553 h 832674"/>
                <a:gd name="connsiteX12" fmla="*/ 304923 w 774035"/>
                <a:gd name="connsiteY12" fmla="*/ 833653 h 832674"/>
                <a:gd name="connsiteX13" fmla="*/ 778726 w 774035"/>
                <a:gd name="connsiteY13" fmla="*/ 479473 h 83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035" h="832674">
                  <a:moveTo>
                    <a:pt x="778726" y="479473"/>
                  </a:moveTo>
                  <a:cubicBezTo>
                    <a:pt x="811564" y="250781"/>
                    <a:pt x="653239" y="38508"/>
                    <a:pt x="424547" y="4497"/>
                  </a:cubicBezTo>
                  <a:cubicBezTo>
                    <a:pt x="273258" y="-17785"/>
                    <a:pt x="130179" y="44372"/>
                    <a:pt x="39875" y="154613"/>
                  </a:cubicBezTo>
                  <a:cubicBezTo>
                    <a:pt x="39875" y="175723"/>
                    <a:pt x="43393" y="196833"/>
                    <a:pt x="55121" y="214425"/>
                  </a:cubicBezTo>
                  <a:cubicBezTo>
                    <a:pt x="70367" y="239053"/>
                    <a:pt x="96168" y="255472"/>
                    <a:pt x="123142" y="266027"/>
                  </a:cubicBezTo>
                  <a:cubicBezTo>
                    <a:pt x="201718" y="296520"/>
                    <a:pt x="289677" y="283619"/>
                    <a:pt x="372944" y="294174"/>
                  </a:cubicBezTo>
                  <a:cubicBezTo>
                    <a:pt x="443311" y="303556"/>
                    <a:pt x="512505" y="329358"/>
                    <a:pt x="565280" y="377442"/>
                  </a:cubicBezTo>
                  <a:cubicBezTo>
                    <a:pt x="618055" y="424353"/>
                    <a:pt x="653239" y="494720"/>
                    <a:pt x="650893" y="565086"/>
                  </a:cubicBezTo>
                  <a:cubicBezTo>
                    <a:pt x="648548" y="636626"/>
                    <a:pt x="607500" y="706993"/>
                    <a:pt x="542997" y="736312"/>
                  </a:cubicBezTo>
                  <a:cubicBezTo>
                    <a:pt x="507814" y="751558"/>
                    <a:pt x="469112" y="756250"/>
                    <a:pt x="431583" y="753904"/>
                  </a:cubicBezTo>
                  <a:cubicBezTo>
                    <a:pt x="290850" y="744522"/>
                    <a:pt x="168880" y="656563"/>
                    <a:pt x="31665" y="627244"/>
                  </a:cubicBezTo>
                  <a:cubicBezTo>
                    <a:pt x="21110" y="624898"/>
                    <a:pt x="10555" y="623725"/>
                    <a:pt x="0" y="622553"/>
                  </a:cubicBezTo>
                  <a:cubicBezTo>
                    <a:pt x="60985" y="732794"/>
                    <a:pt x="171226" y="813716"/>
                    <a:pt x="304923" y="833653"/>
                  </a:cubicBezTo>
                  <a:cubicBezTo>
                    <a:pt x="532442" y="866491"/>
                    <a:pt x="745888" y="708166"/>
                    <a:pt x="778726" y="479473"/>
                  </a:cubicBezTo>
                  <a:close/>
                </a:path>
              </a:pathLst>
            </a:custGeom>
            <a:gradFill>
              <a:gsLst>
                <a:gs pos="88000">
                  <a:schemeClr val="accent2">
                    <a:lumMod val="75000"/>
                  </a:schemeClr>
                </a:gs>
                <a:gs pos="0">
                  <a:schemeClr val="accent2"/>
                </a:gs>
              </a:gsLst>
              <a:lin ang="5400000" scaled="1"/>
            </a:gradFill>
            <a:ln w="11657" cap="flat">
              <a:noFill/>
              <a:prstDash val="solid"/>
              <a:miter/>
            </a:ln>
          </p:spPr>
          <p:txBody>
            <a:bodyPr rtlCol="0" anchor="ctr"/>
            <a:lstStyle/>
            <a:p>
              <a:endParaRPr lang="zh-CN" altLang="en-US"/>
            </a:p>
          </p:txBody>
        </p:sp>
        <p:sp>
          <p:nvSpPr>
            <p:cNvPr id="9877" name="任意多边形: 形状 9876">
              <a:extLst>
                <a:ext uri="{FF2B5EF4-FFF2-40B4-BE49-F238E27FC236}">
                  <a16:creationId xmlns:a16="http://schemas.microsoft.com/office/drawing/2014/main" id="{A786ADBB-875D-4289-BA7D-E3FFFF1C1303}"/>
                </a:ext>
              </a:extLst>
            </p:cNvPr>
            <p:cNvSpPr/>
            <p:nvPr/>
          </p:nvSpPr>
          <p:spPr>
            <a:xfrm>
              <a:off x="10742003" y="5260867"/>
              <a:ext cx="633302" cy="316651"/>
            </a:xfrm>
            <a:custGeom>
              <a:avLst/>
              <a:gdLst>
                <a:gd name="connsiteX0" fmla="*/ 292022 w 633301"/>
                <a:gd name="connsiteY0" fmla="*/ 4325 h 316650"/>
                <a:gd name="connsiteX1" fmla="*/ 0 w 633301"/>
                <a:gd name="connsiteY1" fmla="*/ 70001 h 316650"/>
                <a:gd name="connsiteX2" fmla="*/ 34011 w 633301"/>
                <a:gd name="connsiteY2" fmla="*/ 123949 h 316650"/>
                <a:gd name="connsiteX3" fmla="*/ 194682 w 633301"/>
                <a:gd name="connsiteY3" fmla="*/ 208389 h 316650"/>
                <a:gd name="connsiteX4" fmla="*/ 299059 w 633301"/>
                <a:gd name="connsiteY4" fmla="*/ 188452 h 316650"/>
                <a:gd name="connsiteX5" fmla="*/ 627438 w 633301"/>
                <a:gd name="connsiteY5" fmla="*/ 303384 h 316650"/>
                <a:gd name="connsiteX6" fmla="*/ 641511 w 633301"/>
                <a:gd name="connsiteY6" fmla="*/ 326840 h 316650"/>
                <a:gd name="connsiteX7" fmla="*/ 292022 w 633301"/>
                <a:gd name="connsiteY7" fmla="*/ 4325 h 31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301" h="316650">
                  <a:moveTo>
                    <a:pt x="292022" y="4325"/>
                  </a:moveTo>
                  <a:cubicBezTo>
                    <a:pt x="186472" y="-10921"/>
                    <a:pt x="83267" y="14880"/>
                    <a:pt x="0" y="70001"/>
                  </a:cubicBezTo>
                  <a:cubicBezTo>
                    <a:pt x="9382" y="88766"/>
                    <a:pt x="21110" y="107530"/>
                    <a:pt x="34011" y="123949"/>
                  </a:cubicBezTo>
                  <a:cubicBezTo>
                    <a:pt x="72712" y="173206"/>
                    <a:pt x="132524" y="209562"/>
                    <a:pt x="194682" y="208389"/>
                  </a:cubicBezTo>
                  <a:cubicBezTo>
                    <a:pt x="229865" y="208389"/>
                    <a:pt x="263876" y="196661"/>
                    <a:pt x="299059" y="188452"/>
                  </a:cubicBezTo>
                  <a:cubicBezTo>
                    <a:pt x="419855" y="162651"/>
                    <a:pt x="560589" y="200180"/>
                    <a:pt x="627438" y="303384"/>
                  </a:cubicBezTo>
                  <a:cubicBezTo>
                    <a:pt x="632129" y="310421"/>
                    <a:pt x="636820" y="318631"/>
                    <a:pt x="641511" y="326840"/>
                  </a:cubicBezTo>
                  <a:cubicBezTo>
                    <a:pt x="603982" y="162651"/>
                    <a:pt x="469112" y="30127"/>
                    <a:pt x="292022" y="4325"/>
                  </a:cubicBezTo>
                  <a:close/>
                </a:path>
              </a:pathLst>
            </a:custGeom>
            <a:gradFill>
              <a:gsLst>
                <a:gs pos="56000">
                  <a:schemeClr val="accent2">
                    <a:lumMod val="75000"/>
                  </a:schemeClr>
                </a:gs>
                <a:gs pos="0">
                  <a:schemeClr val="accent2"/>
                </a:gs>
              </a:gsLst>
              <a:lin ang="5400000" scaled="1"/>
            </a:gradFill>
            <a:ln w="11657" cap="flat">
              <a:noFill/>
              <a:prstDash val="solid"/>
              <a:miter/>
            </a:ln>
          </p:spPr>
          <p:txBody>
            <a:bodyPr rtlCol="0" anchor="ctr"/>
            <a:lstStyle/>
            <a:p>
              <a:endParaRPr lang="zh-CN" altLang="en-US"/>
            </a:p>
          </p:txBody>
        </p:sp>
        <p:sp>
          <p:nvSpPr>
            <p:cNvPr id="9878" name="任意多边形: 形状 9877">
              <a:extLst>
                <a:ext uri="{FF2B5EF4-FFF2-40B4-BE49-F238E27FC236}">
                  <a16:creationId xmlns:a16="http://schemas.microsoft.com/office/drawing/2014/main" id="{FBCFD886-A673-4024-AB47-A2C768946BCB}"/>
                </a:ext>
              </a:extLst>
            </p:cNvPr>
            <p:cNvSpPr/>
            <p:nvPr/>
          </p:nvSpPr>
          <p:spPr>
            <a:xfrm>
              <a:off x="10185312" y="5495346"/>
              <a:ext cx="1559798" cy="422201"/>
            </a:xfrm>
            <a:custGeom>
              <a:avLst/>
              <a:gdLst>
                <a:gd name="connsiteX0" fmla="*/ 1250688 w 1559798"/>
                <a:gd name="connsiteY0" fmla="*/ 132524 h 422200"/>
                <a:gd name="connsiteX1" fmla="*/ 1201432 w 1559798"/>
                <a:gd name="connsiteY1" fmla="*/ 114932 h 422200"/>
                <a:gd name="connsiteX2" fmla="*/ 1204950 w 1559798"/>
                <a:gd name="connsiteY2" fmla="*/ 228692 h 422200"/>
                <a:gd name="connsiteX3" fmla="*/ 1335129 w 1559798"/>
                <a:gd name="connsiteY3" fmla="*/ 294368 h 422200"/>
                <a:gd name="connsiteX4" fmla="*/ 1167421 w 1559798"/>
                <a:gd name="connsiteY4" fmla="*/ 321342 h 422200"/>
                <a:gd name="connsiteX5" fmla="*/ 772194 w 1559798"/>
                <a:gd name="connsiteY5" fmla="*/ 296713 h 422200"/>
                <a:gd name="connsiteX6" fmla="*/ 386349 w 1559798"/>
                <a:gd name="connsiteY6" fmla="*/ 207582 h 422200"/>
                <a:gd name="connsiteX7" fmla="*/ 233888 w 1559798"/>
                <a:gd name="connsiteY7" fmla="*/ 133697 h 422200"/>
                <a:gd name="connsiteX8" fmla="*/ 378140 w 1559798"/>
                <a:gd name="connsiteY8" fmla="*/ 107896 h 422200"/>
                <a:gd name="connsiteX9" fmla="*/ 413323 w 1559798"/>
                <a:gd name="connsiteY9" fmla="*/ 0 h 422200"/>
                <a:gd name="connsiteX10" fmla="*/ 361721 w 1559798"/>
                <a:gd name="connsiteY10" fmla="*/ 2346 h 422200"/>
                <a:gd name="connsiteX11" fmla="*/ 504 w 1559798"/>
                <a:gd name="connsiteY11" fmla="*/ 100859 h 422200"/>
                <a:gd name="connsiteX12" fmla="*/ 317155 w 1559798"/>
                <a:gd name="connsiteY12" fmla="*/ 297886 h 422200"/>
                <a:gd name="connsiteX13" fmla="*/ 755775 w 1559798"/>
                <a:gd name="connsiteY13" fmla="*/ 403436 h 422200"/>
                <a:gd name="connsiteX14" fmla="*/ 1206123 w 1559798"/>
                <a:gd name="connsiteY14" fmla="*/ 428065 h 422200"/>
                <a:gd name="connsiteX15" fmla="*/ 1566166 w 1559798"/>
                <a:gd name="connsiteY15" fmla="*/ 330724 h 422200"/>
                <a:gd name="connsiteX16" fmla="*/ 1250688 w 1559798"/>
                <a:gd name="connsiteY16" fmla="*/ 132524 h 4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9798" h="422200">
                  <a:moveTo>
                    <a:pt x="1250688" y="132524"/>
                  </a:moveTo>
                  <a:cubicBezTo>
                    <a:pt x="1235442" y="126660"/>
                    <a:pt x="1219023" y="120796"/>
                    <a:pt x="1201432" y="114932"/>
                  </a:cubicBezTo>
                  <a:cubicBezTo>
                    <a:pt x="1207296" y="151289"/>
                    <a:pt x="1208468" y="189990"/>
                    <a:pt x="1204950" y="228692"/>
                  </a:cubicBezTo>
                  <a:cubicBezTo>
                    <a:pt x="1280008" y="256839"/>
                    <a:pt x="1318710" y="280295"/>
                    <a:pt x="1335129" y="294368"/>
                  </a:cubicBezTo>
                  <a:cubicBezTo>
                    <a:pt x="1312846" y="303750"/>
                    <a:pt x="1263589" y="317823"/>
                    <a:pt x="1167421" y="321342"/>
                  </a:cubicBezTo>
                  <a:cubicBezTo>
                    <a:pt x="1056007" y="327206"/>
                    <a:pt x="915273" y="317823"/>
                    <a:pt x="772194" y="296713"/>
                  </a:cubicBezTo>
                  <a:cubicBezTo>
                    <a:pt x="627942" y="275603"/>
                    <a:pt x="490727" y="243938"/>
                    <a:pt x="386349" y="207582"/>
                  </a:cubicBezTo>
                  <a:cubicBezTo>
                    <a:pt x="296045" y="175917"/>
                    <a:pt x="251479" y="148943"/>
                    <a:pt x="233888" y="133697"/>
                  </a:cubicBezTo>
                  <a:cubicBezTo>
                    <a:pt x="253825" y="124315"/>
                    <a:pt x="297218" y="112587"/>
                    <a:pt x="378140" y="107896"/>
                  </a:cubicBezTo>
                  <a:cubicBezTo>
                    <a:pt x="385176" y="69194"/>
                    <a:pt x="396904" y="32838"/>
                    <a:pt x="413323" y="0"/>
                  </a:cubicBezTo>
                  <a:cubicBezTo>
                    <a:pt x="395731" y="0"/>
                    <a:pt x="378140" y="1173"/>
                    <a:pt x="361721" y="2346"/>
                  </a:cubicBezTo>
                  <a:cubicBezTo>
                    <a:pt x="263207" y="9382"/>
                    <a:pt x="13405" y="11728"/>
                    <a:pt x="504" y="100859"/>
                  </a:cubicBezTo>
                  <a:cubicBezTo>
                    <a:pt x="-12396" y="188818"/>
                    <a:pt x="225678" y="262703"/>
                    <a:pt x="317155" y="297886"/>
                  </a:cubicBezTo>
                  <a:cubicBezTo>
                    <a:pt x="433260" y="341279"/>
                    <a:pt x="588067" y="378808"/>
                    <a:pt x="755775" y="403436"/>
                  </a:cubicBezTo>
                  <a:cubicBezTo>
                    <a:pt x="923483" y="428065"/>
                    <a:pt x="1082981" y="436274"/>
                    <a:pt x="1206123" y="428065"/>
                  </a:cubicBezTo>
                  <a:cubicBezTo>
                    <a:pt x="1303464" y="421028"/>
                    <a:pt x="1553266" y="418683"/>
                    <a:pt x="1566166" y="330724"/>
                  </a:cubicBezTo>
                  <a:cubicBezTo>
                    <a:pt x="1580240" y="240420"/>
                    <a:pt x="1342165" y="167708"/>
                    <a:pt x="1250688" y="132524"/>
                  </a:cubicBezTo>
                  <a:close/>
                </a:path>
              </a:pathLst>
            </a:custGeom>
            <a:gradFill flip="none" rotWithShape="1">
              <a:gsLst>
                <a:gs pos="100000">
                  <a:schemeClr val="bg1">
                    <a:alpha val="50000"/>
                  </a:schemeClr>
                </a:gs>
                <a:gs pos="0">
                  <a:schemeClr val="bg1">
                    <a:alpha val="50000"/>
                  </a:schemeClr>
                </a:gs>
              </a:gsLst>
              <a:lin ang="16200000" scaled="1"/>
              <a:tileRect/>
            </a:gradFill>
            <a:ln w="11657" cap="flat">
              <a:noFill/>
              <a:prstDash val="solid"/>
              <a:miter/>
            </a:ln>
          </p:spPr>
          <p:txBody>
            <a:bodyPr rtlCol="0" anchor="ctr"/>
            <a:lstStyle/>
            <a:p>
              <a:endParaRPr lang="zh-CN" altLang="en-US"/>
            </a:p>
          </p:txBody>
        </p:sp>
        <p:sp>
          <p:nvSpPr>
            <p:cNvPr id="9879" name="任意多边形: 形状 9878">
              <a:extLst>
                <a:ext uri="{FF2B5EF4-FFF2-40B4-BE49-F238E27FC236}">
                  <a16:creationId xmlns:a16="http://schemas.microsoft.com/office/drawing/2014/main" id="{82EE4B6A-38F0-4737-A251-7E934E892BE9}"/>
                </a:ext>
              </a:extLst>
            </p:cNvPr>
            <p:cNvSpPr/>
            <p:nvPr/>
          </p:nvSpPr>
          <p:spPr>
            <a:xfrm>
              <a:off x="10186484" y="5552812"/>
              <a:ext cx="1559798" cy="363562"/>
            </a:xfrm>
            <a:custGeom>
              <a:avLst/>
              <a:gdLst>
                <a:gd name="connsiteX0" fmla="*/ 1548575 w 1559798"/>
                <a:gd name="connsiteY0" fmla="*/ 222828 h 363561"/>
                <a:gd name="connsiteX1" fmla="*/ 1548575 w 1559798"/>
                <a:gd name="connsiteY1" fmla="*/ 227519 h 363561"/>
                <a:gd name="connsiteX2" fmla="*/ 1200259 w 1559798"/>
                <a:gd name="connsiteY2" fmla="*/ 322515 h 363561"/>
                <a:gd name="connsiteX3" fmla="*/ 762812 w 1559798"/>
                <a:gd name="connsiteY3" fmla="*/ 299059 h 363561"/>
                <a:gd name="connsiteX4" fmla="*/ 337092 w 1559798"/>
                <a:gd name="connsiteY4" fmla="*/ 195854 h 363561"/>
                <a:gd name="connsiteX5" fmla="*/ 29824 w 1559798"/>
                <a:gd name="connsiteY5" fmla="*/ 4691 h 363561"/>
                <a:gd name="connsiteX6" fmla="*/ 30997 w 1559798"/>
                <a:gd name="connsiteY6" fmla="*/ 0 h 363561"/>
                <a:gd name="connsiteX7" fmla="*/ 504 w 1559798"/>
                <a:gd name="connsiteY7" fmla="*/ 42220 h 363561"/>
                <a:gd name="connsiteX8" fmla="*/ 317155 w 1559798"/>
                <a:gd name="connsiteY8" fmla="*/ 239247 h 363561"/>
                <a:gd name="connsiteX9" fmla="*/ 755775 w 1559798"/>
                <a:gd name="connsiteY9" fmla="*/ 344797 h 363561"/>
                <a:gd name="connsiteX10" fmla="*/ 1206123 w 1559798"/>
                <a:gd name="connsiteY10" fmla="*/ 369426 h 363561"/>
                <a:gd name="connsiteX11" fmla="*/ 1566167 w 1559798"/>
                <a:gd name="connsiteY11" fmla="*/ 272085 h 363561"/>
                <a:gd name="connsiteX12" fmla="*/ 1548575 w 1559798"/>
                <a:gd name="connsiteY12" fmla="*/ 222828 h 36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9798" h="363561">
                  <a:moveTo>
                    <a:pt x="1548575" y="222828"/>
                  </a:moveTo>
                  <a:cubicBezTo>
                    <a:pt x="1548575" y="224001"/>
                    <a:pt x="1548575" y="225174"/>
                    <a:pt x="1548575" y="227519"/>
                  </a:cubicBezTo>
                  <a:cubicBezTo>
                    <a:pt x="1535674" y="313132"/>
                    <a:pt x="1295254" y="315478"/>
                    <a:pt x="1200259" y="322515"/>
                  </a:cubicBezTo>
                  <a:cubicBezTo>
                    <a:pt x="1080635" y="330724"/>
                    <a:pt x="925828" y="322515"/>
                    <a:pt x="762812" y="299059"/>
                  </a:cubicBezTo>
                  <a:cubicBezTo>
                    <a:pt x="600968" y="275603"/>
                    <a:pt x="449679" y="239247"/>
                    <a:pt x="337092" y="195854"/>
                  </a:cubicBezTo>
                  <a:cubicBezTo>
                    <a:pt x="247961" y="161844"/>
                    <a:pt x="18096" y="90304"/>
                    <a:pt x="29824" y="4691"/>
                  </a:cubicBezTo>
                  <a:cubicBezTo>
                    <a:pt x="29824" y="3518"/>
                    <a:pt x="30997" y="2346"/>
                    <a:pt x="30997" y="0"/>
                  </a:cubicBezTo>
                  <a:cubicBezTo>
                    <a:pt x="14578" y="11728"/>
                    <a:pt x="2850" y="24628"/>
                    <a:pt x="504" y="42220"/>
                  </a:cubicBezTo>
                  <a:cubicBezTo>
                    <a:pt x="-12396" y="130179"/>
                    <a:pt x="225678" y="204064"/>
                    <a:pt x="317155" y="239247"/>
                  </a:cubicBezTo>
                  <a:cubicBezTo>
                    <a:pt x="433260" y="282640"/>
                    <a:pt x="588067" y="320169"/>
                    <a:pt x="755775" y="344797"/>
                  </a:cubicBezTo>
                  <a:cubicBezTo>
                    <a:pt x="923483" y="369426"/>
                    <a:pt x="1082981" y="377635"/>
                    <a:pt x="1206123" y="369426"/>
                  </a:cubicBezTo>
                  <a:cubicBezTo>
                    <a:pt x="1303464" y="362389"/>
                    <a:pt x="1553266" y="360044"/>
                    <a:pt x="1566167" y="272085"/>
                  </a:cubicBezTo>
                  <a:cubicBezTo>
                    <a:pt x="1568512" y="254493"/>
                    <a:pt x="1561475" y="238074"/>
                    <a:pt x="1548575" y="222828"/>
                  </a:cubicBezTo>
                  <a:close/>
                </a:path>
              </a:pathLst>
            </a:custGeom>
            <a:gradFill>
              <a:gsLst>
                <a:gs pos="100000">
                  <a:schemeClr val="bg1">
                    <a:alpha val="50000"/>
                  </a:schemeClr>
                </a:gs>
                <a:gs pos="0">
                  <a:schemeClr val="bg1">
                    <a:alpha val="50000"/>
                  </a:schemeClr>
                </a:gs>
              </a:gsLst>
              <a:lin ang="16200000" scaled="1"/>
            </a:gradFill>
            <a:ln w="11657" cap="flat">
              <a:noFill/>
              <a:prstDash val="solid"/>
              <a:miter/>
            </a:ln>
          </p:spPr>
          <p:txBody>
            <a:bodyPr rtlCol="0" anchor="ctr"/>
            <a:lstStyle/>
            <a:p>
              <a:endParaRPr lang="zh-CN" altLang="en-US"/>
            </a:p>
          </p:txBody>
        </p:sp>
      </p:grpSp>
      <p:sp>
        <p:nvSpPr>
          <p:cNvPr id="124" name="任意多边形: 形状 123">
            <a:extLst>
              <a:ext uri="{FF2B5EF4-FFF2-40B4-BE49-F238E27FC236}">
                <a16:creationId xmlns:a16="http://schemas.microsoft.com/office/drawing/2014/main" id="{B0EF84F9-4A4E-43DF-852E-313A60F38CDD}"/>
              </a:ext>
            </a:extLst>
          </p:cNvPr>
          <p:cNvSpPr/>
          <p:nvPr userDrawn="1"/>
        </p:nvSpPr>
        <p:spPr>
          <a:xfrm>
            <a:off x="7090192" y="3093283"/>
            <a:ext cx="124372" cy="124371"/>
          </a:xfrm>
          <a:custGeom>
            <a:avLst/>
            <a:gdLst>
              <a:gd name="connsiteX0" fmla="*/ 82153 w 85725"/>
              <a:gd name="connsiteY0" fmla="*/ 37386 h 85725"/>
              <a:gd name="connsiteX1" fmla="*/ 68818 w 85725"/>
              <a:gd name="connsiteY1" fmla="*/ 35481 h 85725"/>
              <a:gd name="connsiteX2" fmla="*/ 51673 w 85725"/>
              <a:gd name="connsiteY2" fmla="*/ 18336 h 85725"/>
              <a:gd name="connsiteX3" fmla="*/ 49768 w 85725"/>
              <a:gd name="connsiteY3" fmla="*/ 5001 h 85725"/>
              <a:gd name="connsiteX4" fmla="*/ 37386 w 85725"/>
              <a:gd name="connsiteY4" fmla="*/ 5001 h 85725"/>
              <a:gd name="connsiteX5" fmla="*/ 35481 w 85725"/>
              <a:gd name="connsiteY5" fmla="*/ 18336 h 85725"/>
              <a:gd name="connsiteX6" fmla="*/ 18336 w 85725"/>
              <a:gd name="connsiteY6" fmla="*/ 35481 h 85725"/>
              <a:gd name="connsiteX7" fmla="*/ 5001 w 85725"/>
              <a:gd name="connsiteY7" fmla="*/ 37386 h 85725"/>
              <a:gd name="connsiteX8" fmla="*/ 5001 w 85725"/>
              <a:gd name="connsiteY8" fmla="*/ 49768 h 85725"/>
              <a:gd name="connsiteX9" fmla="*/ 18336 w 85725"/>
              <a:gd name="connsiteY9" fmla="*/ 51673 h 85725"/>
              <a:gd name="connsiteX10" fmla="*/ 35481 w 85725"/>
              <a:gd name="connsiteY10" fmla="*/ 68818 h 85725"/>
              <a:gd name="connsiteX11" fmla="*/ 37386 w 85725"/>
              <a:gd name="connsiteY11" fmla="*/ 82153 h 85725"/>
              <a:gd name="connsiteX12" fmla="*/ 49768 w 85725"/>
              <a:gd name="connsiteY12" fmla="*/ 82153 h 85725"/>
              <a:gd name="connsiteX13" fmla="*/ 51673 w 85725"/>
              <a:gd name="connsiteY13" fmla="*/ 68818 h 85725"/>
              <a:gd name="connsiteX14" fmla="*/ 68818 w 85725"/>
              <a:gd name="connsiteY14" fmla="*/ 51673 h 85725"/>
              <a:gd name="connsiteX15" fmla="*/ 82153 w 85725"/>
              <a:gd name="connsiteY15" fmla="*/ 49768 h 85725"/>
              <a:gd name="connsiteX16" fmla="*/ 82153 w 85725"/>
              <a:gd name="connsiteY16" fmla="*/ 3738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725" h="85725">
                <a:moveTo>
                  <a:pt x="82153" y="37386"/>
                </a:moveTo>
                <a:lnTo>
                  <a:pt x="68818" y="35481"/>
                </a:lnTo>
                <a:cubicBezTo>
                  <a:pt x="60246" y="34528"/>
                  <a:pt x="52626" y="26908"/>
                  <a:pt x="51673" y="18336"/>
                </a:cubicBezTo>
                <a:lnTo>
                  <a:pt x="49768" y="5001"/>
                </a:lnTo>
                <a:cubicBezTo>
                  <a:pt x="48816" y="-1667"/>
                  <a:pt x="38338" y="-1667"/>
                  <a:pt x="37386" y="5001"/>
                </a:cubicBezTo>
                <a:lnTo>
                  <a:pt x="35481" y="18336"/>
                </a:lnTo>
                <a:cubicBezTo>
                  <a:pt x="34528" y="26908"/>
                  <a:pt x="26908" y="34528"/>
                  <a:pt x="18336" y="35481"/>
                </a:cubicBezTo>
                <a:lnTo>
                  <a:pt x="5001" y="37386"/>
                </a:lnTo>
                <a:cubicBezTo>
                  <a:pt x="-1667" y="38338"/>
                  <a:pt x="-1667" y="48816"/>
                  <a:pt x="5001" y="49768"/>
                </a:cubicBezTo>
                <a:lnTo>
                  <a:pt x="18336" y="51673"/>
                </a:lnTo>
                <a:cubicBezTo>
                  <a:pt x="26908" y="52626"/>
                  <a:pt x="34528" y="60246"/>
                  <a:pt x="35481" y="68818"/>
                </a:cubicBezTo>
                <a:lnTo>
                  <a:pt x="37386" y="82153"/>
                </a:lnTo>
                <a:cubicBezTo>
                  <a:pt x="38338" y="88821"/>
                  <a:pt x="48816" y="88821"/>
                  <a:pt x="49768" y="82153"/>
                </a:cubicBezTo>
                <a:lnTo>
                  <a:pt x="51673" y="68818"/>
                </a:lnTo>
                <a:cubicBezTo>
                  <a:pt x="52626" y="60246"/>
                  <a:pt x="60246" y="52626"/>
                  <a:pt x="68818" y="51673"/>
                </a:cubicBezTo>
                <a:lnTo>
                  <a:pt x="82153" y="49768"/>
                </a:lnTo>
                <a:cubicBezTo>
                  <a:pt x="88821" y="48816"/>
                  <a:pt x="88821" y="38338"/>
                  <a:pt x="82153" y="37386"/>
                </a:cubicBezTo>
                <a:close/>
              </a:path>
            </a:pathLst>
          </a:custGeom>
          <a:solidFill>
            <a:schemeClr val="accent2">
              <a:lumMod val="60000"/>
              <a:lumOff val="40000"/>
            </a:schemeClr>
          </a:solidFill>
          <a:ln w="9525" cap="flat">
            <a:noFill/>
            <a:prstDash val="solid"/>
            <a:miter/>
          </a:ln>
        </p:spPr>
        <p:txBody>
          <a:bodyPr rtlCol="0" anchor="ctr"/>
          <a:lstStyle/>
          <a:p>
            <a:endParaRPr lang="zh-CN" altLang="en-US"/>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3035741" y="2657929"/>
            <a:ext cx="4164483" cy="895350"/>
          </a:xfrm>
        </p:spPr>
        <p:txBody>
          <a:bodyPr anchor="b">
            <a:normAutofit/>
          </a:bodyPr>
          <a:lstStyle>
            <a:lvl1pPr algn="l">
              <a:defRPr sz="2400" b="1" i="1">
                <a:solidFill>
                  <a:schemeClr val="accent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3036857" y="3553279"/>
            <a:ext cx="4164483" cy="1015623"/>
          </a:xfrm>
        </p:spPr>
        <p:txBody>
          <a:bodyPr anchor="t">
            <a:normAutofit/>
          </a:bodyPr>
          <a:lstStyle>
            <a:lvl1pPr marL="0" indent="0" algn="l">
              <a:lnSpc>
                <a:spcPct val="150000"/>
              </a:lnSpc>
              <a:spcBef>
                <a:spcPts val="0"/>
              </a:spcBef>
              <a:buNone/>
              <a:defRPr sz="1100" i="1">
                <a:solidFill>
                  <a:schemeClr val="accent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grpSp>
        <p:nvGrpSpPr>
          <p:cNvPr id="70" name="组合 69">
            <a:extLst>
              <a:ext uri="{FF2B5EF4-FFF2-40B4-BE49-F238E27FC236}">
                <a16:creationId xmlns:a16="http://schemas.microsoft.com/office/drawing/2014/main" id="{4E242ADF-EF25-4487-8162-7DC6F4A3DCBE}"/>
              </a:ext>
            </a:extLst>
          </p:cNvPr>
          <p:cNvGrpSpPr/>
          <p:nvPr userDrawn="1"/>
        </p:nvGrpSpPr>
        <p:grpSpPr>
          <a:xfrm>
            <a:off x="7340600" y="2263173"/>
            <a:ext cx="3982106" cy="2300993"/>
            <a:chOff x="7340600" y="2263173"/>
            <a:chExt cx="3982106" cy="2300993"/>
          </a:xfrm>
        </p:grpSpPr>
        <p:sp>
          <p:nvSpPr>
            <p:cNvPr id="30" name="任意多边形: 形状 29">
              <a:extLst>
                <a:ext uri="{FF2B5EF4-FFF2-40B4-BE49-F238E27FC236}">
                  <a16:creationId xmlns:a16="http://schemas.microsoft.com/office/drawing/2014/main" id="{CB308542-4C9B-4C46-BBF5-40FE90C79680}"/>
                </a:ext>
              </a:extLst>
            </p:cNvPr>
            <p:cNvSpPr/>
            <p:nvPr userDrawn="1"/>
          </p:nvSpPr>
          <p:spPr>
            <a:xfrm>
              <a:off x="10222506" y="2594979"/>
              <a:ext cx="170554" cy="170554"/>
            </a:xfrm>
            <a:custGeom>
              <a:avLst/>
              <a:gdLst>
                <a:gd name="connsiteX0" fmla="*/ 6429 w 104775"/>
                <a:gd name="connsiteY0" fmla="*/ 63579 h 104775"/>
                <a:gd name="connsiteX1" fmla="*/ 23574 w 104775"/>
                <a:gd name="connsiteY1" fmla="*/ 66437 h 104775"/>
                <a:gd name="connsiteX2" fmla="*/ 45482 w 104775"/>
                <a:gd name="connsiteY2" fmla="*/ 88344 h 104775"/>
                <a:gd name="connsiteX3" fmla="*/ 48339 w 104775"/>
                <a:gd name="connsiteY3" fmla="*/ 105489 h 104775"/>
                <a:gd name="connsiteX4" fmla="*/ 63579 w 104775"/>
                <a:gd name="connsiteY4" fmla="*/ 105489 h 104775"/>
                <a:gd name="connsiteX5" fmla="*/ 66437 w 104775"/>
                <a:gd name="connsiteY5" fmla="*/ 88344 h 104775"/>
                <a:gd name="connsiteX6" fmla="*/ 88344 w 104775"/>
                <a:gd name="connsiteY6" fmla="*/ 66437 h 104775"/>
                <a:gd name="connsiteX7" fmla="*/ 105489 w 104775"/>
                <a:gd name="connsiteY7" fmla="*/ 63579 h 104775"/>
                <a:gd name="connsiteX8" fmla="*/ 105489 w 104775"/>
                <a:gd name="connsiteY8" fmla="*/ 48339 h 104775"/>
                <a:gd name="connsiteX9" fmla="*/ 88344 w 104775"/>
                <a:gd name="connsiteY9" fmla="*/ 45482 h 104775"/>
                <a:gd name="connsiteX10" fmla="*/ 66437 w 104775"/>
                <a:gd name="connsiteY10" fmla="*/ 23574 h 104775"/>
                <a:gd name="connsiteX11" fmla="*/ 63579 w 104775"/>
                <a:gd name="connsiteY11" fmla="*/ 6429 h 104775"/>
                <a:gd name="connsiteX12" fmla="*/ 48339 w 104775"/>
                <a:gd name="connsiteY12" fmla="*/ 6429 h 104775"/>
                <a:gd name="connsiteX13" fmla="*/ 45482 w 104775"/>
                <a:gd name="connsiteY13" fmla="*/ 23574 h 104775"/>
                <a:gd name="connsiteX14" fmla="*/ 23574 w 104775"/>
                <a:gd name="connsiteY14" fmla="*/ 45482 h 104775"/>
                <a:gd name="connsiteX15" fmla="*/ 6429 w 104775"/>
                <a:gd name="connsiteY15" fmla="*/ 48339 h 104775"/>
                <a:gd name="connsiteX16" fmla="*/ 6429 w 104775"/>
                <a:gd name="connsiteY16" fmla="*/ 6357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6429" y="63579"/>
                  </a:move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4062" y="62627"/>
                    <a:pt x="114062" y="49292"/>
                    <a:pt x="105489" y="48339"/>
                  </a:cubicBezTo>
                  <a:lnTo>
                    <a:pt x="88344" y="45482"/>
                  </a:lnTo>
                  <a:cubicBezTo>
                    <a:pt x="76914" y="43577"/>
                    <a:pt x="68342" y="35004"/>
                    <a:pt x="66437" y="23574"/>
                  </a:cubicBezTo>
                  <a:lnTo>
                    <a:pt x="63579" y="6429"/>
                  </a:lnTo>
                  <a:cubicBezTo>
                    <a:pt x="62627" y="-2143"/>
                    <a:pt x="49292" y="-2143"/>
                    <a:pt x="48339" y="6429"/>
                  </a:cubicBezTo>
                  <a:lnTo>
                    <a:pt x="45482" y="23574"/>
                  </a:lnTo>
                  <a:cubicBezTo>
                    <a:pt x="43577" y="35004"/>
                    <a:pt x="35004" y="43577"/>
                    <a:pt x="23574" y="45482"/>
                  </a:cubicBezTo>
                  <a:lnTo>
                    <a:pt x="6429" y="48339"/>
                  </a:lnTo>
                  <a:cubicBezTo>
                    <a:pt x="-2143" y="50244"/>
                    <a:pt x="-2143" y="62627"/>
                    <a:pt x="6429" y="63579"/>
                  </a:cubicBezTo>
                  <a:close/>
                </a:path>
              </a:pathLst>
            </a:custGeom>
            <a:solidFill>
              <a:schemeClr val="bg2">
                <a:lumMod val="90000"/>
              </a:schemeClr>
            </a:solidFill>
            <a:ln w="9525" cap="flat">
              <a:noFill/>
              <a:prstDash val="solid"/>
              <a:miter/>
            </a:ln>
            <a:effectLst/>
          </p:spPr>
          <p:txBody>
            <a:bodyPr rtlCol="0" anchor="ctr"/>
            <a:lstStyle/>
            <a:p>
              <a:endParaRPr lang="zh-CN" altLang="en-US"/>
            </a:p>
          </p:txBody>
        </p:sp>
        <p:sp>
          <p:nvSpPr>
            <p:cNvPr id="31" name="任意多边形: 形状 30">
              <a:extLst>
                <a:ext uri="{FF2B5EF4-FFF2-40B4-BE49-F238E27FC236}">
                  <a16:creationId xmlns:a16="http://schemas.microsoft.com/office/drawing/2014/main" id="{030D9A9F-CDE1-4636-8585-B6D4368D7DA5}"/>
                </a:ext>
              </a:extLst>
            </p:cNvPr>
            <p:cNvSpPr/>
            <p:nvPr userDrawn="1"/>
          </p:nvSpPr>
          <p:spPr>
            <a:xfrm>
              <a:off x="9842158" y="4393612"/>
              <a:ext cx="170554" cy="170554"/>
            </a:xfrm>
            <a:custGeom>
              <a:avLst/>
              <a:gdLst>
                <a:gd name="connsiteX0" fmla="*/ 104537 w 104775"/>
                <a:gd name="connsiteY0" fmla="*/ 48339 h 104775"/>
                <a:gd name="connsiteX1" fmla="*/ 87392 w 104775"/>
                <a:gd name="connsiteY1" fmla="*/ 45482 h 104775"/>
                <a:gd name="connsiteX2" fmla="*/ 65484 w 104775"/>
                <a:gd name="connsiteY2" fmla="*/ 23574 h 104775"/>
                <a:gd name="connsiteX3" fmla="*/ 62627 w 104775"/>
                <a:gd name="connsiteY3" fmla="*/ 6429 h 104775"/>
                <a:gd name="connsiteX4" fmla="*/ 47387 w 104775"/>
                <a:gd name="connsiteY4" fmla="*/ 6429 h 104775"/>
                <a:gd name="connsiteX5" fmla="*/ 44529 w 104775"/>
                <a:gd name="connsiteY5" fmla="*/ 23574 h 104775"/>
                <a:gd name="connsiteX6" fmla="*/ 22622 w 104775"/>
                <a:gd name="connsiteY6" fmla="*/ 45482 h 104775"/>
                <a:gd name="connsiteX7" fmla="*/ 6429 w 104775"/>
                <a:gd name="connsiteY7" fmla="*/ 48339 h 104775"/>
                <a:gd name="connsiteX8" fmla="*/ 6429 w 104775"/>
                <a:gd name="connsiteY8" fmla="*/ 63579 h 104775"/>
                <a:gd name="connsiteX9" fmla="*/ 23574 w 104775"/>
                <a:gd name="connsiteY9" fmla="*/ 66437 h 104775"/>
                <a:gd name="connsiteX10" fmla="*/ 45482 w 104775"/>
                <a:gd name="connsiteY10" fmla="*/ 88344 h 104775"/>
                <a:gd name="connsiteX11" fmla="*/ 48339 w 104775"/>
                <a:gd name="connsiteY11" fmla="*/ 105489 h 104775"/>
                <a:gd name="connsiteX12" fmla="*/ 63579 w 104775"/>
                <a:gd name="connsiteY12" fmla="*/ 105489 h 104775"/>
                <a:gd name="connsiteX13" fmla="*/ 66437 w 104775"/>
                <a:gd name="connsiteY13" fmla="*/ 88344 h 104775"/>
                <a:gd name="connsiteX14" fmla="*/ 88344 w 104775"/>
                <a:gd name="connsiteY14" fmla="*/ 66437 h 104775"/>
                <a:gd name="connsiteX15" fmla="*/ 105489 w 104775"/>
                <a:gd name="connsiteY15" fmla="*/ 63579 h 104775"/>
                <a:gd name="connsiteX16" fmla="*/ 104537 w 104775"/>
                <a:gd name="connsiteY16" fmla="*/ 4833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104537" y="48339"/>
                  </a:moveTo>
                  <a:lnTo>
                    <a:pt x="87392" y="45482"/>
                  </a:lnTo>
                  <a:cubicBezTo>
                    <a:pt x="75962" y="43577"/>
                    <a:pt x="67389" y="35004"/>
                    <a:pt x="65484" y="23574"/>
                  </a:cubicBezTo>
                  <a:lnTo>
                    <a:pt x="62627" y="6429"/>
                  </a:lnTo>
                  <a:cubicBezTo>
                    <a:pt x="61674" y="-2143"/>
                    <a:pt x="48339" y="-2143"/>
                    <a:pt x="47387" y="6429"/>
                  </a:cubicBezTo>
                  <a:lnTo>
                    <a:pt x="44529" y="23574"/>
                  </a:lnTo>
                  <a:cubicBezTo>
                    <a:pt x="42624" y="35004"/>
                    <a:pt x="34052" y="43577"/>
                    <a:pt x="22622" y="45482"/>
                  </a:cubicBezTo>
                  <a:lnTo>
                    <a:pt x="6429" y="48339"/>
                  </a:lnTo>
                  <a:cubicBezTo>
                    <a:pt x="-2143" y="49292"/>
                    <a:pt x="-2143" y="62627"/>
                    <a:pt x="6429" y="63579"/>
                  </a:cubicBez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3109" y="62627"/>
                    <a:pt x="113109" y="50244"/>
                    <a:pt x="104537" y="48339"/>
                  </a:cubicBezTo>
                  <a:close/>
                </a:path>
              </a:pathLst>
            </a:custGeom>
            <a:solidFill>
              <a:schemeClr val="bg2">
                <a:lumMod val="90000"/>
              </a:schemeClr>
            </a:solidFill>
            <a:ln w="9525" cap="flat">
              <a:noFill/>
              <a:prstDash val="solid"/>
              <a:miter/>
            </a:ln>
            <a:effectLst/>
          </p:spPr>
          <p:txBody>
            <a:bodyPr rtlCol="0" anchor="ctr"/>
            <a:lstStyle/>
            <a:p>
              <a:endParaRPr lang="zh-CN" altLang="en-US"/>
            </a:p>
          </p:txBody>
        </p:sp>
        <p:sp>
          <p:nvSpPr>
            <p:cNvPr id="32" name="任意多边形: 形状 31">
              <a:extLst>
                <a:ext uri="{FF2B5EF4-FFF2-40B4-BE49-F238E27FC236}">
                  <a16:creationId xmlns:a16="http://schemas.microsoft.com/office/drawing/2014/main" id="{600DE487-C816-440B-850E-A9BB35753539}"/>
                </a:ext>
              </a:extLst>
            </p:cNvPr>
            <p:cNvSpPr/>
            <p:nvPr userDrawn="1"/>
          </p:nvSpPr>
          <p:spPr>
            <a:xfrm>
              <a:off x="9803396" y="3313645"/>
              <a:ext cx="77524" cy="77524"/>
            </a:xfrm>
            <a:custGeom>
              <a:avLst/>
              <a:gdLst>
                <a:gd name="connsiteX0" fmla="*/ 48577 w 47625"/>
                <a:gd name="connsiteY0" fmla="*/ 21908 h 47625"/>
                <a:gd name="connsiteX1" fmla="*/ 40958 w 47625"/>
                <a:gd name="connsiteY1" fmla="*/ 20955 h 47625"/>
                <a:gd name="connsiteX2" fmla="*/ 30480 w 47625"/>
                <a:gd name="connsiteY2" fmla="*/ 10478 h 47625"/>
                <a:gd name="connsiteX3" fmla="*/ 29527 w 47625"/>
                <a:gd name="connsiteY3" fmla="*/ 2858 h 47625"/>
                <a:gd name="connsiteX4" fmla="*/ 21908 w 47625"/>
                <a:gd name="connsiteY4" fmla="*/ 2858 h 47625"/>
                <a:gd name="connsiteX5" fmla="*/ 20955 w 47625"/>
                <a:gd name="connsiteY5" fmla="*/ 10478 h 47625"/>
                <a:gd name="connsiteX6" fmla="*/ 10477 w 47625"/>
                <a:gd name="connsiteY6" fmla="*/ 20955 h 47625"/>
                <a:gd name="connsiteX7" fmla="*/ 2858 w 47625"/>
                <a:gd name="connsiteY7" fmla="*/ 21908 h 47625"/>
                <a:gd name="connsiteX8" fmla="*/ 2858 w 47625"/>
                <a:gd name="connsiteY8" fmla="*/ 29528 h 47625"/>
                <a:gd name="connsiteX9" fmla="*/ 10477 w 47625"/>
                <a:gd name="connsiteY9" fmla="*/ 30480 h 47625"/>
                <a:gd name="connsiteX10" fmla="*/ 20955 w 47625"/>
                <a:gd name="connsiteY10" fmla="*/ 40958 h 47625"/>
                <a:gd name="connsiteX11" fmla="*/ 21908 w 47625"/>
                <a:gd name="connsiteY11" fmla="*/ 48578 h 47625"/>
                <a:gd name="connsiteX12" fmla="*/ 29527 w 47625"/>
                <a:gd name="connsiteY12" fmla="*/ 48578 h 47625"/>
                <a:gd name="connsiteX13" fmla="*/ 30480 w 47625"/>
                <a:gd name="connsiteY13" fmla="*/ 40958 h 47625"/>
                <a:gd name="connsiteX14" fmla="*/ 40958 w 47625"/>
                <a:gd name="connsiteY14" fmla="*/ 30480 h 47625"/>
                <a:gd name="connsiteX15" fmla="*/ 48577 w 47625"/>
                <a:gd name="connsiteY15" fmla="*/ 29528 h 47625"/>
                <a:gd name="connsiteX16" fmla="*/ 48577 w 47625"/>
                <a:gd name="connsiteY16" fmla="*/ 219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7" y="21908"/>
                  </a:moveTo>
                  <a:lnTo>
                    <a:pt x="40958" y="20955"/>
                  </a:lnTo>
                  <a:cubicBezTo>
                    <a:pt x="36195" y="20003"/>
                    <a:pt x="31433" y="16193"/>
                    <a:pt x="30480" y="10478"/>
                  </a:cubicBezTo>
                  <a:lnTo>
                    <a:pt x="29527" y="2858"/>
                  </a:lnTo>
                  <a:cubicBezTo>
                    <a:pt x="28575" y="-953"/>
                    <a:pt x="22860" y="-953"/>
                    <a:pt x="21908" y="2858"/>
                  </a:cubicBezTo>
                  <a:lnTo>
                    <a:pt x="20955" y="10478"/>
                  </a:lnTo>
                  <a:cubicBezTo>
                    <a:pt x="20002" y="15240"/>
                    <a:pt x="16193" y="20003"/>
                    <a:pt x="10477" y="20955"/>
                  </a:cubicBezTo>
                  <a:lnTo>
                    <a:pt x="2858" y="21908"/>
                  </a:lnTo>
                  <a:cubicBezTo>
                    <a:pt x="-953" y="22860"/>
                    <a:pt x="-953" y="28575"/>
                    <a:pt x="2858" y="29528"/>
                  </a:cubicBezTo>
                  <a:lnTo>
                    <a:pt x="10477" y="30480"/>
                  </a:lnTo>
                  <a:cubicBezTo>
                    <a:pt x="15240" y="31433"/>
                    <a:pt x="20002" y="35243"/>
                    <a:pt x="20955" y="40958"/>
                  </a:cubicBezTo>
                  <a:lnTo>
                    <a:pt x="21908" y="48578"/>
                  </a:lnTo>
                  <a:cubicBezTo>
                    <a:pt x="22860" y="52387"/>
                    <a:pt x="28575" y="52387"/>
                    <a:pt x="29527" y="48578"/>
                  </a:cubicBezTo>
                  <a:lnTo>
                    <a:pt x="30480" y="40958"/>
                  </a:lnTo>
                  <a:cubicBezTo>
                    <a:pt x="31433" y="36195"/>
                    <a:pt x="35243" y="31433"/>
                    <a:pt x="40958" y="30480"/>
                  </a:cubicBezTo>
                  <a:lnTo>
                    <a:pt x="48577" y="29528"/>
                  </a:lnTo>
                  <a:cubicBezTo>
                    <a:pt x="52388" y="28575"/>
                    <a:pt x="52388" y="22860"/>
                    <a:pt x="48577" y="21908"/>
                  </a:cubicBezTo>
                  <a:close/>
                </a:path>
              </a:pathLst>
            </a:custGeom>
            <a:solidFill>
              <a:schemeClr val="bg2">
                <a:lumMod val="90000"/>
              </a:schemeClr>
            </a:solidFill>
            <a:ln w="9525" cap="flat">
              <a:noFill/>
              <a:prstDash val="solid"/>
              <a:miter/>
            </a:ln>
            <a:effectLst/>
          </p:spPr>
          <p:txBody>
            <a:bodyPr rtlCol="0" anchor="ctr"/>
            <a:lstStyle/>
            <a:p>
              <a:endParaRPr lang="zh-CN" altLang="en-US"/>
            </a:p>
          </p:txBody>
        </p:sp>
        <p:sp>
          <p:nvSpPr>
            <p:cNvPr id="35" name="任意多边形: 形状 34">
              <a:extLst>
                <a:ext uri="{FF2B5EF4-FFF2-40B4-BE49-F238E27FC236}">
                  <a16:creationId xmlns:a16="http://schemas.microsoft.com/office/drawing/2014/main" id="{4E4F9B98-4F95-48F8-863A-E5DC93218693}"/>
                </a:ext>
              </a:extLst>
            </p:cNvPr>
            <p:cNvSpPr/>
            <p:nvPr/>
          </p:nvSpPr>
          <p:spPr>
            <a:xfrm>
              <a:off x="8762266" y="2263173"/>
              <a:ext cx="917479" cy="917479"/>
            </a:xfrm>
            <a:custGeom>
              <a:avLst/>
              <a:gdLst>
                <a:gd name="connsiteX0" fmla="*/ 598170 w 590550"/>
                <a:gd name="connsiteY0" fmla="*/ 299085 h 590550"/>
                <a:gd name="connsiteX1" fmla="*/ 299085 w 590550"/>
                <a:gd name="connsiteY1" fmla="*/ 598170 h 590550"/>
                <a:gd name="connsiteX2" fmla="*/ 0 w 590550"/>
                <a:gd name="connsiteY2" fmla="*/ 299085 h 590550"/>
                <a:gd name="connsiteX3" fmla="*/ 299085 w 590550"/>
                <a:gd name="connsiteY3" fmla="*/ 0 h 590550"/>
                <a:gd name="connsiteX4" fmla="*/ 598170 w 590550"/>
                <a:gd name="connsiteY4" fmla="*/ 299085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 h="590550">
                  <a:moveTo>
                    <a:pt x="598170" y="299085"/>
                  </a:moveTo>
                  <a:cubicBezTo>
                    <a:pt x="598170" y="464265"/>
                    <a:pt x="464265" y="598170"/>
                    <a:pt x="299085" y="598170"/>
                  </a:cubicBezTo>
                  <a:cubicBezTo>
                    <a:pt x="133905" y="598170"/>
                    <a:pt x="0" y="464265"/>
                    <a:pt x="0" y="299085"/>
                  </a:cubicBezTo>
                  <a:cubicBezTo>
                    <a:pt x="0" y="133905"/>
                    <a:pt x="133905" y="0"/>
                    <a:pt x="299085" y="0"/>
                  </a:cubicBezTo>
                  <a:cubicBezTo>
                    <a:pt x="464265" y="0"/>
                    <a:pt x="598170" y="133905"/>
                    <a:pt x="598170" y="299085"/>
                  </a:cubicBezTo>
                  <a:close/>
                </a:path>
              </a:pathLst>
            </a:custGeom>
            <a:solidFill>
              <a:schemeClr val="tx2">
                <a:lumMod val="20000"/>
                <a:lumOff val="80000"/>
              </a:schemeClr>
            </a:solidFill>
            <a:ln w="9525" cap="flat">
              <a:noFill/>
              <a:prstDash val="solid"/>
              <a:miter/>
            </a:ln>
          </p:spPr>
          <p:txBody>
            <a:bodyPr rtlCol="0" anchor="ctr"/>
            <a:lstStyle/>
            <a:p>
              <a:endParaRPr lang="zh-CN" altLang="en-US"/>
            </a:p>
          </p:txBody>
        </p:sp>
        <p:sp>
          <p:nvSpPr>
            <p:cNvPr id="36" name="任意多边形: 形状 35">
              <a:extLst>
                <a:ext uri="{FF2B5EF4-FFF2-40B4-BE49-F238E27FC236}">
                  <a16:creationId xmlns:a16="http://schemas.microsoft.com/office/drawing/2014/main" id="{E16F905D-51BD-482F-A502-04B6377495B4}"/>
                </a:ext>
              </a:extLst>
            </p:cNvPr>
            <p:cNvSpPr/>
            <p:nvPr/>
          </p:nvSpPr>
          <p:spPr>
            <a:xfrm>
              <a:off x="8762266" y="2331243"/>
              <a:ext cx="927838" cy="861246"/>
            </a:xfrm>
            <a:custGeom>
              <a:avLst/>
              <a:gdLst>
                <a:gd name="connsiteX0" fmla="*/ 156949 w 826956"/>
                <a:gd name="connsiteY0" fmla="*/ 679237 h 767604"/>
                <a:gd name="connsiteX1" fmla="*/ 648902 w 826956"/>
                <a:gd name="connsiteY1" fmla="*/ 693746 h 767604"/>
                <a:gd name="connsiteX2" fmla="*/ 412817 w 826956"/>
                <a:gd name="connsiteY2" fmla="*/ 767604 h 767604"/>
                <a:gd name="connsiteX3" fmla="*/ 156949 w 826956"/>
                <a:gd name="connsiteY3" fmla="*/ 679237 h 767604"/>
                <a:gd name="connsiteX4" fmla="*/ 52756 w 826956"/>
                <a:gd name="connsiteY4" fmla="*/ 555261 h 767604"/>
                <a:gd name="connsiteX5" fmla="*/ 772879 w 826956"/>
                <a:gd name="connsiteY5" fmla="*/ 560537 h 767604"/>
                <a:gd name="connsiteX6" fmla="*/ 742545 w 826956"/>
                <a:gd name="connsiteY6" fmla="*/ 605379 h 767604"/>
                <a:gd name="connsiteX7" fmla="*/ 85729 w 826956"/>
                <a:gd name="connsiteY7" fmla="*/ 605379 h 767604"/>
                <a:gd name="connsiteX8" fmla="*/ 52756 w 826956"/>
                <a:gd name="connsiteY8" fmla="*/ 555261 h 767604"/>
                <a:gd name="connsiteX9" fmla="*/ 826955 w 826956"/>
                <a:gd name="connsiteY9" fmla="*/ 365337 h 767604"/>
                <a:gd name="connsiteX10" fmla="*/ 803214 w 826956"/>
                <a:gd name="connsiteY10" fmla="*/ 493272 h 767604"/>
                <a:gd name="connsiteX11" fmla="*/ 11869 w 826956"/>
                <a:gd name="connsiteY11" fmla="*/ 455023 h 767604"/>
                <a:gd name="connsiteX12" fmla="*/ 3956 w 826956"/>
                <a:gd name="connsiteY12" fmla="*/ 416775 h 767604"/>
                <a:gd name="connsiteX13" fmla="*/ 6595 w 826956"/>
                <a:gd name="connsiteY13" fmla="*/ 280926 h 767604"/>
                <a:gd name="connsiteX14" fmla="*/ 6595 w 826956"/>
                <a:gd name="connsiteY14" fmla="*/ 282246 h 767604"/>
                <a:gd name="connsiteX15" fmla="*/ 820361 w 826956"/>
                <a:gd name="connsiteY15" fmla="*/ 282246 h 767604"/>
                <a:gd name="connsiteX16" fmla="*/ 826956 w 826956"/>
                <a:gd name="connsiteY16" fmla="*/ 333682 h 767604"/>
                <a:gd name="connsiteX17" fmla="*/ 0 w 826956"/>
                <a:gd name="connsiteY17" fmla="*/ 350828 h 767604"/>
                <a:gd name="connsiteX18" fmla="*/ 6595 w 826956"/>
                <a:gd name="connsiteY18" fmla="*/ 280926 h 767604"/>
                <a:gd name="connsiteX19" fmla="*/ 778156 w 826956"/>
                <a:gd name="connsiteY19" fmla="*/ 155631 h 767604"/>
                <a:gd name="connsiteX20" fmla="*/ 804534 w 826956"/>
                <a:gd name="connsiteY20" fmla="*/ 214982 h 767604"/>
                <a:gd name="connsiteX21" fmla="*/ 23740 w 826956"/>
                <a:gd name="connsiteY21" fmla="*/ 214982 h 767604"/>
                <a:gd name="connsiteX22" fmla="*/ 27696 w 826956"/>
                <a:gd name="connsiteY22" fmla="*/ 205749 h 767604"/>
                <a:gd name="connsiteX23" fmla="*/ 627799 w 826956"/>
                <a:gd name="connsiteY23" fmla="*/ 0 h 767604"/>
                <a:gd name="connsiteX24" fmla="*/ 718804 w 826956"/>
                <a:gd name="connsiteY24" fmla="*/ 75178 h 767604"/>
                <a:gd name="connsiteX25" fmla="*/ 47479 w 826956"/>
                <a:gd name="connsiteY25" fmla="*/ 158269 h 767604"/>
                <a:gd name="connsiteX26" fmla="*/ 137165 w 826956"/>
                <a:gd name="connsiteY26" fmla="*/ 44843 h 76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6956" h="767604">
                  <a:moveTo>
                    <a:pt x="156949" y="679237"/>
                  </a:moveTo>
                  <a:lnTo>
                    <a:pt x="648902" y="693746"/>
                  </a:lnTo>
                  <a:cubicBezTo>
                    <a:pt x="581637" y="739906"/>
                    <a:pt x="501185" y="767604"/>
                    <a:pt x="412817" y="767604"/>
                  </a:cubicBezTo>
                  <a:cubicBezTo>
                    <a:pt x="316538" y="767604"/>
                    <a:pt x="226852" y="734631"/>
                    <a:pt x="156949" y="679237"/>
                  </a:cubicBezTo>
                  <a:close/>
                  <a:moveTo>
                    <a:pt x="52756" y="555261"/>
                  </a:moveTo>
                  <a:lnTo>
                    <a:pt x="772879" y="560537"/>
                  </a:lnTo>
                  <a:cubicBezTo>
                    <a:pt x="763648" y="576363"/>
                    <a:pt x="753095" y="590872"/>
                    <a:pt x="742545" y="605379"/>
                  </a:cubicBezTo>
                  <a:lnTo>
                    <a:pt x="85729" y="605379"/>
                  </a:lnTo>
                  <a:cubicBezTo>
                    <a:pt x="72540" y="589552"/>
                    <a:pt x="61988" y="573726"/>
                    <a:pt x="52756" y="555261"/>
                  </a:cubicBezTo>
                  <a:close/>
                  <a:moveTo>
                    <a:pt x="826955" y="365337"/>
                  </a:moveTo>
                  <a:cubicBezTo>
                    <a:pt x="825635" y="410180"/>
                    <a:pt x="817722" y="452385"/>
                    <a:pt x="803214" y="493272"/>
                  </a:cubicBezTo>
                  <a:lnTo>
                    <a:pt x="11869" y="455023"/>
                  </a:lnTo>
                  <a:cubicBezTo>
                    <a:pt x="9232" y="443153"/>
                    <a:pt x="6594" y="429964"/>
                    <a:pt x="3956" y="416775"/>
                  </a:cubicBezTo>
                  <a:close/>
                  <a:moveTo>
                    <a:pt x="6595" y="280926"/>
                  </a:moveTo>
                  <a:lnTo>
                    <a:pt x="6595" y="282246"/>
                  </a:lnTo>
                  <a:lnTo>
                    <a:pt x="820361" y="282246"/>
                  </a:lnTo>
                  <a:cubicBezTo>
                    <a:pt x="824317" y="298072"/>
                    <a:pt x="825636" y="316537"/>
                    <a:pt x="826956" y="333682"/>
                  </a:cubicBezTo>
                  <a:lnTo>
                    <a:pt x="0" y="350828"/>
                  </a:lnTo>
                  <a:cubicBezTo>
                    <a:pt x="0" y="327088"/>
                    <a:pt x="2638" y="303348"/>
                    <a:pt x="6595" y="280926"/>
                  </a:cubicBezTo>
                  <a:close/>
                  <a:moveTo>
                    <a:pt x="778156" y="155631"/>
                  </a:moveTo>
                  <a:cubicBezTo>
                    <a:pt x="788707" y="174096"/>
                    <a:pt x="796620" y="193878"/>
                    <a:pt x="804534" y="214982"/>
                  </a:cubicBezTo>
                  <a:lnTo>
                    <a:pt x="23740" y="214982"/>
                  </a:lnTo>
                  <a:cubicBezTo>
                    <a:pt x="23740" y="212344"/>
                    <a:pt x="25058" y="208387"/>
                    <a:pt x="27696" y="205749"/>
                  </a:cubicBezTo>
                  <a:close/>
                  <a:moveTo>
                    <a:pt x="627799" y="0"/>
                  </a:moveTo>
                  <a:cubicBezTo>
                    <a:pt x="662090" y="21103"/>
                    <a:pt x="692426" y="46162"/>
                    <a:pt x="718804" y="75178"/>
                  </a:cubicBezTo>
                  <a:lnTo>
                    <a:pt x="47479" y="158269"/>
                  </a:lnTo>
                  <a:cubicBezTo>
                    <a:pt x="71219" y="114746"/>
                    <a:pt x="101555" y="76497"/>
                    <a:pt x="137165" y="44843"/>
                  </a:cubicBezTo>
                  <a:close/>
                </a:path>
              </a:pathLst>
            </a:custGeom>
            <a:solidFill>
              <a:schemeClr val="tx2">
                <a:lumMod val="40000"/>
                <a:lumOff val="60000"/>
              </a:schemeClr>
            </a:solidFill>
            <a:ln w="9525" cap="flat">
              <a:noFill/>
              <a:prstDash val="solid"/>
              <a:miter/>
            </a:ln>
          </p:spPr>
          <p:txBody>
            <a:bodyPr rtlCol="0" anchor="ctr"/>
            <a:lstStyle/>
            <a:p>
              <a:endParaRPr lang="zh-CN" altLang="en-US"/>
            </a:p>
          </p:txBody>
        </p:sp>
        <p:sp>
          <p:nvSpPr>
            <p:cNvPr id="38" name="任意多边形: 形状 37">
              <a:extLst>
                <a:ext uri="{FF2B5EF4-FFF2-40B4-BE49-F238E27FC236}">
                  <a16:creationId xmlns:a16="http://schemas.microsoft.com/office/drawing/2014/main" id="{6B1CF7EE-1555-4FE7-9EE3-121A13D8D989}"/>
                </a:ext>
              </a:extLst>
            </p:cNvPr>
            <p:cNvSpPr/>
            <p:nvPr/>
          </p:nvSpPr>
          <p:spPr>
            <a:xfrm>
              <a:off x="10393060" y="3428983"/>
              <a:ext cx="929646" cy="929645"/>
            </a:xfrm>
            <a:custGeom>
              <a:avLst/>
              <a:gdLst>
                <a:gd name="connsiteX0" fmla="*/ 781050 w 781050"/>
                <a:gd name="connsiteY0" fmla="*/ 390525 h 781050"/>
                <a:gd name="connsiteX1" fmla="*/ 390525 w 781050"/>
                <a:gd name="connsiteY1" fmla="*/ 781050 h 781050"/>
                <a:gd name="connsiteX2" fmla="*/ 0 w 781050"/>
                <a:gd name="connsiteY2" fmla="*/ 390525 h 781050"/>
                <a:gd name="connsiteX3" fmla="*/ 390525 w 781050"/>
                <a:gd name="connsiteY3" fmla="*/ 0 h 781050"/>
                <a:gd name="connsiteX4" fmla="*/ 781050 w 781050"/>
                <a:gd name="connsiteY4" fmla="*/ 390525 h 78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0" h="781050">
                  <a:moveTo>
                    <a:pt x="781050" y="390525"/>
                  </a:moveTo>
                  <a:cubicBezTo>
                    <a:pt x="781050" y="606206"/>
                    <a:pt x="606206" y="781050"/>
                    <a:pt x="390525" y="781050"/>
                  </a:cubicBezTo>
                  <a:cubicBezTo>
                    <a:pt x="174844" y="781050"/>
                    <a:pt x="0" y="606206"/>
                    <a:pt x="0" y="390525"/>
                  </a:cubicBezTo>
                  <a:cubicBezTo>
                    <a:pt x="0" y="174844"/>
                    <a:pt x="174844" y="0"/>
                    <a:pt x="390525" y="0"/>
                  </a:cubicBezTo>
                  <a:cubicBezTo>
                    <a:pt x="606206" y="0"/>
                    <a:pt x="781050" y="174844"/>
                    <a:pt x="781050" y="390525"/>
                  </a:cubicBezTo>
                  <a:close/>
                </a:path>
              </a:pathLst>
            </a:custGeom>
            <a:solidFill>
              <a:srgbClr val="D2D5DC"/>
            </a:solidFill>
            <a:ln w="9525" cap="flat">
              <a:noFill/>
              <a:prstDash val="solid"/>
              <a:miter/>
            </a:ln>
          </p:spPr>
          <p:txBody>
            <a:bodyPr rtlCol="0" anchor="ctr"/>
            <a:lstStyle/>
            <a:p>
              <a:endParaRPr lang="zh-CN" altLang="en-US"/>
            </a:p>
          </p:txBody>
        </p:sp>
        <p:sp>
          <p:nvSpPr>
            <p:cNvPr id="39" name="任意多边形: 形状 38">
              <a:extLst>
                <a:ext uri="{FF2B5EF4-FFF2-40B4-BE49-F238E27FC236}">
                  <a16:creationId xmlns:a16="http://schemas.microsoft.com/office/drawing/2014/main" id="{58649B70-780B-4F38-BD87-34C1C3A136BE}"/>
                </a:ext>
              </a:extLst>
            </p:cNvPr>
            <p:cNvSpPr/>
            <p:nvPr userDrawn="1"/>
          </p:nvSpPr>
          <p:spPr>
            <a:xfrm>
              <a:off x="10655548" y="3428984"/>
              <a:ext cx="657555" cy="714239"/>
            </a:xfrm>
            <a:custGeom>
              <a:avLst/>
              <a:gdLst>
                <a:gd name="connsiteX0" fmla="*/ 493844 w 552450"/>
                <a:gd name="connsiteY0" fmla="*/ 606743 h 600075"/>
                <a:gd name="connsiteX1" fmla="*/ 559566 w 552450"/>
                <a:gd name="connsiteY1" fmla="*/ 390525 h 600075"/>
                <a:gd name="connsiteX2" fmla="*/ 169041 w 552450"/>
                <a:gd name="connsiteY2" fmla="*/ 0 h 600075"/>
                <a:gd name="connsiteX3" fmla="*/ 58551 w 552450"/>
                <a:gd name="connsiteY3" fmla="*/ 16193 h 600075"/>
                <a:gd name="connsiteX4" fmla="*/ 21404 w 552450"/>
                <a:gd name="connsiteY4" fmla="*/ 368618 h 600075"/>
                <a:gd name="connsiteX5" fmla="*/ 324299 w 552450"/>
                <a:gd name="connsiteY5" fmla="*/ 555308 h 600075"/>
                <a:gd name="connsiteX6" fmla="*/ 493844 w 552450"/>
                <a:gd name="connsiteY6" fmla="*/ 606743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450" h="600075">
                  <a:moveTo>
                    <a:pt x="493844" y="606743"/>
                  </a:moveTo>
                  <a:cubicBezTo>
                    <a:pt x="535754" y="544830"/>
                    <a:pt x="559566" y="470535"/>
                    <a:pt x="559566" y="390525"/>
                  </a:cubicBezTo>
                  <a:cubicBezTo>
                    <a:pt x="559566" y="175260"/>
                    <a:pt x="385259" y="0"/>
                    <a:pt x="169041" y="0"/>
                  </a:cubicBezTo>
                  <a:cubicBezTo>
                    <a:pt x="130941" y="0"/>
                    <a:pt x="93794" y="5715"/>
                    <a:pt x="58551" y="16193"/>
                  </a:cubicBezTo>
                  <a:cubicBezTo>
                    <a:pt x="-5266" y="118110"/>
                    <a:pt x="-15744" y="262890"/>
                    <a:pt x="21404" y="368618"/>
                  </a:cubicBezTo>
                  <a:cubicBezTo>
                    <a:pt x="69029" y="501968"/>
                    <a:pt x="198569" y="533400"/>
                    <a:pt x="324299" y="555308"/>
                  </a:cubicBezTo>
                  <a:cubicBezTo>
                    <a:pt x="381449" y="565785"/>
                    <a:pt x="442409" y="578168"/>
                    <a:pt x="493844" y="606743"/>
                  </a:cubicBezTo>
                  <a:close/>
                </a:path>
              </a:pathLst>
            </a:custGeom>
            <a:solidFill>
              <a:schemeClr val="tx2">
                <a:lumMod val="20000"/>
                <a:lumOff val="80000"/>
              </a:schemeClr>
            </a:solidFill>
            <a:ln w="9525" cap="flat">
              <a:noFill/>
              <a:prstDash val="solid"/>
              <a:miter/>
            </a:ln>
          </p:spPr>
          <p:txBody>
            <a:bodyPr rtlCol="0" anchor="ctr"/>
            <a:lstStyle/>
            <a:p>
              <a:endParaRPr lang="zh-CN" altLang="en-US"/>
            </a:p>
          </p:txBody>
        </p:sp>
        <p:sp>
          <p:nvSpPr>
            <p:cNvPr id="40" name="任意多边形: 形状 39">
              <a:extLst>
                <a:ext uri="{FF2B5EF4-FFF2-40B4-BE49-F238E27FC236}">
                  <a16:creationId xmlns:a16="http://schemas.microsoft.com/office/drawing/2014/main" id="{0E347D35-9D32-4A38-89AB-2FB79774EE0F}"/>
                </a:ext>
              </a:extLst>
            </p:cNvPr>
            <p:cNvSpPr/>
            <p:nvPr/>
          </p:nvSpPr>
          <p:spPr>
            <a:xfrm>
              <a:off x="10835355" y="3433518"/>
              <a:ext cx="476160" cy="544183"/>
            </a:xfrm>
            <a:custGeom>
              <a:avLst/>
              <a:gdLst>
                <a:gd name="connsiteX0" fmla="*/ 70362 w 400050"/>
                <a:gd name="connsiteY0" fmla="*/ 0 h 457200"/>
                <a:gd name="connsiteX1" fmla="*/ 42739 w 400050"/>
                <a:gd name="connsiteY1" fmla="*/ 29528 h 457200"/>
                <a:gd name="connsiteX2" fmla="*/ 6544 w 400050"/>
                <a:gd name="connsiteY2" fmla="*/ 191453 h 457200"/>
                <a:gd name="connsiteX3" fmla="*/ 169422 w 400050"/>
                <a:gd name="connsiteY3" fmla="*/ 327660 h 457200"/>
                <a:gd name="connsiteX4" fmla="*/ 364684 w 400050"/>
                <a:gd name="connsiteY4" fmla="*/ 422910 h 457200"/>
                <a:gd name="connsiteX5" fmla="*/ 400879 w 400050"/>
                <a:gd name="connsiteY5" fmla="*/ 464820 h 457200"/>
                <a:gd name="connsiteX6" fmla="*/ 408499 w 400050"/>
                <a:gd name="connsiteY6" fmla="*/ 386715 h 457200"/>
                <a:gd name="connsiteX7" fmla="*/ 70362 w 400050"/>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50" h="457200">
                  <a:moveTo>
                    <a:pt x="70362" y="0"/>
                  </a:moveTo>
                  <a:cubicBezTo>
                    <a:pt x="60837" y="9525"/>
                    <a:pt x="51312" y="19050"/>
                    <a:pt x="42739" y="29528"/>
                  </a:cubicBezTo>
                  <a:cubicBezTo>
                    <a:pt x="7497" y="74295"/>
                    <a:pt x="-10601" y="136208"/>
                    <a:pt x="6544" y="191453"/>
                  </a:cubicBezTo>
                  <a:cubicBezTo>
                    <a:pt x="29404" y="260985"/>
                    <a:pt x="100842" y="301943"/>
                    <a:pt x="169422" y="327660"/>
                  </a:cubicBezTo>
                  <a:cubicBezTo>
                    <a:pt x="238002" y="353378"/>
                    <a:pt x="312297" y="372428"/>
                    <a:pt x="364684" y="422910"/>
                  </a:cubicBezTo>
                  <a:cubicBezTo>
                    <a:pt x="378019" y="435293"/>
                    <a:pt x="389449" y="450533"/>
                    <a:pt x="400879" y="464820"/>
                  </a:cubicBezTo>
                  <a:cubicBezTo>
                    <a:pt x="405642" y="439103"/>
                    <a:pt x="408499" y="413385"/>
                    <a:pt x="408499" y="386715"/>
                  </a:cubicBezTo>
                  <a:cubicBezTo>
                    <a:pt x="408499" y="188595"/>
                    <a:pt x="260862" y="24765"/>
                    <a:pt x="70362" y="0"/>
                  </a:cubicBezTo>
                  <a:close/>
                </a:path>
              </a:pathLst>
            </a:custGeom>
            <a:solidFill>
              <a:schemeClr val="bg1">
                <a:alpha val="50000"/>
              </a:schemeClr>
            </a:solidFill>
            <a:ln w="9525" cap="flat">
              <a:noFill/>
              <a:prstDash val="solid"/>
              <a:miter/>
            </a:ln>
          </p:spPr>
          <p:txBody>
            <a:bodyPr rtlCol="0" anchor="ctr"/>
            <a:lstStyle/>
            <a:p>
              <a:endParaRPr lang="zh-CN" altLang="en-US"/>
            </a:p>
          </p:txBody>
        </p:sp>
        <p:grpSp>
          <p:nvGrpSpPr>
            <p:cNvPr id="66" name="组合 65">
              <a:extLst>
                <a:ext uri="{FF2B5EF4-FFF2-40B4-BE49-F238E27FC236}">
                  <a16:creationId xmlns:a16="http://schemas.microsoft.com/office/drawing/2014/main" id="{92AD2472-F1D3-4D0D-86AE-6CE53F7AE0F6}"/>
                </a:ext>
              </a:extLst>
            </p:cNvPr>
            <p:cNvGrpSpPr/>
            <p:nvPr userDrawn="1"/>
          </p:nvGrpSpPr>
          <p:grpSpPr>
            <a:xfrm>
              <a:off x="10493507" y="3552948"/>
              <a:ext cx="733952" cy="681714"/>
              <a:chOff x="10493507" y="3552948"/>
              <a:chExt cx="733952" cy="681714"/>
            </a:xfrm>
            <a:solidFill>
              <a:schemeClr val="tx2">
                <a:lumMod val="60000"/>
                <a:lumOff val="40000"/>
              </a:schemeClr>
            </a:solidFill>
          </p:grpSpPr>
          <p:sp>
            <p:nvSpPr>
              <p:cNvPr id="55" name="任意多边形: 形状 54">
                <a:extLst>
                  <a:ext uri="{FF2B5EF4-FFF2-40B4-BE49-F238E27FC236}">
                    <a16:creationId xmlns:a16="http://schemas.microsoft.com/office/drawing/2014/main" id="{C656039F-869F-4E39-A49A-86E5E43DDCFC}"/>
                  </a:ext>
                </a:extLst>
              </p:cNvPr>
              <p:cNvSpPr/>
              <p:nvPr/>
            </p:nvSpPr>
            <p:spPr>
              <a:xfrm>
                <a:off x="11136762" y="3779284"/>
                <a:ext cx="90697" cy="90697"/>
              </a:xfrm>
              <a:custGeom>
                <a:avLst/>
                <a:gdLst>
                  <a:gd name="connsiteX0" fmla="*/ 14301 w 76200"/>
                  <a:gd name="connsiteY0" fmla="*/ 9538 h 76200"/>
                  <a:gd name="connsiteX1" fmla="*/ 71451 w 76200"/>
                  <a:gd name="connsiteY1" fmla="*/ 14301 h 76200"/>
                  <a:gd name="connsiteX2" fmla="*/ 66688 w 76200"/>
                  <a:gd name="connsiteY2" fmla="*/ 71451 h 76200"/>
                  <a:gd name="connsiteX3" fmla="*/ 9538 w 76200"/>
                  <a:gd name="connsiteY3" fmla="*/ 66688 h 76200"/>
                  <a:gd name="connsiteX4" fmla="*/ 14301 w 76200"/>
                  <a:gd name="connsiteY4" fmla="*/ 9538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14301" y="9538"/>
                    </a:moveTo>
                    <a:cubicBezTo>
                      <a:pt x="31446" y="-4749"/>
                      <a:pt x="57163" y="-2844"/>
                      <a:pt x="71451" y="14301"/>
                    </a:cubicBezTo>
                    <a:cubicBezTo>
                      <a:pt x="85738" y="31446"/>
                      <a:pt x="83833" y="57163"/>
                      <a:pt x="66688" y="71451"/>
                    </a:cubicBezTo>
                    <a:cubicBezTo>
                      <a:pt x="49543" y="85738"/>
                      <a:pt x="23826" y="83833"/>
                      <a:pt x="9538" y="66688"/>
                    </a:cubicBezTo>
                    <a:cubicBezTo>
                      <a:pt x="-4749" y="49543"/>
                      <a:pt x="-2844" y="24778"/>
                      <a:pt x="14301" y="9538"/>
                    </a:cubicBezTo>
                    <a:close/>
                  </a:path>
                </a:pathLst>
              </a:custGeom>
              <a:grpFill/>
              <a:ln w="9525" cap="flat">
                <a:noFill/>
                <a:prstDash val="solid"/>
                <a:miter/>
              </a:ln>
            </p:spPr>
            <p:txBody>
              <a:bodyPr rtlCol="0" anchor="ctr"/>
              <a:lstStyle/>
              <a:p>
                <a:endParaRPr lang="zh-CN" altLang="en-US"/>
              </a:p>
            </p:txBody>
          </p:sp>
          <p:grpSp>
            <p:nvGrpSpPr>
              <p:cNvPr id="65" name="组合 64">
                <a:extLst>
                  <a:ext uri="{FF2B5EF4-FFF2-40B4-BE49-F238E27FC236}">
                    <a16:creationId xmlns:a16="http://schemas.microsoft.com/office/drawing/2014/main" id="{2571965A-B87C-405D-88A5-6994DBE757B6}"/>
                  </a:ext>
                </a:extLst>
              </p:cNvPr>
              <p:cNvGrpSpPr/>
              <p:nvPr userDrawn="1"/>
            </p:nvGrpSpPr>
            <p:grpSpPr>
              <a:xfrm>
                <a:off x="10493507" y="3552948"/>
                <a:ext cx="633652" cy="681714"/>
                <a:chOff x="10513329" y="3551278"/>
                <a:chExt cx="633652" cy="681714"/>
              </a:xfrm>
              <a:grpFill/>
            </p:grpSpPr>
            <p:sp>
              <p:nvSpPr>
                <p:cNvPr id="41" name="任意多边形: 形状 40">
                  <a:extLst>
                    <a:ext uri="{FF2B5EF4-FFF2-40B4-BE49-F238E27FC236}">
                      <a16:creationId xmlns:a16="http://schemas.microsoft.com/office/drawing/2014/main" id="{A533E70C-3665-4B1E-86CB-031E02A39E72}"/>
                    </a:ext>
                  </a:extLst>
                </p:cNvPr>
                <p:cNvSpPr/>
                <p:nvPr/>
              </p:nvSpPr>
              <p:spPr>
                <a:xfrm>
                  <a:off x="10999598" y="4058047"/>
                  <a:ext cx="147383" cy="147383"/>
                </a:xfrm>
                <a:custGeom>
                  <a:avLst/>
                  <a:gdLst>
                    <a:gd name="connsiteX0" fmla="*/ 127635 w 123825"/>
                    <a:gd name="connsiteY0" fmla="*/ 63818 h 123825"/>
                    <a:gd name="connsiteX1" fmla="*/ 63818 w 123825"/>
                    <a:gd name="connsiteY1" fmla="*/ 127635 h 123825"/>
                    <a:gd name="connsiteX2" fmla="*/ 0 w 123825"/>
                    <a:gd name="connsiteY2" fmla="*/ 63817 h 123825"/>
                    <a:gd name="connsiteX3" fmla="*/ 63818 w 123825"/>
                    <a:gd name="connsiteY3" fmla="*/ 0 h 123825"/>
                    <a:gd name="connsiteX4" fmla="*/ 127635 w 123825"/>
                    <a:gd name="connsiteY4" fmla="*/ 63818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23825">
                      <a:moveTo>
                        <a:pt x="127635" y="63818"/>
                      </a:moveTo>
                      <a:cubicBezTo>
                        <a:pt x="127635" y="99063"/>
                        <a:pt x="99063" y="127635"/>
                        <a:pt x="63818" y="127635"/>
                      </a:cubicBezTo>
                      <a:cubicBezTo>
                        <a:pt x="28572" y="127635"/>
                        <a:pt x="0" y="99063"/>
                        <a:pt x="0" y="63817"/>
                      </a:cubicBezTo>
                      <a:cubicBezTo>
                        <a:pt x="0" y="28572"/>
                        <a:pt x="28572" y="0"/>
                        <a:pt x="63818" y="0"/>
                      </a:cubicBezTo>
                      <a:cubicBezTo>
                        <a:pt x="99063" y="0"/>
                        <a:pt x="127635" y="28572"/>
                        <a:pt x="127635" y="63818"/>
                      </a:cubicBezTo>
                      <a:close/>
                    </a:path>
                  </a:pathLst>
                </a:custGeom>
                <a:grpFill/>
                <a:ln w="9525" cap="flat">
                  <a:noFill/>
                  <a:prstDash val="solid"/>
                  <a:miter/>
                </a:ln>
              </p:spPr>
              <p:txBody>
                <a:bodyPr rtlCol="0" anchor="ctr"/>
                <a:lstStyle/>
                <a:p>
                  <a:endParaRPr lang="zh-CN" altLang="en-US"/>
                </a:p>
              </p:txBody>
            </p:sp>
            <p:sp>
              <p:nvSpPr>
                <p:cNvPr id="43" name="任意多边形: 形状 42">
                  <a:extLst>
                    <a:ext uri="{FF2B5EF4-FFF2-40B4-BE49-F238E27FC236}">
                      <a16:creationId xmlns:a16="http://schemas.microsoft.com/office/drawing/2014/main" id="{BB0FE2DD-BE0D-430E-83DF-E4A6DD564639}"/>
                    </a:ext>
                  </a:extLst>
                </p:cNvPr>
                <p:cNvSpPr/>
                <p:nvPr/>
              </p:nvSpPr>
              <p:spPr>
                <a:xfrm>
                  <a:off x="10555483" y="4002944"/>
                  <a:ext cx="113372" cy="113371"/>
                </a:xfrm>
                <a:custGeom>
                  <a:avLst/>
                  <a:gdLst>
                    <a:gd name="connsiteX0" fmla="*/ 86424 w 95250"/>
                    <a:gd name="connsiteY0" fmla="*/ 79757 h 95250"/>
                    <a:gd name="connsiteX1" fmla="*/ 17844 w 95250"/>
                    <a:gd name="connsiteY1" fmla="*/ 86424 h 95250"/>
                    <a:gd name="connsiteX2" fmla="*/ 11177 w 95250"/>
                    <a:gd name="connsiteY2" fmla="*/ 17844 h 95250"/>
                    <a:gd name="connsiteX3" fmla="*/ 79757 w 95250"/>
                    <a:gd name="connsiteY3" fmla="*/ 11177 h 95250"/>
                    <a:gd name="connsiteX4" fmla="*/ 86424 w 95250"/>
                    <a:gd name="connsiteY4" fmla="*/ 79757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6424" y="79757"/>
                      </a:moveTo>
                      <a:cubicBezTo>
                        <a:pt x="69279" y="100712"/>
                        <a:pt x="38799" y="103569"/>
                        <a:pt x="17844" y="86424"/>
                      </a:cubicBezTo>
                      <a:cubicBezTo>
                        <a:pt x="-3111" y="69279"/>
                        <a:pt x="-5968" y="38799"/>
                        <a:pt x="11177" y="17844"/>
                      </a:cubicBezTo>
                      <a:cubicBezTo>
                        <a:pt x="28322" y="-3111"/>
                        <a:pt x="58802" y="-5968"/>
                        <a:pt x="79757" y="11177"/>
                      </a:cubicBezTo>
                      <a:cubicBezTo>
                        <a:pt x="100712" y="28322"/>
                        <a:pt x="103569" y="58802"/>
                        <a:pt x="86424" y="79757"/>
                      </a:cubicBezTo>
                      <a:close/>
                    </a:path>
                  </a:pathLst>
                </a:custGeom>
                <a:grpFill/>
                <a:ln w="9525" cap="flat">
                  <a:noFill/>
                  <a:prstDash val="solid"/>
                  <a:miter/>
                </a:ln>
              </p:spPr>
              <p:txBody>
                <a:bodyPr rtlCol="0" anchor="ctr"/>
                <a:lstStyle/>
                <a:p>
                  <a:endParaRPr lang="zh-CN" altLang="en-US"/>
                </a:p>
              </p:txBody>
            </p:sp>
            <p:sp>
              <p:nvSpPr>
                <p:cNvPr id="45" name="任意多边形: 形状 44">
                  <a:extLst>
                    <a:ext uri="{FF2B5EF4-FFF2-40B4-BE49-F238E27FC236}">
                      <a16:creationId xmlns:a16="http://schemas.microsoft.com/office/drawing/2014/main" id="{60658DF0-A761-4D98-8C81-016A52DB3CCB}"/>
                    </a:ext>
                  </a:extLst>
                </p:cNvPr>
                <p:cNvSpPr/>
                <p:nvPr/>
              </p:nvSpPr>
              <p:spPr>
                <a:xfrm>
                  <a:off x="10513329" y="3721429"/>
                  <a:ext cx="79360" cy="79360"/>
                </a:xfrm>
                <a:custGeom>
                  <a:avLst/>
                  <a:gdLst>
                    <a:gd name="connsiteX0" fmla="*/ 49450 w 66675"/>
                    <a:gd name="connsiteY0" fmla="*/ 64690 h 66675"/>
                    <a:gd name="connsiteX1" fmla="*/ 3730 w 66675"/>
                    <a:gd name="connsiteY1" fmla="*/ 49450 h 66675"/>
                    <a:gd name="connsiteX2" fmla="*/ 18970 w 66675"/>
                    <a:gd name="connsiteY2" fmla="*/ 3730 h 66675"/>
                    <a:gd name="connsiteX3" fmla="*/ 64690 w 66675"/>
                    <a:gd name="connsiteY3" fmla="*/ 18970 h 66675"/>
                    <a:gd name="connsiteX4" fmla="*/ 49450 w 66675"/>
                    <a:gd name="connsiteY4" fmla="*/ 64690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49450" y="64690"/>
                      </a:moveTo>
                      <a:cubicBezTo>
                        <a:pt x="32305" y="73263"/>
                        <a:pt x="12303" y="66595"/>
                        <a:pt x="3730" y="49450"/>
                      </a:cubicBezTo>
                      <a:cubicBezTo>
                        <a:pt x="-4842" y="32305"/>
                        <a:pt x="1825" y="12303"/>
                        <a:pt x="18970" y="3730"/>
                      </a:cubicBezTo>
                      <a:cubicBezTo>
                        <a:pt x="36115" y="-4842"/>
                        <a:pt x="56118" y="1825"/>
                        <a:pt x="64690" y="18970"/>
                      </a:cubicBezTo>
                      <a:cubicBezTo>
                        <a:pt x="73263" y="36115"/>
                        <a:pt x="65643" y="56118"/>
                        <a:pt x="49450" y="64690"/>
                      </a:cubicBezTo>
                      <a:close/>
                    </a:path>
                  </a:pathLst>
                </a:custGeom>
                <a:grpFill/>
                <a:ln w="9525" cap="flat">
                  <a:noFill/>
                  <a:prstDash val="solid"/>
                  <a:miter/>
                </a:ln>
              </p:spPr>
              <p:txBody>
                <a:bodyPr rtlCol="0" anchor="ctr"/>
                <a:lstStyle/>
                <a:p>
                  <a:endParaRPr lang="zh-CN" altLang="en-US"/>
                </a:p>
              </p:txBody>
            </p:sp>
            <p:sp>
              <p:nvSpPr>
                <p:cNvPr id="47" name="任意多边形: 形状 46">
                  <a:extLst>
                    <a:ext uri="{FF2B5EF4-FFF2-40B4-BE49-F238E27FC236}">
                      <a16:creationId xmlns:a16="http://schemas.microsoft.com/office/drawing/2014/main" id="{4781B278-4061-4784-A496-22CDB7EEFD25}"/>
                    </a:ext>
                  </a:extLst>
                </p:cNvPr>
                <p:cNvSpPr/>
                <p:nvPr/>
              </p:nvSpPr>
              <p:spPr>
                <a:xfrm>
                  <a:off x="11042617" y="3599965"/>
                  <a:ext cx="56685" cy="56685"/>
                </a:xfrm>
                <a:custGeom>
                  <a:avLst/>
                  <a:gdLst>
                    <a:gd name="connsiteX0" fmla="*/ 52 w 47625"/>
                    <a:gd name="connsiteY0" fmla="*/ 26722 h 47625"/>
                    <a:gd name="connsiteX1" fmla="*/ 28627 w 47625"/>
                    <a:gd name="connsiteY1" fmla="*/ 52 h 47625"/>
                    <a:gd name="connsiteX2" fmla="*/ 55297 w 47625"/>
                    <a:gd name="connsiteY2" fmla="*/ 28627 h 47625"/>
                    <a:gd name="connsiteX3" fmla="*/ 26722 w 47625"/>
                    <a:gd name="connsiteY3" fmla="*/ 55297 h 47625"/>
                    <a:gd name="connsiteX4" fmla="*/ 52 w 47625"/>
                    <a:gd name="connsiteY4" fmla="*/ 2672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2" y="26722"/>
                      </a:moveTo>
                      <a:cubicBezTo>
                        <a:pt x="1004" y="11482"/>
                        <a:pt x="13387" y="-901"/>
                        <a:pt x="28627" y="52"/>
                      </a:cubicBezTo>
                      <a:cubicBezTo>
                        <a:pt x="43867" y="1004"/>
                        <a:pt x="56249" y="13387"/>
                        <a:pt x="55297" y="28627"/>
                      </a:cubicBezTo>
                      <a:cubicBezTo>
                        <a:pt x="54344" y="43867"/>
                        <a:pt x="41962" y="56249"/>
                        <a:pt x="26722" y="55297"/>
                      </a:cubicBezTo>
                      <a:cubicBezTo>
                        <a:pt x="11482" y="54344"/>
                        <a:pt x="-901" y="41962"/>
                        <a:pt x="52" y="26722"/>
                      </a:cubicBezTo>
                      <a:close/>
                    </a:path>
                  </a:pathLst>
                </a:custGeom>
                <a:grpFill/>
                <a:ln w="9525" cap="flat">
                  <a:noFill/>
                  <a:prstDash val="solid"/>
                  <a:miter/>
                </a:ln>
              </p:spPr>
              <p:txBody>
                <a:bodyPr rtlCol="0" anchor="ctr"/>
                <a:lstStyle/>
                <a:p>
                  <a:endParaRPr lang="zh-CN" altLang="en-US"/>
                </a:p>
              </p:txBody>
            </p:sp>
            <p:sp>
              <p:nvSpPr>
                <p:cNvPr id="49" name="任意多边形: 形状 48">
                  <a:extLst>
                    <a:ext uri="{FF2B5EF4-FFF2-40B4-BE49-F238E27FC236}">
                      <a16:creationId xmlns:a16="http://schemas.microsoft.com/office/drawing/2014/main" id="{ED3576D2-A1DA-461F-9456-4165569D116D}"/>
                    </a:ext>
                  </a:extLst>
                </p:cNvPr>
                <p:cNvSpPr/>
                <p:nvPr/>
              </p:nvSpPr>
              <p:spPr>
                <a:xfrm>
                  <a:off x="10802537" y="4176307"/>
                  <a:ext cx="56685" cy="56685"/>
                </a:xfrm>
                <a:custGeom>
                  <a:avLst/>
                  <a:gdLst>
                    <a:gd name="connsiteX0" fmla="*/ 52214 w 47625"/>
                    <a:gd name="connsiteY0" fmla="*/ 14114 h 47625"/>
                    <a:gd name="connsiteX1" fmla="*/ 41737 w 47625"/>
                    <a:gd name="connsiteY1" fmla="*/ 52214 h 47625"/>
                    <a:gd name="connsiteX2" fmla="*/ 3637 w 47625"/>
                    <a:gd name="connsiteY2" fmla="*/ 41737 h 47625"/>
                    <a:gd name="connsiteX3" fmla="*/ 14114 w 47625"/>
                    <a:gd name="connsiteY3" fmla="*/ 3637 h 47625"/>
                    <a:gd name="connsiteX4" fmla="*/ 52214 w 47625"/>
                    <a:gd name="connsiteY4" fmla="*/ 1411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52214" y="14114"/>
                      </a:moveTo>
                      <a:cubicBezTo>
                        <a:pt x="59834" y="27449"/>
                        <a:pt x="55072" y="44594"/>
                        <a:pt x="41737" y="52214"/>
                      </a:cubicBezTo>
                      <a:cubicBezTo>
                        <a:pt x="28402" y="59834"/>
                        <a:pt x="11257" y="55072"/>
                        <a:pt x="3637" y="41737"/>
                      </a:cubicBezTo>
                      <a:cubicBezTo>
                        <a:pt x="-3983" y="28402"/>
                        <a:pt x="779" y="11257"/>
                        <a:pt x="14114" y="3637"/>
                      </a:cubicBezTo>
                      <a:cubicBezTo>
                        <a:pt x="27449" y="-3983"/>
                        <a:pt x="44594" y="779"/>
                        <a:pt x="52214" y="14114"/>
                      </a:cubicBezTo>
                      <a:close/>
                    </a:path>
                  </a:pathLst>
                </a:custGeom>
                <a:grpFill/>
                <a:ln w="9525" cap="flat">
                  <a:noFill/>
                  <a:prstDash val="solid"/>
                  <a:miter/>
                </a:ln>
              </p:spPr>
              <p:txBody>
                <a:bodyPr rtlCol="0" anchor="ctr"/>
                <a:lstStyle/>
                <a:p>
                  <a:endParaRPr lang="zh-CN" altLang="en-US"/>
                </a:p>
              </p:txBody>
            </p:sp>
            <p:sp>
              <p:nvSpPr>
                <p:cNvPr id="51" name="任意多边形: 形状 50">
                  <a:extLst>
                    <a:ext uri="{FF2B5EF4-FFF2-40B4-BE49-F238E27FC236}">
                      <a16:creationId xmlns:a16="http://schemas.microsoft.com/office/drawing/2014/main" id="{3B775EA9-0897-49B9-B0D8-1443528109F8}"/>
                    </a:ext>
                  </a:extLst>
                </p:cNvPr>
                <p:cNvSpPr/>
                <p:nvPr/>
              </p:nvSpPr>
              <p:spPr>
                <a:xfrm>
                  <a:off x="10745646" y="3551278"/>
                  <a:ext cx="113372" cy="113371"/>
                </a:xfrm>
                <a:custGeom>
                  <a:avLst/>
                  <a:gdLst>
                    <a:gd name="connsiteX0" fmla="*/ 0 w 95250"/>
                    <a:gd name="connsiteY0" fmla="*/ 51435 h 95250"/>
                    <a:gd name="connsiteX1" fmla="*/ 51435 w 95250"/>
                    <a:gd name="connsiteY1" fmla="*/ 0 h 95250"/>
                    <a:gd name="connsiteX2" fmla="*/ 102870 w 95250"/>
                    <a:gd name="connsiteY2" fmla="*/ 51435 h 95250"/>
                    <a:gd name="connsiteX3" fmla="*/ 51435 w 95250"/>
                    <a:gd name="connsiteY3" fmla="*/ 102870 h 95250"/>
                    <a:gd name="connsiteX4" fmla="*/ 0 w 95250"/>
                    <a:gd name="connsiteY4" fmla="*/ 51435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0" y="51435"/>
                      </a:moveTo>
                      <a:cubicBezTo>
                        <a:pt x="0" y="22860"/>
                        <a:pt x="22860" y="0"/>
                        <a:pt x="51435" y="0"/>
                      </a:cubicBezTo>
                      <a:cubicBezTo>
                        <a:pt x="80010" y="0"/>
                        <a:pt x="102870" y="22860"/>
                        <a:pt x="102870" y="51435"/>
                      </a:cubicBezTo>
                      <a:cubicBezTo>
                        <a:pt x="102870" y="80010"/>
                        <a:pt x="80010" y="102870"/>
                        <a:pt x="51435" y="102870"/>
                      </a:cubicBezTo>
                      <a:cubicBezTo>
                        <a:pt x="22860" y="102870"/>
                        <a:pt x="0" y="80010"/>
                        <a:pt x="0" y="51435"/>
                      </a:cubicBezTo>
                      <a:close/>
                    </a:path>
                  </a:pathLst>
                </a:custGeom>
                <a:grpFill/>
                <a:ln w="9525" cap="flat">
                  <a:noFill/>
                  <a:prstDash val="solid"/>
                  <a:miter/>
                </a:ln>
              </p:spPr>
              <p:txBody>
                <a:bodyPr rtlCol="0" anchor="ctr"/>
                <a:lstStyle/>
                <a:p>
                  <a:endParaRPr lang="zh-CN" altLang="en-US"/>
                </a:p>
              </p:txBody>
            </p:sp>
            <p:sp>
              <p:nvSpPr>
                <p:cNvPr id="53" name="任意多边形: 形状 52">
                  <a:extLst>
                    <a:ext uri="{FF2B5EF4-FFF2-40B4-BE49-F238E27FC236}">
                      <a16:creationId xmlns:a16="http://schemas.microsoft.com/office/drawing/2014/main" id="{1D1E4FAF-D629-4BAC-9C8A-8C6B7D664808}"/>
                    </a:ext>
                  </a:extLst>
                </p:cNvPr>
                <p:cNvSpPr/>
                <p:nvPr/>
              </p:nvSpPr>
              <p:spPr>
                <a:xfrm>
                  <a:off x="10836273" y="3848241"/>
                  <a:ext cx="124709" cy="124709"/>
                </a:xfrm>
                <a:custGeom>
                  <a:avLst/>
                  <a:gdLst>
                    <a:gd name="connsiteX0" fmla="*/ 65781 w 104775"/>
                    <a:gd name="connsiteY0" fmla="*/ 1011 h 104775"/>
                    <a:gd name="connsiteX1" fmla="*/ 109596 w 104775"/>
                    <a:gd name="connsiteY1" fmla="*/ 65781 h 104775"/>
                    <a:gd name="connsiteX2" fmla="*/ 44826 w 104775"/>
                    <a:gd name="connsiteY2" fmla="*/ 109596 h 104775"/>
                    <a:gd name="connsiteX3" fmla="*/ 1011 w 104775"/>
                    <a:gd name="connsiteY3" fmla="*/ 44826 h 104775"/>
                    <a:gd name="connsiteX4" fmla="*/ 65781 w 104775"/>
                    <a:gd name="connsiteY4" fmla="*/ 1011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65781" y="1011"/>
                      </a:moveTo>
                      <a:cubicBezTo>
                        <a:pt x="96261" y="6726"/>
                        <a:pt x="115311" y="36253"/>
                        <a:pt x="109596" y="65781"/>
                      </a:cubicBezTo>
                      <a:cubicBezTo>
                        <a:pt x="103881" y="96261"/>
                        <a:pt x="74353" y="115311"/>
                        <a:pt x="44826" y="109596"/>
                      </a:cubicBezTo>
                      <a:cubicBezTo>
                        <a:pt x="14346" y="103881"/>
                        <a:pt x="-4704" y="74353"/>
                        <a:pt x="1011" y="44826"/>
                      </a:cubicBezTo>
                      <a:cubicBezTo>
                        <a:pt x="6726" y="14346"/>
                        <a:pt x="35301" y="-4704"/>
                        <a:pt x="65781" y="1011"/>
                      </a:cubicBezTo>
                      <a:close/>
                    </a:path>
                  </a:pathLst>
                </a:custGeom>
                <a:grpFill/>
                <a:ln w="9525" cap="flat">
                  <a:noFill/>
                  <a:prstDash val="solid"/>
                  <a:miter/>
                </a:ln>
              </p:spPr>
              <p:txBody>
                <a:bodyPr rtlCol="0" anchor="ctr"/>
                <a:lstStyle/>
                <a:p>
                  <a:endParaRPr lang="zh-CN" altLang="en-US"/>
                </a:p>
              </p:txBody>
            </p:sp>
          </p:grpSp>
        </p:grpSp>
        <p:sp>
          <p:nvSpPr>
            <p:cNvPr id="33" name="任意多边形: 形状 32">
              <a:extLst>
                <a:ext uri="{FF2B5EF4-FFF2-40B4-BE49-F238E27FC236}">
                  <a16:creationId xmlns:a16="http://schemas.microsoft.com/office/drawing/2014/main" id="{4C14CA48-B8A5-4BBE-BD75-5B96ADBE52A2}"/>
                </a:ext>
              </a:extLst>
            </p:cNvPr>
            <p:cNvSpPr/>
            <p:nvPr userDrawn="1"/>
          </p:nvSpPr>
          <p:spPr>
            <a:xfrm>
              <a:off x="9037954" y="3169362"/>
              <a:ext cx="77524" cy="77524"/>
            </a:xfrm>
            <a:custGeom>
              <a:avLst/>
              <a:gdLst>
                <a:gd name="connsiteX0" fmla="*/ 48577 w 47625"/>
                <a:gd name="connsiteY0" fmla="*/ 21908 h 47625"/>
                <a:gd name="connsiteX1" fmla="*/ 40957 w 47625"/>
                <a:gd name="connsiteY1" fmla="*/ 20955 h 47625"/>
                <a:gd name="connsiteX2" fmla="*/ 30480 w 47625"/>
                <a:gd name="connsiteY2" fmla="*/ 10478 h 47625"/>
                <a:gd name="connsiteX3" fmla="*/ 29527 w 47625"/>
                <a:gd name="connsiteY3" fmla="*/ 2858 h 47625"/>
                <a:gd name="connsiteX4" fmla="*/ 21907 w 47625"/>
                <a:gd name="connsiteY4" fmla="*/ 2858 h 47625"/>
                <a:gd name="connsiteX5" fmla="*/ 20955 w 47625"/>
                <a:gd name="connsiteY5" fmla="*/ 10478 h 47625"/>
                <a:gd name="connsiteX6" fmla="*/ 10477 w 47625"/>
                <a:gd name="connsiteY6" fmla="*/ 20955 h 47625"/>
                <a:gd name="connsiteX7" fmla="*/ 2857 w 47625"/>
                <a:gd name="connsiteY7" fmla="*/ 21908 h 47625"/>
                <a:gd name="connsiteX8" fmla="*/ 2857 w 47625"/>
                <a:gd name="connsiteY8" fmla="*/ 29528 h 47625"/>
                <a:gd name="connsiteX9" fmla="*/ 10477 w 47625"/>
                <a:gd name="connsiteY9" fmla="*/ 30480 h 47625"/>
                <a:gd name="connsiteX10" fmla="*/ 20955 w 47625"/>
                <a:gd name="connsiteY10" fmla="*/ 40958 h 47625"/>
                <a:gd name="connsiteX11" fmla="*/ 21907 w 47625"/>
                <a:gd name="connsiteY11" fmla="*/ 48578 h 47625"/>
                <a:gd name="connsiteX12" fmla="*/ 29527 w 47625"/>
                <a:gd name="connsiteY12" fmla="*/ 48578 h 47625"/>
                <a:gd name="connsiteX13" fmla="*/ 30480 w 47625"/>
                <a:gd name="connsiteY13" fmla="*/ 40958 h 47625"/>
                <a:gd name="connsiteX14" fmla="*/ 40957 w 47625"/>
                <a:gd name="connsiteY14" fmla="*/ 30480 h 47625"/>
                <a:gd name="connsiteX15" fmla="*/ 48577 w 47625"/>
                <a:gd name="connsiteY15" fmla="*/ 29528 h 47625"/>
                <a:gd name="connsiteX16" fmla="*/ 48577 w 47625"/>
                <a:gd name="connsiteY16" fmla="*/ 219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7" y="21908"/>
                  </a:moveTo>
                  <a:lnTo>
                    <a:pt x="40957" y="20955"/>
                  </a:lnTo>
                  <a:cubicBezTo>
                    <a:pt x="36195" y="20003"/>
                    <a:pt x="31432" y="16193"/>
                    <a:pt x="30480" y="10478"/>
                  </a:cubicBezTo>
                  <a:lnTo>
                    <a:pt x="29527" y="2858"/>
                  </a:lnTo>
                  <a:cubicBezTo>
                    <a:pt x="28575" y="-953"/>
                    <a:pt x="22860" y="-953"/>
                    <a:pt x="21907" y="2858"/>
                  </a:cubicBezTo>
                  <a:lnTo>
                    <a:pt x="20955" y="10478"/>
                  </a:lnTo>
                  <a:cubicBezTo>
                    <a:pt x="20002" y="15240"/>
                    <a:pt x="16192" y="20003"/>
                    <a:pt x="10477" y="20955"/>
                  </a:cubicBezTo>
                  <a:lnTo>
                    <a:pt x="2857" y="21908"/>
                  </a:lnTo>
                  <a:cubicBezTo>
                    <a:pt x="-952" y="22860"/>
                    <a:pt x="-952" y="28575"/>
                    <a:pt x="2857" y="29528"/>
                  </a:cubicBezTo>
                  <a:lnTo>
                    <a:pt x="10477" y="30480"/>
                  </a:lnTo>
                  <a:cubicBezTo>
                    <a:pt x="15240" y="31433"/>
                    <a:pt x="20002" y="35243"/>
                    <a:pt x="20955" y="40958"/>
                  </a:cubicBezTo>
                  <a:lnTo>
                    <a:pt x="21907" y="48578"/>
                  </a:lnTo>
                  <a:cubicBezTo>
                    <a:pt x="22860" y="52388"/>
                    <a:pt x="28575" y="52388"/>
                    <a:pt x="29527" y="48578"/>
                  </a:cubicBezTo>
                  <a:lnTo>
                    <a:pt x="30480" y="40958"/>
                  </a:lnTo>
                  <a:cubicBezTo>
                    <a:pt x="31432" y="36195"/>
                    <a:pt x="35242" y="31433"/>
                    <a:pt x="40957" y="30480"/>
                  </a:cubicBezTo>
                  <a:lnTo>
                    <a:pt x="48577" y="29528"/>
                  </a:lnTo>
                  <a:cubicBezTo>
                    <a:pt x="53340" y="28575"/>
                    <a:pt x="53340" y="21908"/>
                    <a:pt x="48577" y="21908"/>
                  </a:cubicBezTo>
                  <a:close/>
                </a:path>
              </a:pathLst>
            </a:custGeom>
            <a:solidFill>
              <a:schemeClr val="bg1"/>
            </a:solidFill>
            <a:ln w="9525" cap="flat">
              <a:noFill/>
              <a:prstDash val="solid"/>
              <a:miter/>
            </a:ln>
            <a:effectLst/>
          </p:spPr>
          <p:txBody>
            <a:bodyPr rtlCol="0" anchor="ctr"/>
            <a:lstStyle/>
            <a:p>
              <a:endParaRPr lang="zh-CN" altLang="en-US"/>
            </a:p>
          </p:txBody>
        </p:sp>
        <p:sp>
          <p:nvSpPr>
            <p:cNvPr id="69" name="任意多边形: 形状 68">
              <a:extLst>
                <a:ext uri="{FF2B5EF4-FFF2-40B4-BE49-F238E27FC236}">
                  <a16:creationId xmlns:a16="http://schemas.microsoft.com/office/drawing/2014/main" id="{8139F5BB-6788-48D7-9958-038CED9DA1AA}"/>
                </a:ext>
              </a:extLst>
            </p:cNvPr>
            <p:cNvSpPr/>
            <p:nvPr userDrawn="1"/>
          </p:nvSpPr>
          <p:spPr>
            <a:xfrm>
              <a:off x="7755479" y="3393583"/>
              <a:ext cx="939539" cy="939536"/>
            </a:xfrm>
            <a:custGeom>
              <a:avLst/>
              <a:gdLst>
                <a:gd name="connsiteX0" fmla="*/ 501958 w 939539"/>
                <a:gd name="connsiteY0" fmla="*/ 1111 h 939536"/>
                <a:gd name="connsiteX1" fmla="*/ 823921 w 939539"/>
                <a:gd name="connsiteY1" fmla="*/ 161137 h 939536"/>
                <a:gd name="connsiteX2" fmla="*/ 778402 w 939539"/>
                <a:gd name="connsiteY2" fmla="*/ 823920 h 939536"/>
                <a:gd name="connsiteX3" fmla="*/ 115619 w 939539"/>
                <a:gd name="connsiteY3" fmla="*/ 778400 h 939536"/>
                <a:gd name="connsiteX4" fmla="*/ 161139 w 939539"/>
                <a:gd name="connsiteY4" fmla="*/ 115617 h 939536"/>
                <a:gd name="connsiteX5" fmla="*/ 501958 w 939539"/>
                <a:gd name="connsiteY5" fmla="*/ 1111 h 93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9539" h="939536">
                  <a:moveTo>
                    <a:pt x="501958" y="1111"/>
                  </a:moveTo>
                  <a:cubicBezTo>
                    <a:pt x="621898" y="9348"/>
                    <a:pt x="738695" y="63341"/>
                    <a:pt x="823921" y="161137"/>
                  </a:cubicBezTo>
                  <a:cubicBezTo>
                    <a:pt x="994374" y="356730"/>
                    <a:pt x="973994" y="653468"/>
                    <a:pt x="778402" y="823920"/>
                  </a:cubicBezTo>
                  <a:cubicBezTo>
                    <a:pt x="582810" y="994371"/>
                    <a:pt x="286072" y="973992"/>
                    <a:pt x="115619" y="778400"/>
                  </a:cubicBezTo>
                  <a:cubicBezTo>
                    <a:pt x="-54834" y="582808"/>
                    <a:pt x="-34454" y="286070"/>
                    <a:pt x="161139" y="115617"/>
                  </a:cubicBezTo>
                  <a:cubicBezTo>
                    <a:pt x="258935" y="30391"/>
                    <a:pt x="382018" y="-7127"/>
                    <a:pt x="501958" y="1111"/>
                  </a:cubicBezTo>
                  <a:close/>
                </a:path>
              </a:pathLst>
            </a:custGeom>
            <a:solidFill>
              <a:schemeClr val="tx2">
                <a:lumMod val="40000"/>
                <a:lumOff val="60000"/>
              </a:schemeClr>
            </a:solidFill>
            <a:ln w="11657" cap="flat">
              <a:noFill/>
              <a:prstDash val="solid"/>
              <a:miter/>
            </a:ln>
            <a:effectLst/>
          </p:spPr>
          <p:txBody>
            <a:bodyPr wrap="square" rtlCol="0" anchor="ctr">
              <a:noAutofit/>
            </a:bodyPr>
            <a:lstStyle/>
            <a:p>
              <a:endParaRPr lang="zh-CN" altLang="en-US"/>
            </a:p>
          </p:txBody>
        </p:sp>
        <p:sp>
          <p:nvSpPr>
            <p:cNvPr id="59" name="任意多边形: 形状 58">
              <a:extLst>
                <a:ext uri="{FF2B5EF4-FFF2-40B4-BE49-F238E27FC236}">
                  <a16:creationId xmlns:a16="http://schemas.microsoft.com/office/drawing/2014/main" id="{9095EAB7-2205-471F-BA38-61564FD4B22B}"/>
                </a:ext>
              </a:extLst>
            </p:cNvPr>
            <p:cNvSpPr/>
            <p:nvPr/>
          </p:nvSpPr>
          <p:spPr>
            <a:xfrm>
              <a:off x="7816188" y="3394000"/>
              <a:ext cx="868461" cy="934254"/>
            </a:xfrm>
            <a:custGeom>
              <a:avLst/>
              <a:gdLst>
                <a:gd name="connsiteX0" fmla="*/ 778726 w 774035"/>
                <a:gd name="connsiteY0" fmla="*/ 479473 h 832674"/>
                <a:gd name="connsiteX1" fmla="*/ 424547 w 774035"/>
                <a:gd name="connsiteY1" fmla="*/ 4497 h 832674"/>
                <a:gd name="connsiteX2" fmla="*/ 39875 w 774035"/>
                <a:gd name="connsiteY2" fmla="*/ 154613 h 832674"/>
                <a:gd name="connsiteX3" fmla="*/ 55121 w 774035"/>
                <a:gd name="connsiteY3" fmla="*/ 214425 h 832674"/>
                <a:gd name="connsiteX4" fmla="*/ 123142 w 774035"/>
                <a:gd name="connsiteY4" fmla="*/ 266027 h 832674"/>
                <a:gd name="connsiteX5" fmla="*/ 372944 w 774035"/>
                <a:gd name="connsiteY5" fmla="*/ 294174 h 832674"/>
                <a:gd name="connsiteX6" fmla="*/ 565280 w 774035"/>
                <a:gd name="connsiteY6" fmla="*/ 377442 h 832674"/>
                <a:gd name="connsiteX7" fmla="*/ 650893 w 774035"/>
                <a:gd name="connsiteY7" fmla="*/ 565086 h 832674"/>
                <a:gd name="connsiteX8" fmla="*/ 542997 w 774035"/>
                <a:gd name="connsiteY8" fmla="*/ 736312 h 832674"/>
                <a:gd name="connsiteX9" fmla="*/ 431583 w 774035"/>
                <a:gd name="connsiteY9" fmla="*/ 753904 h 832674"/>
                <a:gd name="connsiteX10" fmla="*/ 31665 w 774035"/>
                <a:gd name="connsiteY10" fmla="*/ 627244 h 832674"/>
                <a:gd name="connsiteX11" fmla="*/ 0 w 774035"/>
                <a:gd name="connsiteY11" fmla="*/ 622553 h 832674"/>
                <a:gd name="connsiteX12" fmla="*/ 304923 w 774035"/>
                <a:gd name="connsiteY12" fmla="*/ 833653 h 832674"/>
                <a:gd name="connsiteX13" fmla="*/ 778726 w 774035"/>
                <a:gd name="connsiteY13" fmla="*/ 479473 h 83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035" h="832674">
                  <a:moveTo>
                    <a:pt x="778726" y="479473"/>
                  </a:moveTo>
                  <a:cubicBezTo>
                    <a:pt x="811564" y="250781"/>
                    <a:pt x="653239" y="38508"/>
                    <a:pt x="424547" y="4497"/>
                  </a:cubicBezTo>
                  <a:cubicBezTo>
                    <a:pt x="273258" y="-17785"/>
                    <a:pt x="130179" y="44372"/>
                    <a:pt x="39875" y="154613"/>
                  </a:cubicBezTo>
                  <a:cubicBezTo>
                    <a:pt x="39875" y="175723"/>
                    <a:pt x="43393" y="196833"/>
                    <a:pt x="55121" y="214425"/>
                  </a:cubicBezTo>
                  <a:cubicBezTo>
                    <a:pt x="70367" y="239053"/>
                    <a:pt x="96168" y="255472"/>
                    <a:pt x="123142" y="266027"/>
                  </a:cubicBezTo>
                  <a:cubicBezTo>
                    <a:pt x="201718" y="296520"/>
                    <a:pt x="289677" y="283619"/>
                    <a:pt x="372944" y="294174"/>
                  </a:cubicBezTo>
                  <a:cubicBezTo>
                    <a:pt x="443311" y="303556"/>
                    <a:pt x="512505" y="329358"/>
                    <a:pt x="565280" y="377442"/>
                  </a:cubicBezTo>
                  <a:cubicBezTo>
                    <a:pt x="618055" y="424353"/>
                    <a:pt x="653239" y="494720"/>
                    <a:pt x="650893" y="565086"/>
                  </a:cubicBezTo>
                  <a:cubicBezTo>
                    <a:pt x="648548" y="636626"/>
                    <a:pt x="607500" y="706993"/>
                    <a:pt x="542997" y="736312"/>
                  </a:cubicBezTo>
                  <a:cubicBezTo>
                    <a:pt x="507814" y="751558"/>
                    <a:pt x="469112" y="756250"/>
                    <a:pt x="431583" y="753904"/>
                  </a:cubicBezTo>
                  <a:cubicBezTo>
                    <a:pt x="290850" y="744522"/>
                    <a:pt x="168880" y="656563"/>
                    <a:pt x="31665" y="627244"/>
                  </a:cubicBezTo>
                  <a:cubicBezTo>
                    <a:pt x="21110" y="624898"/>
                    <a:pt x="10555" y="623725"/>
                    <a:pt x="0" y="622553"/>
                  </a:cubicBezTo>
                  <a:cubicBezTo>
                    <a:pt x="60985" y="732794"/>
                    <a:pt x="171226" y="813716"/>
                    <a:pt x="304923" y="833653"/>
                  </a:cubicBezTo>
                  <a:cubicBezTo>
                    <a:pt x="532442" y="866491"/>
                    <a:pt x="745888" y="708166"/>
                    <a:pt x="778726" y="479473"/>
                  </a:cubicBezTo>
                  <a:close/>
                </a:path>
              </a:pathLst>
            </a:custGeom>
            <a:solidFill>
              <a:schemeClr val="tx2">
                <a:lumMod val="20000"/>
                <a:lumOff val="80000"/>
              </a:schemeClr>
            </a:solidFill>
            <a:ln w="11657" cap="flat">
              <a:noFill/>
              <a:prstDash val="solid"/>
              <a:miter/>
            </a:ln>
          </p:spPr>
          <p:txBody>
            <a:bodyPr rtlCol="0" anchor="ctr"/>
            <a:lstStyle/>
            <a:p>
              <a:endParaRPr lang="zh-CN" altLang="en-US"/>
            </a:p>
          </p:txBody>
        </p:sp>
        <p:sp>
          <p:nvSpPr>
            <p:cNvPr id="60" name="任意多边形: 形状 59">
              <a:extLst>
                <a:ext uri="{FF2B5EF4-FFF2-40B4-BE49-F238E27FC236}">
                  <a16:creationId xmlns:a16="http://schemas.microsoft.com/office/drawing/2014/main" id="{838B530D-E274-4AD0-BEB0-823A90D5DDB3}"/>
                </a:ext>
              </a:extLst>
            </p:cNvPr>
            <p:cNvSpPr/>
            <p:nvPr/>
          </p:nvSpPr>
          <p:spPr>
            <a:xfrm>
              <a:off x="7965203" y="3393869"/>
              <a:ext cx="710560" cy="355280"/>
            </a:xfrm>
            <a:custGeom>
              <a:avLst/>
              <a:gdLst>
                <a:gd name="connsiteX0" fmla="*/ 292022 w 633301"/>
                <a:gd name="connsiteY0" fmla="*/ 4325 h 316650"/>
                <a:gd name="connsiteX1" fmla="*/ 0 w 633301"/>
                <a:gd name="connsiteY1" fmla="*/ 70001 h 316650"/>
                <a:gd name="connsiteX2" fmla="*/ 34011 w 633301"/>
                <a:gd name="connsiteY2" fmla="*/ 123949 h 316650"/>
                <a:gd name="connsiteX3" fmla="*/ 194682 w 633301"/>
                <a:gd name="connsiteY3" fmla="*/ 208389 h 316650"/>
                <a:gd name="connsiteX4" fmla="*/ 299059 w 633301"/>
                <a:gd name="connsiteY4" fmla="*/ 188452 h 316650"/>
                <a:gd name="connsiteX5" fmla="*/ 627438 w 633301"/>
                <a:gd name="connsiteY5" fmla="*/ 303384 h 316650"/>
                <a:gd name="connsiteX6" fmla="*/ 641511 w 633301"/>
                <a:gd name="connsiteY6" fmla="*/ 326840 h 316650"/>
                <a:gd name="connsiteX7" fmla="*/ 292022 w 633301"/>
                <a:gd name="connsiteY7" fmla="*/ 4325 h 31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301" h="316650">
                  <a:moveTo>
                    <a:pt x="292022" y="4325"/>
                  </a:moveTo>
                  <a:cubicBezTo>
                    <a:pt x="186472" y="-10921"/>
                    <a:pt x="83267" y="14880"/>
                    <a:pt x="0" y="70001"/>
                  </a:cubicBezTo>
                  <a:cubicBezTo>
                    <a:pt x="9382" y="88766"/>
                    <a:pt x="21110" y="107530"/>
                    <a:pt x="34011" y="123949"/>
                  </a:cubicBezTo>
                  <a:cubicBezTo>
                    <a:pt x="72712" y="173206"/>
                    <a:pt x="132524" y="209562"/>
                    <a:pt x="194682" y="208389"/>
                  </a:cubicBezTo>
                  <a:cubicBezTo>
                    <a:pt x="229865" y="208389"/>
                    <a:pt x="263876" y="196661"/>
                    <a:pt x="299059" y="188452"/>
                  </a:cubicBezTo>
                  <a:cubicBezTo>
                    <a:pt x="419855" y="162651"/>
                    <a:pt x="560589" y="200180"/>
                    <a:pt x="627438" y="303384"/>
                  </a:cubicBezTo>
                  <a:cubicBezTo>
                    <a:pt x="632129" y="310421"/>
                    <a:pt x="636820" y="318631"/>
                    <a:pt x="641511" y="326840"/>
                  </a:cubicBezTo>
                  <a:cubicBezTo>
                    <a:pt x="603982" y="162651"/>
                    <a:pt x="469112" y="30127"/>
                    <a:pt x="292022" y="4325"/>
                  </a:cubicBezTo>
                  <a:close/>
                </a:path>
              </a:pathLst>
            </a:custGeom>
            <a:solidFill>
              <a:schemeClr val="tx2">
                <a:lumMod val="40000"/>
                <a:lumOff val="60000"/>
              </a:schemeClr>
            </a:solidFill>
            <a:ln w="11657" cap="flat">
              <a:noFill/>
              <a:prstDash val="solid"/>
              <a:miter/>
            </a:ln>
          </p:spPr>
          <p:txBody>
            <a:bodyPr rtlCol="0" anchor="ctr"/>
            <a:lstStyle/>
            <a:p>
              <a:endParaRPr lang="zh-CN" altLang="en-US"/>
            </a:p>
          </p:txBody>
        </p:sp>
        <p:sp>
          <p:nvSpPr>
            <p:cNvPr id="61" name="任意多边形: 形状 60">
              <a:extLst>
                <a:ext uri="{FF2B5EF4-FFF2-40B4-BE49-F238E27FC236}">
                  <a16:creationId xmlns:a16="http://schemas.microsoft.com/office/drawing/2014/main" id="{90223E81-C633-41E1-863C-98897D66C169}"/>
                </a:ext>
              </a:extLst>
            </p:cNvPr>
            <p:cNvSpPr/>
            <p:nvPr/>
          </p:nvSpPr>
          <p:spPr>
            <a:xfrm>
              <a:off x="7340600" y="3656953"/>
              <a:ext cx="1750081" cy="473706"/>
            </a:xfrm>
            <a:custGeom>
              <a:avLst/>
              <a:gdLst>
                <a:gd name="connsiteX0" fmla="*/ 1250688 w 1559798"/>
                <a:gd name="connsiteY0" fmla="*/ 132524 h 422200"/>
                <a:gd name="connsiteX1" fmla="*/ 1201432 w 1559798"/>
                <a:gd name="connsiteY1" fmla="*/ 114932 h 422200"/>
                <a:gd name="connsiteX2" fmla="*/ 1204950 w 1559798"/>
                <a:gd name="connsiteY2" fmla="*/ 228692 h 422200"/>
                <a:gd name="connsiteX3" fmla="*/ 1335129 w 1559798"/>
                <a:gd name="connsiteY3" fmla="*/ 294368 h 422200"/>
                <a:gd name="connsiteX4" fmla="*/ 1167421 w 1559798"/>
                <a:gd name="connsiteY4" fmla="*/ 321342 h 422200"/>
                <a:gd name="connsiteX5" fmla="*/ 772194 w 1559798"/>
                <a:gd name="connsiteY5" fmla="*/ 296713 h 422200"/>
                <a:gd name="connsiteX6" fmla="*/ 386349 w 1559798"/>
                <a:gd name="connsiteY6" fmla="*/ 207582 h 422200"/>
                <a:gd name="connsiteX7" fmla="*/ 233888 w 1559798"/>
                <a:gd name="connsiteY7" fmla="*/ 133697 h 422200"/>
                <a:gd name="connsiteX8" fmla="*/ 378140 w 1559798"/>
                <a:gd name="connsiteY8" fmla="*/ 107896 h 422200"/>
                <a:gd name="connsiteX9" fmla="*/ 413323 w 1559798"/>
                <a:gd name="connsiteY9" fmla="*/ 0 h 422200"/>
                <a:gd name="connsiteX10" fmla="*/ 361721 w 1559798"/>
                <a:gd name="connsiteY10" fmla="*/ 2346 h 422200"/>
                <a:gd name="connsiteX11" fmla="*/ 504 w 1559798"/>
                <a:gd name="connsiteY11" fmla="*/ 100859 h 422200"/>
                <a:gd name="connsiteX12" fmla="*/ 317155 w 1559798"/>
                <a:gd name="connsiteY12" fmla="*/ 297886 h 422200"/>
                <a:gd name="connsiteX13" fmla="*/ 755775 w 1559798"/>
                <a:gd name="connsiteY13" fmla="*/ 403436 h 422200"/>
                <a:gd name="connsiteX14" fmla="*/ 1206123 w 1559798"/>
                <a:gd name="connsiteY14" fmla="*/ 428065 h 422200"/>
                <a:gd name="connsiteX15" fmla="*/ 1566166 w 1559798"/>
                <a:gd name="connsiteY15" fmla="*/ 330724 h 422200"/>
                <a:gd name="connsiteX16" fmla="*/ 1250688 w 1559798"/>
                <a:gd name="connsiteY16" fmla="*/ 132524 h 4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9798" h="422200">
                  <a:moveTo>
                    <a:pt x="1250688" y="132524"/>
                  </a:moveTo>
                  <a:cubicBezTo>
                    <a:pt x="1235442" y="126660"/>
                    <a:pt x="1219023" y="120796"/>
                    <a:pt x="1201432" y="114932"/>
                  </a:cubicBezTo>
                  <a:cubicBezTo>
                    <a:pt x="1207296" y="151289"/>
                    <a:pt x="1208468" y="189990"/>
                    <a:pt x="1204950" y="228692"/>
                  </a:cubicBezTo>
                  <a:cubicBezTo>
                    <a:pt x="1280008" y="256839"/>
                    <a:pt x="1318710" y="280295"/>
                    <a:pt x="1335129" y="294368"/>
                  </a:cubicBezTo>
                  <a:cubicBezTo>
                    <a:pt x="1312846" y="303750"/>
                    <a:pt x="1263589" y="317823"/>
                    <a:pt x="1167421" y="321342"/>
                  </a:cubicBezTo>
                  <a:cubicBezTo>
                    <a:pt x="1056007" y="327206"/>
                    <a:pt x="915273" y="317823"/>
                    <a:pt x="772194" y="296713"/>
                  </a:cubicBezTo>
                  <a:cubicBezTo>
                    <a:pt x="627942" y="275603"/>
                    <a:pt x="490727" y="243938"/>
                    <a:pt x="386349" y="207582"/>
                  </a:cubicBezTo>
                  <a:cubicBezTo>
                    <a:pt x="296045" y="175917"/>
                    <a:pt x="251479" y="148943"/>
                    <a:pt x="233888" y="133697"/>
                  </a:cubicBezTo>
                  <a:cubicBezTo>
                    <a:pt x="253825" y="124315"/>
                    <a:pt x="297218" y="112587"/>
                    <a:pt x="378140" y="107896"/>
                  </a:cubicBezTo>
                  <a:cubicBezTo>
                    <a:pt x="385176" y="69194"/>
                    <a:pt x="396904" y="32838"/>
                    <a:pt x="413323" y="0"/>
                  </a:cubicBezTo>
                  <a:cubicBezTo>
                    <a:pt x="395731" y="0"/>
                    <a:pt x="378140" y="1173"/>
                    <a:pt x="361721" y="2346"/>
                  </a:cubicBezTo>
                  <a:cubicBezTo>
                    <a:pt x="263207" y="9382"/>
                    <a:pt x="13405" y="11728"/>
                    <a:pt x="504" y="100859"/>
                  </a:cubicBezTo>
                  <a:cubicBezTo>
                    <a:pt x="-12396" y="188818"/>
                    <a:pt x="225678" y="262703"/>
                    <a:pt x="317155" y="297886"/>
                  </a:cubicBezTo>
                  <a:cubicBezTo>
                    <a:pt x="433260" y="341279"/>
                    <a:pt x="588067" y="378808"/>
                    <a:pt x="755775" y="403436"/>
                  </a:cubicBezTo>
                  <a:cubicBezTo>
                    <a:pt x="923483" y="428065"/>
                    <a:pt x="1082981" y="436274"/>
                    <a:pt x="1206123" y="428065"/>
                  </a:cubicBezTo>
                  <a:cubicBezTo>
                    <a:pt x="1303464" y="421028"/>
                    <a:pt x="1553266" y="418683"/>
                    <a:pt x="1566166" y="330724"/>
                  </a:cubicBezTo>
                  <a:cubicBezTo>
                    <a:pt x="1580240" y="240420"/>
                    <a:pt x="1342165" y="167708"/>
                    <a:pt x="1250688" y="132524"/>
                  </a:cubicBezTo>
                  <a:close/>
                </a:path>
              </a:pathLst>
            </a:custGeom>
            <a:solidFill>
              <a:schemeClr val="tx2">
                <a:lumMod val="40000"/>
                <a:lumOff val="60000"/>
                <a:alpha val="68000"/>
              </a:schemeClr>
            </a:solidFill>
            <a:ln w="11657" cap="flat">
              <a:noFill/>
              <a:prstDash val="solid"/>
              <a:miter/>
            </a:ln>
          </p:spPr>
          <p:txBody>
            <a:bodyPr rtlCol="0" anchor="ctr"/>
            <a:lstStyle/>
            <a:p>
              <a:endParaRPr lang="zh-CN" altLang="en-US"/>
            </a:p>
          </p:txBody>
        </p:sp>
        <p:sp>
          <p:nvSpPr>
            <p:cNvPr id="62" name="任意多边形: 形状 61">
              <a:extLst>
                <a:ext uri="{FF2B5EF4-FFF2-40B4-BE49-F238E27FC236}">
                  <a16:creationId xmlns:a16="http://schemas.microsoft.com/office/drawing/2014/main" id="{D19B8A68-AB73-4F6A-8BF2-44A2D2AC9F82}"/>
                </a:ext>
              </a:extLst>
            </p:cNvPr>
            <p:cNvSpPr/>
            <p:nvPr/>
          </p:nvSpPr>
          <p:spPr>
            <a:xfrm>
              <a:off x="7341915" y="3721429"/>
              <a:ext cx="1750081" cy="407914"/>
            </a:xfrm>
            <a:custGeom>
              <a:avLst/>
              <a:gdLst>
                <a:gd name="connsiteX0" fmla="*/ 1548575 w 1559798"/>
                <a:gd name="connsiteY0" fmla="*/ 222828 h 363561"/>
                <a:gd name="connsiteX1" fmla="*/ 1548575 w 1559798"/>
                <a:gd name="connsiteY1" fmla="*/ 227519 h 363561"/>
                <a:gd name="connsiteX2" fmla="*/ 1200259 w 1559798"/>
                <a:gd name="connsiteY2" fmla="*/ 322515 h 363561"/>
                <a:gd name="connsiteX3" fmla="*/ 762812 w 1559798"/>
                <a:gd name="connsiteY3" fmla="*/ 299059 h 363561"/>
                <a:gd name="connsiteX4" fmla="*/ 337092 w 1559798"/>
                <a:gd name="connsiteY4" fmla="*/ 195854 h 363561"/>
                <a:gd name="connsiteX5" fmla="*/ 29824 w 1559798"/>
                <a:gd name="connsiteY5" fmla="*/ 4691 h 363561"/>
                <a:gd name="connsiteX6" fmla="*/ 30997 w 1559798"/>
                <a:gd name="connsiteY6" fmla="*/ 0 h 363561"/>
                <a:gd name="connsiteX7" fmla="*/ 504 w 1559798"/>
                <a:gd name="connsiteY7" fmla="*/ 42220 h 363561"/>
                <a:gd name="connsiteX8" fmla="*/ 317155 w 1559798"/>
                <a:gd name="connsiteY8" fmla="*/ 239247 h 363561"/>
                <a:gd name="connsiteX9" fmla="*/ 755775 w 1559798"/>
                <a:gd name="connsiteY9" fmla="*/ 344797 h 363561"/>
                <a:gd name="connsiteX10" fmla="*/ 1206123 w 1559798"/>
                <a:gd name="connsiteY10" fmla="*/ 369426 h 363561"/>
                <a:gd name="connsiteX11" fmla="*/ 1566167 w 1559798"/>
                <a:gd name="connsiteY11" fmla="*/ 272085 h 363561"/>
                <a:gd name="connsiteX12" fmla="*/ 1548575 w 1559798"/>
                <a:gd name="connsiteY12" fmla="*/ 222828 h 36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9798" h="363561">
                  <a:moveTo>
                    <a:pt x="1548575" y="222828"/>
                  </a:moveTo>
                  <a:cubicBezTo>
                    <a:pt x="1548575" y="224001"/>
                    <a:pt x="1548575" y="225174"/>
                    <a:pt x="1548575" y="227519"/>
                  </a:cubicBezTo>
                  <a:cubicBezTo>
                    <a:pt x="1535674" y="313132"/>
                    <a:pt x="1295254" y="315478"/>
                    <a:pt x="1200259" y="322515"/>
                  </a:cubicBezTo>
                  <a:cubicBezTo>
                    <a:pt x="1080635" y="330724"/>
                    <a:pt x="925828" y="322515"/>
                    <a:pt x="762812" y="299059"/>
                  </a:cubicBezTo>
                  <a:cubicBezTo>
                    <a:pt x="600968" y="275603"/>
                    <a:pt x="449679" y="239247"/>
                    <a:pt x="337092" y="195854"/>
                  </a:cubicBezTo>
                  <a:cubicBezTo>
                    <a:pt x="247961" y="161844"/>
                    <a:pt x="18096" y="90304"/>
                    <a:pt x="29824" y="4691"/>
                  </a:cubicBezTo>
                  <a:cubicBezTo>
                    <a:pt x="29824" y="3518"/>
                    <a:pt x="30997" y="2346"/>
                    <a:pt x="30997" y="0"/>
                  </a:cubicBezTo>
                  <a:cubicBezTo>
                    <a:pt x="14578" y="11728"/>
                    <a:pt x="2850" y="24628"/>
                    <a:pt x="504" y="42220"/>
                  </a:cubicBezTo>
                  <a:cubicBezTo>
                    <a:pt x="-12396" y="130179"/>
                    <a:pt x="225678" y="204064"/>
                    <a:pt x="317155" y="239247"/>
                  </a:cubicBezTo>
                  <a:cubicBezTo>
                    <a:pt x="433260" y="282640"/>
                    <a:pt x="588067" y="320169"/>
                    <a:pt x="755775" y="344797"/>
                  </a:cubicBezTo>
                  <a:cubicBezTo>
                    <a:pt x="923483" y="369426"/>
                    <a:pt x="1082981" y="377635"/>
                    <a:pt x="1206123" y="369426"/>
                  </a:cubicBezTo>
                  <a:cubicBezTo>
                    <a:pt x="1303464" y="362389"/>
                    <a:pt x="1553266" y="360044"/>
                    <a:pt x="1566167" y="272085"/>
                  </a:cubicBezTo>
                  <a:cubicBezTo>
                    <a:pt x="1568512" y="254493"/>
                    <a:pt x="1561475" y="238074"/>
                    <a:pt x="1548575" y="222828"/>
                  </a:cubicBezTo>
                  <a:close/>
                </a:path>
              </a:pathLst>
            </a:custGeom>
            <a:gradFill>
              <a:gsLst>
                <a:gs pos="100000">
                  <a:schemeClr val="bg1">
                    <a:alpha val="50000"/>
                  </a:schemeClr>
                </a:gs>
                <a:gs pos="0">
                  <a:schemeClr val="bg1">
                    <a:alpha val="50000"/>
                  </a:schemeClr>
                </a:gs>
              </a:gsLst>
              <a:lin ang="16200000" scaled="1"/>
            </a:gradFill>
            <a:ln w="11657"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
          <p:cNvSpPr>
            <a:spLocks noGrp="1"/>
          </p:cNvSpPr>
          <p:nvPr userDrawn="1">
            <p:ph type="ctrTitle" hasCustomPrompt="1"/>
          </p:nvPr>
        </p:nvSpPr>
        <p:spPr>
          <a:xfrm>
            <a:off x="673100" y="2111960"/>
            <a:ext cx="10845798" cy="1621509"/>
          </a:xfrm>
        </p:spPr>
        <p:txBody>
          <a:bodyPr anchor="b">
            <a:normAutofit/>
          </a:bodyPr>
          <a:lstStyle>
            <a:lvl1pPr marL="0" indent="0" algn="l">
              <a:buFont typeface="Arial" panose="020B0604020202020204" pitchFamily="34" charset="0"/>
              <a:buNone/>
              <a:defRPr sz="3200" i="1">
                <a:solidFill>
                  <a:schemeClr val="accent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4418196"/>
            <a:ext cx="10845798" cy="310871"/>
          </a:xfrm>
        </p:spPr>
        <p:txBody>
          <a:bodyPr vert="horz" lIns="91440" tIns="45720" rIns="91440" bIns="45720" rtlCol="0">
            <a:normAutofit/>
          </a:bodyPr>
          <a:lstStyle>
            <a:lvl1pPr marL="0" indent="0" algn="l">
              <a:buNone/>
              <a:defRPr lang="zh-CN" altLang="en-US" sz="1400" i="1" smtClean="0">
                <a:solidFill>
                  <a:schemeClr val="accent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4121925"/>
            <a:ext cx="10845798" cy="296271"/>
          </a:xfrm>
        </p:spPr>
        <p:txBody>
          <a:bodyPr vert="horz" anchor="ctr">
            <a:noAutofit/>
          </a:bodyPr>
          <a:lstStyle>
            <a:lvl1pPr marL="0" indent="0" algn="l">
              <a:buNone/>
              <a:defRPr sz="1400" b="0" i="1">
                <a:solidFill>
                  <a:schemeClr val="accent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5" name="任意多边形: 形状 4">
            <a:extLst>
              <a:ext uri="{FF2B5EF4-FFF2-40B4-BE49-F238E27FC236}">
                <a16:creationId xmlns:a16="http://schemas.microsoft.com/office/drawing/2014/main" id="{89852A95-070D-47FF-8208-33AD7D232914}"/>
              </a:ext>
            </a:extLst>
          </p:cNvPr>
          <p:cNvSpPr/>
          <p:nvPr userDrawn="1"/>
        </p:nvSpPr>
        <p:spPr>
          <a:xfrm>
            <a:off x="4927600" y="5031"/>
            <a:ext cx="7264400" cy="6852969"/>
          </a:xfrm>
          <a:custGeom>
            <a:avLst/>
            <a:gdLst>
              <a:gd name="connsiteX0" fmla="*/ 2667953 w 3724275"/>
              <a:gd name="connsiteY0" fmla="*/ 221933 h 4762500"/>
              <a:gd name="connsiteX1" fmla="*/ 2223135 w 3724275"/>
              <a:gd name="connsiteY1" fmla="*/ 973455 h 4762500"/>
              <a:gd name="connsiteX2" fmla="*/ 1356360 w 3724275"/>
              <a:gd name="connsiteY2" fmla="*/ 1298258 h 4762500"/>
              <a:gd name="connsiteX3" fmla="*/ 667703 w 3724275"/>
              <a:gd name="connsiteY3" fmla="*/ 1876425 h 4762500"/>
              <a:gd name="connsiteX4" fmla="*/ 751523 w 3724275"/>
              <a:gd name="connsiteY4" fmla="*/ 3155633 h 4762500"/>
              <a:gd name="connsiteX5" fmla="*/ 140970 w 3724275"/>
              <a:gd name="connsiteY5" fmla="*/ 4468178 h 4762500"/>
              <a:gd name="connsiteX6" fmla="*/ 0 w 3724275"/>
              <a:gd name="connsiteY6" fmla="*/ 4762500 h 4762500"/>
              <a:gd name="connsiteX7" fmla="*/ 3728085 w 3724275"/>
              <a:gd name="connsiteY7" fmla="*/ 4762500 h 4762500"/>
              <a:gd name="connsiteX8" fmla="*/ 3728085 w 3724275"/>
              <a:gd name="connsiteY8" fmla="*/ 0 h 4762500"/>
              <a:gd name="connsiteX9" fmla="*/ 2589848 w 3724275"/>
              <a:gd name="connsiteY9" fmla="*/ 0 h 4762500"/>
              <a:gd name="connsiteX10" fmla="*/ 2667953 w 3724275"/>
              <a:gd name="connsiteY10" fmla="*/ 221933 h 476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24275" h="4762500">
                <a:moveTo>
                  <a:pt x="2667953" y="221933"/>
                </a:moveTo>
                <a:cubicBezTo>
                  <a:pt x="2712720" y="527685"/>
                  <a:pt x="2489835" y="817245"/>
                  <a:pt x="2223135" y="973455"/>
                </a:cubicBezTo>
                <a:cubicBezTo>
                  <a:pt x="1956435" y="1129665"/>
                  <a:pt x="1645920" y="1189673"/>
                  <a:pt x="1356360" y="1298258"/>
                </a:cubicBezTo>
                <a:cubicBezTo>
                  <a:pt x="1066800" y="1406843"/>
                  <a:pt x="776288" y="1586865"/>
                  <a:pt x="667703" y="1876425"/>
                </a:cubicBezTo>
                <a:cubicBezTo>
                  <a:pt x="515303" y="2281238"/>
                  <a:pt x="765810" y="2724150"/>
                  <a:pt x="751523" y="3155633"/>
                </a:cubicBezTo>
                <a:cubicBezTo>
                  <a:pt x="734378" y="3644265"/>
                  <a:pt x="386715" y="4046220"/>
                  <a:pt x="140970" y="4468178"/>
                </a:cubicBezTo>
                <a:cubicBezTo>
                  <a:pt x="86678" y="4559618"/>
                  <a:pt x="39053" y="4658678"/>
                  <a:pt x="0" y="4762500"/>
                </a:cubicBezTo>
                <a:lnTo>
                  <a:pt x="3728085" y="4762500"/>
                </a:lnTo>
                <a:lnTo>
                  <a:pt x="3728085" y="0"/>
                </a:lnTo>
                <a:lnTo>
                  <a:pt x="2589848" y="0"/>
                </a:lnTo>
                <a:cubicBezTo>
                  <a:pt x="2627948" y="69533"/>
                  <a:pt x="2655570" y="142875"/>
                  <a:pt x="2667953" y="221933"/>
                </a:cubicBezTo>
                <a:close/>
              </a:path>
            </a:pathLst>
          </a:custGeom>
          <a:solidFill>
            <a:schemeClr val="accent1">
              <a:lumMod val="75000"/>
            </a:schemeClr>
          </a:solidFill>
          <a:ln w="9525" cap="flat">
            <a:noFill/>
            <a:prstDash val="solid"/>
            <a:miter/>
          </a:ln>
        </p:spPr>
        <p:txBody>
          <a:bodyPr rtlCol="0" anchor="ctr"/>
          <a:lstStyle/>
          <a:p>
            <a:endParaRPr lang="zh-CN" altLang="en-US"/>
          </a:p>
        </p:txBody>
      </p:sp>
      <p:sp>
        <p:nvSpPr>
          <p:cNvPr id="7" name="任意多边形: 形状 6">
            <a:extLst>
              <a:ext uri="{FF2B5EF4-FFF2-40B4-BE49-F238E27FC236}">
                <a16:creationId xmlns:a16="http://schemas.microsoft.com/office/drawing/2014/main" id="{1062F82E-E69A-4DAE-A17B-CA27D5315288}"/>
              </a:ext>
            </a:extLst>
          </p:cNvPr>
          <p:cNvSpPr/>
          <p:nvPr userDrawn="1"/>
        </p:nvSpPr>
        <p:spPr>
          <a:xfrm>
            <a:off x="6133719" y="2220948"/>
            <a:ext cx="6056763" cy="3070130"/>
          </a:xfrm>
          <a:custGeom>
            <a:avLst/>
            <a:gdLst>
              <a:gd name="connsiteX0" fmla="*/ 3109738 w 3105150"/>
              <a:gd name="connsiteY0" fmla="*/ 29759 h 2133600"/>
              <a:gd name="connsiteX1" fmla="*/ 2096278 w 3105150"/>
              <a:gd name="connsiteY1" fmla="*/ 75479 h 2133600"/>
              <a:gd name="connsiteX2" fmla="*/ 1303798 w 3105150"/>
              <a:gd name="connsiteY2" fmla="*/ 301221 h 2133600"/>
              <a:gd name="connsiteX3" fmla="*/ 583708 w 3105150"/>
              <a:gd name="connsiteY3" fmla="*/ 296459 h 2133600"/>
              <a:gd name="connsiteX4" fmla="*/ 147463 w 3105150"/>
              <a:gd name="connsiteY4" fmla="*/ 159299 h 2133600"/>
              <a:gd name="connsiteX5" fmla="*/ 49356 w 3105150"/>
              <a:gd name="connsiteY5" fmla="*/ 337416 h 2133600"/>
              <a:gd name="connsiteX6" fmla="*/ 133176 w 3105150"/>
              <a:gd name="connsiteY6" fmla="*/ 1616624 h 2133600"/>
              <a:gd name="connsiteX7" fmla="*/ 96981 w 3105150"/>
              <a:gd name="connsiteY7" fmla="*/ 1862369 h 2133600"/>
              <a:gd name="connsiteX8" fmla="*/ 412258 w 3105150"/>
              <a:gd name="connsiteY8" fmla="*/ 1923329 h 2133600"/>
              <a:gd name="connsiteX9" fmla="*/ 2157238 w 3105150"/>
              <a:gd name="connsiteY9" fmla="*/ 1743307 h 2133600"/>
              <a:gd name="connsiteX10" fmla="*/ 2988771 w 3105150"/>
              <a:gd name="connsiteY10" fmla="*/ 2118592 h 2133600"/>
              <a:gd name="connsiteX11" fmla="*/ 3110691 w 3105150"/>
              <a:gd name="connsiteY11" fmla="*/ 2133832 h 2133600"/>
              <a:gd name="connsiteX12" fmla="*/ 3110691 w 3105150"/>
              <a:gd name="connsiteY12" fmla="*/ 29759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05150" h="2133600">
                <a:moveTo>
                  <a:pt x="3109738" y="29759"/>
                </a:moveTo>
                <a:cubicBezTo>
                  <a:pt x="2773506" y="-21676"/>
                  <a:pt x="2426796" y="-6436"/>
                  <a:pt x="2096278" y="75479"/>
                </a:cubicBezTo>
                <a:cubicBezTo>
                  <a:pt x="1829578" y="141201"/>
                  <a:pt x="1573356" y="250739"/>
                  <a:pt x="1303798" y="301221"/>
                </a:cubicBezTo>
                <a:cubicBezTo>
                  <a:pt x="1066626" y="345989"/>
                  <a:pt x="820881" y="344084"/>
                  <a:pt x="583708" y="296459"/>
                </a:cubicBezTo>
                <a:cubicBezTo>
                  <a:pt x="432261" y="265979"/>
                  <a:pt x="288433" y="218354"/>
                  <a:pt x="147463" y="159299"/>
                </a:cubicBezTo>
                <a:cubicBezTo>
                  <a:pt x="107458" y="213591"/>
                  <a:pt x="74121" y="272646"/>
                  <a:pt x="49356" y="337416"/>
                </a:cubicBezTo>
                <a:cubicBezTo>
                  <a:pt x="-103044" y="742229"/>
                  <a:pt x="147463" y="1185141"/>
                  <a:pt x="133176" y="1616624"/>
                </a:cubicBezTo>
                <a:cubicBezTo>
                  <a:pt x="130318" y="1701396"/>
                  <a:pt x="116983" y="1782359"/>
                  <a:pt x="96981" y="1862369"/>
                </a:cubicBezTo>
                <a:cubicBezTo>
                  <a:pt x="199851" y="1892849"/>
                  <a:pt x="304626" y="1915709"/>
                  <a:pt x="412258" y="1923329"/>
                </a:cubicBezTo>
                <a:cubicBezTo>
                  <a:pt x="1000903" y="1966191"/>
                  <a:pt x="1591453" y="1573761"/>
                  <a:pt x="2157238" y="1743307"/>
                </a:cubicBezTo>
                <a:cubicBezTo>
                  <a:pt x="2449656" y="1830936"/>
                  <a:pt x="2689686" y="2059536"/>
                  <a:pt x="2988771" y="2118592"/>
                </a:cubicBezTo>
                <a:cubicBezTo>
                  <a:pt x="3028776" y="2126211"/>
                  <a:pt x="3069733" y="2130974"/>
                  <a:pt x="3110691" y="2133832"/>
                </a:cubicBezTo>
                <a:lnTo>
                  <a:pt x="3110691" y="29759"/>
                </a:lnTo>
                <a:close/>
              </a:path>
            </a:pathLst>
          </a:custGeom>
          <a:gradFill>
            <a:gsLst>
              <a:gs pos="100000">
                <a:schemeClr val="accent1">
                  <a:lumMod val="75000"/>
                </a:schemeClr>
              </a:gs>
              <a:gs pos="0">
                <a:schemeClr val="accent2">
                  <a:lumMod val="75000"/>
                </a:schemeClr>
              </a:gs>
            </a:gsLst>
            <a:lin ang="5400000" scaled="1"/>
          </a:gradFill>
          <a:ln w="9525" cap="flat">
            <a:noFill/>
            <a:prstDash val="solid"/>
            <a:miter/>
          </a:ln>
        </p:spPr>
        <p:txBody>
          <a:bodyPr rtlCol="0" anchor="ctr"/>
          <a:lstStyle/>
          <a:p>
            <a:endParaRPr lang="zh-CN" altLang="en-US"/>
          </a:p>
        </p:txBody>
      </p:sp>
      <p:sp>
        <p:nvSpPr>
          <p:cNvPr id="8" name="任意多边形: 形状 7">
            <a:extLst>
              <a:ext uri="{FF2B5EF4-FFF2-40B4-BE49-F238E27FC236}">
                <a16:creationId xmlns:a16="http://schemas.microsoft.com/office/drawing/2014/main" id="{EEC607C1-A576-45B2-92BD-7A391CA1EEA6}"/>
              </a:ext>
            </a:extLst>
          </p:cNvPr>
          <p:cNvSpPr/>
          <p:nvPr userDrawn="1"/>
        </p:nvSpPr>
        <p:spPr>
          <a:xfrm>
            <a:off x="5559287" y="5452712"/>
            <a:ext cx="6632713" cy="794944"/>
          </a:xfrm>
          <a:custGeom>
            <a:avLst/>
            <a:gdLst>
              <a:gd name="connsiteX0" fmla="*/ 3404235 w 3400425"/>
              <a:gd name="connsiteY0" fmla="*/ 195561 h 552450"/>
              <a:gd name="connsiteX1" fmla="*/ 2930843 w 3400425"/>
              <a:gd name="connsiteY1" fmla="*/ 115551 h 552450"/>
              <a:gd name="connsiteX2" fmla="*/ 2428875 w 3400425"/>
              <a:gd name="connsiteY2" fmla="*/ 245091 h 552450"/>
              <a:gd name="connsiteX3" fmla="*/ 1395413 w 3400425"/>
              <a:gd name="connsiteY3" fmla="*/ 168891 h 552450"/>
              <a:gd name="connsiteX4" fmla="*/ 818198 w 3400425"/>
              <a:gd name="connsiteY4" fmla="*/ 299 h 552450"/>
              <a:gd name="connsiteX5" fmla="*/ 155258 w 3400425"/>
              <a:gd name="connsiteY5" fmla="*/ 142221 h 552450"/>
              <a:gd name="connsiteX6" fmla="*/ 0 w 3400425"/>
              <a:gd name="connsiteY6" fmla="*/ 388919 h 552450"/>
              <a:gd name="connsiteX7" fmla="*/ 322898 w 3400425"/>
              <a:gd name="connsiteY7" fmla="*/ 366059 h 552450"/>
              <a:gd name="connsiteX8" fmla="*/ 1430655 w 3400425"/>
              <a:gd name="connsiteY8" fmla="*/ 425114 h 552450"/>
              <a:gd name="connsiteX9" fmla="*/ 2424113 w 3400425"/>
              <a:gd name="connsiteY9" fmla="*/ 529889 h 552450"/>
              <a:gd name="connsiteX10" fmla="*/ 3404235 w 3400425"/>
              <a:gd name="connsiteY10" fmla="*/ 552749 h 552450"/>
              <a:gd name="connsiteX11" fmla="*/ 3404235 w 3400425"/>
              <a:gd name="connsiteY11" fmla="*/ 195561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00425" h="552450">
                <a:moveTo>
                  <a:pt x="3404235" y="195561"/>
                </a:moveTo>
                <a:cubicBezTo>
                  <a:pt x="3248025" y="146984"/>
                  <a:pt x="3091815" y="104121"/>
                  <a:pt x="2930843" y="115551"/>
                </a:cubicBezTo>
                <a:cubicBezTo>
                  <a:pt x="2757488" y="127934"/>
                  <a:pt x="2596515" y="202229"/>
                  <a:pt x="2428875" y="245091"/>
                </a:cubicBezTo>
                <a:cubicBezTo>
                  <a:pt x="2088833" y="332721"/>
                  <a:pt x="1724978" y="288906"/>
                  <a:pt x="1395413" y="168891"/>
                </a:cubicBezTo>
                <a:cubicBezTo>
                  <a:pt x="1205865" y="100311"/>
                  <a:pt x="1020128" y="6014"/>
                  <a:pt x="818198" y="299"/>
                </a:cubicBezTo>
                <a:cubicBezTo>
                  <a:pt x="591503" y="-6369"/>
                  <a:pt x="378142" y="100311"/>
                  <a:pt x="155258" y="142221"/>
                </a:cubicBezTo>
                <a:cubicBezTo>
                  <a:pt x="105727" y="225089"/>
                  <a:pt x="53340" y="307004"/>
                  <a:pt x="0" y="388919"/>
                </a:cubicBezTo>
                <a:cubicBezTo>
                  <a:pt x="107632" y="383204"/>
                  <a:pt x="215265" y="372726"/>
                  <a:pt x="322898" y="366059"/>
                </a:cubicBezTo>
                <a:cubicBezTo>
                  <a:pt x="692468" y="343199"/>
                  <a:pt x="1063943" y="372726"/>
                  <a:pt x="1430655" y="425114"/>
                </a:cubicBezTo>
                <a:cubicBezTo>
                  <a:pt x="1761173" y="471786"/>
                  <a:pt x="2090738" y="536556"/>
                  <a:pt x="2424113" y="529889"/>
                </a:cubicBezTo>
                <a:cubicBezTo>
                  <a:pt x="2752725" y="523221"/>
                  <a:pt x="3096578" y="448926"/>
                  <a:pt x="3404235" y="552749"/>
                </a:cubicBezTo>
                <a:lnTo>
                  <a:pt x="3404235" y="195561"/>
                </a:lnTo>
                <a:close/>
              </a:path>
            </a:pathLst>
          </a:custGeom>
          <a:gradFill>
            <a:gsLst>
              <a:gs pos="100000">
                <a:schemeClr val="accent1">
                  <a:lumMod val="75000"/>
                </a:schemeClr>
              </a:gs>
              <a:gs pos="0">
                <a:schemeClr val="accent2">
                  <a:lumMod val="75000"/>
                </a:schemeClr>
              </a:gs>
            </a:gsLst>
            <a:lin ang="5400000" scaled="1"/>
          </a:gradFill>
          <a:ln w="9525"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BCC2980E-878F-4DA2-9A9F-1ACA27733898}"/>
              </a:ext>
            </a:extLst>
          </p:cNvPr>
          <p:cNvSpPr/>
          <p:nvPr userDrawn="1"/>
        </p:nvSpPr>
        <p:spPr>
          <a:xfrm>
            <a:off x="10036833" y="435397"/>
            <a:ext cx="2155167" cy="534532"/>
          </a:xfrm>
          <a:custGeom>
            <a:avLst/>
            <a:gdLst>
              <a:gd name="connsiteX0" fmla="*/ 0 w 1104900"/>
              <a:gd name="connsiteY0" fmla="*/ 248603 h 371475"/>
              <a:gd name="connsiteX1" fmla="*/ 1108710 w 1104900"/>
              <a:gd name="connsiteY1" fmla="*/ 379095 h 371475"/>
              <a:gd name="connsiteX2" fmla="*/ 1108710 w 1104900"/>
              <a:gd name="connsiteY2" fmla="*/ 115253 h 371475"/>
              <a:gd name="connsiteX3" fmla="*/ 474345 w 1104900"/>
              <a:gd name="connsiteY3" fmla="*/ 71438 h 371475"/>
              <a:gd name="connsiteX4" fmla="*/ 53340 w 1104900"/>
              <a:gd name="connsiteY4" fmla="*/ 0 h 371475"/>
              <a:gd name="connsiteX5" fmla="*/ 0 w 1104900"/>
              <a:gd name="connsiteY5" fmla="*/ 248603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4900" h="371475">
                <a:moveTo>
                  <a:pt x="0" y="248603"/>
                </a:moveTo>
                <a:cubicBezTo>
                  <a:pt x="383857" y="258128"/>
                  <a:pt x="772478" y="239078"/>
                  <a:pt x="1108710" y="379095"/>
                </a:cubicBezTo>
                <a:lnTo>
                  <a:pt x="1108710" y="115253"/>
                </a:lnTo>
                <a:cubicBezTo>
                  <a:pt x="905828" y="70485"/>
                  <a:pt x="684847" y="80010"/>
                  <a:pt x="474345" y="71438"/>
                </a:cubicBezTo>
                <a:cubicBezTo>
                  <a:pt x="335280" y="65723"/>
                  <a:pt x="186690" y="45720"/>
                  <a:pt x="53340" y="0"/>
                </a:cubicBezTo>
                <a:cubicBezTo>
                  <a:pt x="54293" y="86678"/>
                  <a:pt x="34290" y="169545"/>
                  <a:pt x="0" y="248603"/>
                </a:cubicBezTo>
                <a:close/>
              </a:path>
            </a:pathLst>
          </a:custGeom>
          <a:gradFill>
            <a:gsLst>
              <a:gs pos="100000">
                <a:schemeClr val="accent1">
                  <a:lumMod val="75000"/>
                </a:schemeClr>
              </a:gs>
              <a:gs pos="0">
                <a:schemeClr val="accent2">
                  <a:lumMod val="75000"/>
                </a:schemeClr>
              </a:gs>
            </a:gsLst>
            <a:lin ang="5400000" scaled="1"/>
          </a:gradFill>
          <a:ln w="9525"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DB85DC4B-6B73-418B-AFBD-22A9DA97AF49}"/>
              </a:ext>
            </a:extLst>
          </p:cNvPr>
          <p:cNvSpPr/>
          <p:nvPr userDrawn="1"/>
        </p:nvSpPr>
        <p:spPr>
          <a:xfrm>
            <a:off x="7463638" y="1478883"/>
            <a:ext cx="4719073" cy="424884"/>
          </a:xfrm>
          <a:custGeom>
            <a:avLst/>
            <a:gdLst>
              <a:gd name="connsiteX0" fmla="*/ 1489710 w 2419350"/>
              <a:gd name="connsiteY0" fmla="*/ 265425 h 295275"/>
              <a:gd name="connsiteX1" fmla="*/ 2106930 w 2419350"/>
              <a:gd name="connsiteY1" fmla="*/ 220657 h 295275"/>
              <a:gd name="connsiteX2" fmla="*/ 2427923 w 2419350"/>
              <a:gd name="connsiteY2" fmla="*/ 276855 h 295275"/>
              <a:gd name="connsiteX3" fmla="*/ 2427923 w 2419350"/>
              <a:gd name="connsiteY3" fmla="*/ 11107 h 295275"/>
              <a:gd name="connsiteX4" fmla="*/ 1508760 w 2419350"/>
              <a:gd name="connsiteY4" fmla="*/ 105405 h 295275"/>
              <a:gd name="connsiteX5" fmla="*/ 790575 w 2419350"/>
              <a:gd name="connsiteY5" fmla="*/ 16822 h 295275"/>
              <a:gd name="connsiteX6" fmla="*/ 55245 w 2419350"/>
              <a:gd name="connsiteY6" fmla="*/ 273997 h 295275"/>
              <a:gd name="connsiteX7" fmla="*/ 0 w 2419350"/>
              <a:gd name="connsiteY7" fmla="*/ 295905 h 295275"/>
              <a:gd name="connsiteX8" fmla="*/ 319088 w 2419350"/>
              <a:gd name="connsiteY8" fmla="*/ 300667 h 295275"/>
              <a:gd name="connsiteX9" fmla="*/ 1489710 w 2419350"/>
              <a:gd name="connsiteY9" fmla="*/ 2654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9350" h="295275">
                <a:moveTo>
                  <a:pt x="1489710" y="265425"/>
                </a:moveTo>
                <a:cubicBezTo>
                  <a:pt x="1695450" y="240660"/>
                  <a:pt x="1901190" y="201607"/>
                  <a:pt x="2106930" y="220657"/>
                </a:cubicBezTo>
                <a:cubicBezTo>
                  <a:pt x="2215515" y="231135"/>
                  <a:pt x="2321243" y="256852"/>
                  <a:pt x="2427923" y="276855"/>
                </a:cubicBezTo>
                <a:lnTo>
                  <a:pt x="2427923" y="11107"/>
                </a:lnTo>
                <a:cubicBezTo>
                  <a:pt x="2132648" y="-38423"/>
                  <a:pt x="1817370" y="93022"/>
                  <a:pt x="1508760" y="105405"/>
                </a:cubicBezTo>
                <a:cubicBezTo>
                  <a:pt x="1267778" y="114930"/>
                  <a:pt x="1029653" y="51112"/>
                  <a:pt x="790575" y="16822"/>
                </a:cubicBezTo>
                <a:cubicBezTo>
                  <a:pt x="556260" y="125407"/>
                  <a:pt x="298133" y="182557"/>
                  <a:pt x="55245" y="273997"/>
                </a:cubicBezTo>
                <a:cubicBezTo>
                  <a:pt x="37147" y="280665"/>
                  <a:pt x="18097" y="288285"/>
                  <a:pt x="0" y="295905"/>
                </a:cubicBezTo>
                <a:cubicBezTo>
                  <a:pt x="106680" y="297810"/>
                  <a:pt x="212408" y="298762"/>
                  <a:pt x="319088" y="300667"/>
                </a:cubicBezTo>
                <a:cubicBezTo>
                  <a:pt x="710565" y="306382"/>
                  <a:pt x="1102043" y="312097"/>
                  <a:pt x="1489710" y="265425"/>
                </a:cubicBezTo>
                <a:close/>
              </a:path>
            </a:pathLst>
          </a:custGeom>
          <a:gradFill>
            <a:gsLst>
              <a:gs pos="100000">
                <a:schemeClr val="accent1">
                  <a:lumMod val="75000"/>
                </a:schemeClr>
              </a:gs>
              <a:gs pos="0">
                <a:schemeClr val="accent2">
                  <a:lumMod val="75000"/>
                </a:schemeClr>
              </a:gs>
            </a:gsLst>
            <a:lin ang="5400000" scaled="1"/>
          </a:gradFill>
          <a:ln w="9525" cap="flat">
            <a:noFill/>
            <a:prstDash val="solid"/>
            <a:miter/>
          </a:ln>
        </p:spPr>
        <p:txBody>
          <a:bodyPr rtlCol="0" anchor="ctr"/>
          <a:lstStyle/>
          <a:p>
            <a:endParaRPr lang="zh-CN" altLang="en-US"/>
          </a:p>
        </p:txBody>
      </p:sp>
      <p:sp>
        <p:nvSpPr>
          <p:cNvPr id="11" name="任意多边形: 形状 10">
            <a:extLst>
              <a:ext uri="{FF2B5EF4-FFF2-40B4-BE49-F238E27FC236}">
                <a16:creationId xmlns:a16="http://schemas.microsoft.com/office/drawing/2014/main" id="{FA9A3F93-61D4-4436-9A43-2AA3EB7B3084}"/>
              </a:ext>
            </a:extLst>
          </p:cNvPr>
          <p:cNvSpPr/>
          <p:nvPr userDrawn="1"/>
        </p:nvSpPr>
        <p:spPr>
          <a:xfrm>
            <a:off x="4927600" y="1032976"/>
            <a:ext cx="4904863" cy="5825024"/>
          </a:xfrm>
          <a:custGeom>
            <a:avLst/>
            <a:gdLst>
              <a:gd name="connsiteX0" fmla="*/ 578168 w 2514600"/>
              <a:gd name="connsiteY0" fmla="*/ 3919538 h 4048125"/>
              <a:gd name="connsiteX1" fmla="*/ 1050608 w 2514600"/>
              <a:gd name="connsiteY1" fmla="*/ 2551748 h 4048125"/>
              <a:gd name="connsiteX2" fmla="*/ 836295 w 2514600"/>
              <a:gd name="connsiteY2" fmla="*/ 1287780 h 4048125"/>
              <a:gd name="connsiteX3" fmla="*/ 1462088 w 2514600"/>
              <a:gd name="connsiteY3" fmla="*/ 641985 h 4048125"/>
              <a:gd name="connsiteX4" fmla="*/ 2290763 w 2514600"/>
              <a:gd name="connsiteY4" fmla="*/ 229552 h 4048125"/>
              <a:gd name="connsiteX5" fmla="*/ 2520315 w 2514600"/>
              <a:gd name="connsiteY5" fmla="*/ 0 h 4048125"/>
              <a:gd name="connsiteX6" fmla="*/ 2223135 w 2514600"/>
              <a:gd name="connsiteY6" fmla="*/ 259080 h 4048125"/>
              <a:gd name="connsiteX7" fmla="*/ 1356360 w 2514600"/>
              <a:gd name="connsiteY7" fmla="*/ 583883 h 4048125"/>
              <a:gd name="connsiteX8" fmla="*/ 667703 w 2514600"/>
              <a:gd name="connsiteY8" fmla="*/ 1162050 h 4048125"/>
              <a:gd name="connsiteX9" fmla="*/ 751523 w 2514600"/>
              <a:gd name="connsiteY9" fmla="*/ 2441258 h 4048125"/>
              <a:gd name="connsiteX10" fmla="*/ 140970 w 2514600"/>
              <a:gd name="connsiteY10" fmla="*/ 3753803 h 4048125"/>
              <a:gd name="connsiteX11" fmla="*/ 0 w 2514600"/>
              <a:gd name="connsiteY11" fmla="*/ 4048125 h 4048125"/>
              <a:gd name="connsiteX12" fmla="*/ 525780 w 2514600"/>
              <a:gd name="connsiteY12" fmla="*/ 4048125 h 4048125"/>
              <a:gd name="connsiteX13" fmla="*/ 578168 w 2514600"/>
              <a:gd name="connsiteY13" fmla="*/ 3919538 h 404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4600" h="4048125">
                <a:moveTo>
                  <a:pt x="578168" y="3919538"/>
                </a:moveTo>
                <a:cubicBezTo>
                  <a:pt x="780098" y="3474720"/>
                  <a:pt x="1083945" y="3038475"/>
                  <a:pt x="1050608" y="2551748"/>
                </a:cubicBezTo>
                <a:cubicBezTo>
                  <a:pt x="1021080" y="2120265"/>
                  <a:pt x="725805" y="1705928"/>
                  <a:pt x="836295" y="1287780"/>
                </a:cubicBezTo>
                <a:cubicBezTo>
                  <a:pt x="915353" y="988695"/>
                  <a:pt x="1184910" y="780097"/>
                  <a:pt x="1462088" y="641985"/>
                </a:cubicBezTo>
                <a:cubicBezTo>
                  <a:pt x="1738313" y="503873"/>
                  <a:pt x="2041208" y="411480"/>
                  <a:pt x="2290763" y="229552"/>
                </a:cubicBezTo>
                <a:cubicBezTo>
                  <a:pt x="2377440" y="166688"/>
                  <a:pt x="2456498" y="87630"/>
                  <a:pt x="2520315" y="0"/>
                </a:cubicBezTo>
                <a:cubicBezTo>
                  <a:pt x="2440305" y="103823"/>
                  <a:pt x="2335530" y="193358"/>
                  <a:pt x="2223135" y="259080"/>
                </a:cubicBezTo>
                <a:cubicBezTo>
                  <a:pt x="1956435" y="415290"/>
                  <a:pt x="1645920" y="475298"/>
                  <a:pt x="1356360" y="583883"/>
                </a:cubicBezTo>
                <a:cubicBezTo>
                  <a:pt x="1066800" y="692468"/>
                  <a:pt x="776288" y="872490"/>
                  <a:pt x="667703" y="1162050"/>
                </a:cubicBezTo>
                <a:cubicBezTo>
                  <a:pt x="515303" y="1566863"/>
                  <a:pt x="765810" y="2009775"/>
                  <a:pt x="751523" y="2441258"/>
                </a:cubicBezTo>
                <a:cubicBezTo>
                  <a:pt x="734378" y="2929890"/>
                  <a:pt x="386715" y="3331845"/>
                  <a:pt x="140970" y="3753803"/>
                </a:cubicBezTo>
                <a:cubicBezTo>
                  <a:pt x="86678" y="3845243"/>
                  <a:pt x="39053" y="3944303"/>
                  <a:pt x="0" y="4048125"/>
                </a:cubicBezTo>
                <a:lnTo>
                  <a:pt x="525780" y="4048125"/>
                </a:lnTo>
                <a:cubicBezTo>
                  <a:pt x="541973" y="4004310"/>
                  <a:pt x="559118" y="3961448"/>
                  <a:pt x="578168" y="3919538"/>
                </a:cubicBezTo>
                <a:close/>
              </a:path>
            </a:pathLst>
          </a:custGeom>
          <a:solidFill>
            <a:schemeClr val="accent3"/>
          </a:solidFill>
          <a:ln w="9525" cap="flat">
            <a:noFill/>
            <a:prstDash val="solid"/>
            <a:miter/>
          </a:ln>
        </p:spPr>
        <p:txBody>
          <a:bodyPr rtlCol="0" anchor="ctr"/>
          <a:lstStyle/>
          <a:p>
            <a:endParaRPr lang="zh-CN" altLang="en-US"/>
          </a:p>
        </p:txBody>
      </p:sp>
      <p:sp>
        <p:nvSpPr>
          <p:cNvPr id="12" name="任意多边形: 形状 11">
            <a:extLst>
              <a:ext uri="{FF2B5EF4-FFF2-40B4-BE49-F238E27FC236}">
                <a16:creationId xmlns:a16="http://schemas.microsoft.com/office/drawing/2014/main" id="{4B107F28-6D82-46F7-8A77-7FFB8B62AFFD}"/>
              </a:ext>
            </a:extLst>
          </p:cNvPr>
          <p:cNvSpPr/>
          <p:nvPr userDrawn="1"/>
        </p:nvSpPr>
        <p:spPr>
          <a:xfrm>
            <a:off x="5691197" y="1032976"/>
            <a:ext cx="4143123" cy="5825024"/>
          </a:xfrm>
          <a:custGeom>
            <a:avLst/>
            <a:gdLst>
              <a:gd name="connsiteX0" fmla="*/ 1830705 w 2124075"/>
              <a:gd name="connsiteY0" fmla="*/ 259080 h 4048125"/>
              <a:gd name="connsiteX1" fmla="*/ 1350645 w 2124075"/>
              <a:gd name="connsiteY1" fmla="*/ 457200 h 4048125"/>
              <a:gd name="connsiteX2" fmla="*/ 936307 w 2124075"/>
              <a:gd name="connsiteY2" fmla="*/ 641985 h 4048125"/>
              <a:gd name="connsiteX3" fmla="*/ 310515 w 2124075"/>
              <a:gd name="connsiteY3" fmla="*/ 1287780 h 4048125"/>
              <a:gd name="connsiteX4" fmla="*/ 524828 w 2124075"/>
              <a:gd name="connsiteY4" fmla="*/ 2551748 h 4048125"/>
              <a:gd name="connsiteX5" fmla="*/ 52388 w 2124075"/>
              <a:gd name="connsiteY5" fmla="*/ 3919538 h 4048125"/>
              <a:gd name="connsiteX6" fmla="*/ 0 w 2124075"/>
              <a:gd name="connsiteY6" fmla="*/ 4048125 h 4048125"/>
              <a:gd name="connsiteX7" fmla="*/ 133350 w 2124075"/>
              <a:gd name="connsiteY7" fmla="*/ 4048125 h 4048125"/>
              <a:gd name="connsiteX8" fmla="*/ 185738 w 2124075"/>
              <a:gd name="connsiteY8" fmla="*/ 3919538 h 4048125"/>
              <a:gd name="connsiteX9" fmla="*/ 658178 w 2124075"/>
              <a:gd name="connsiteY9" fmla="*/ 2551748 h 4048125"/>
              <a:gd name="connsiteX10" fmla="*/ 443865 w 2124075"/>
              <a:gd name="connsiteY10" fmla="*/ 1287780 h 4048125"/>
              <a:gd name="connsiteX11" fmla="*/ 1069658 w 2124075"/>
              <a:gd name="connsiteY11" fmla="*/ 641985 h 4048125"/>
              <a:gd name="connsiteX12" fmla="*/ 1898333 w 2124075"/>
              <a:gd name="connsiteY12" fmla="*/ 229552 h 4048125"/>
              <a:gd name="connsiteX13" fmla="*/ 2127885 w 2124075"/>
              <a:gd name="connsiteY13" fmla="*/ 0 h 4048125"/>
              <a:gd name="connsiteX14" fmla="*/ 1830705 w 2124075"/>
              <a:gd name="connsiteY14" fmla="*/ 259080 h 404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24075" h="4048125">
                <a:moveTo>
                  <a:pt x="1830705" y="259080"/>
                </a:moveTo>
                <a:cubicBezTo>
                  <a:pt x="1680210" y="346710"/>
                  <a:pt x="1516380" y="403860"/>
                  <a:pt x="1350645" y="457200"/>
                </a:cubicBezTo>
                <a:cubicBezTo>
                  <a:pt x="1212533" y="518160"/>
                  <a:pt x="1071563" y="575310"/>
                  <a:pt x="936307" y="641985"/>
                </a:cubicBezTo>
                <a:cubicBezTo>
                  <a:pt x="660083" y="780097"/>
                  <a:pt x="389573" y="988695"/>
                  <a:pt x="310515" y="1287780"/>
                </a:cubicBezTo>
                <a:cubicBezTo>
                  <a:pt x="200025" y="1705928"/>
                  <a:pt x="496253" y="2120265"/>
                  <a:pt x="524828" y="2551748"/>
                </a:cubicBezTo>
                <a:cubicBezTo>
                  <a:pt x="558165" y="3039428"/>
                  <a:pt x="254318" y="3474720"/>
                  <a:pt x="52388" y="3919538"/>
                </a:cubicBezTo>
                <a:cubicBezTo>
                  <a:pt x="33338" y="3960495"/>
                  <a:pt x="16193" y="4004310"/>
                  <a:pt x="0" y="4048125"/>
                </a:cubicBezTo>
                <a:lnTo>
                  <a:pt x="133350" y="4048125"/>
                </a:lnTo>
                <a:cubicBezTo>
                  <a:pt x="149543" y="4004310"/>
                  <a:pt x="166688" y="3961448"/>
                  <a:pt x="185738" y="3919538"/>
                </a:cubicBezTo>
                <a:cubicBezTo>
                  <a:pt x="387668" y="3474720"/>
                  <a:pt x="691515" y="3038475"/>
                  <a:pt x="658178" y="2551748"/>
                </a:cubicBezTo>
                <a:cubicBezTo>
                  <a:pt x="628650" y="2120265"/>
                  <a:pt x="333375" y="1705928"/>
                  <a:pt x="443865" y="1287780"/>
                </a:cubicBezTo>
                <a:cubicBezTo>
                  <a:pt x="522923" y="988695"/>
                  <a:pt x="792480" y="780097"/>
                  <a:pt x="1069658" y="641985"/>
                </a:cubicBezTo>
                <a:cubicBezTo>
                  <a:pt x="1345883" y="503873"/>
                  <a:pt x="1648778" y="411480"/>
                  <a:pt x="1898333" y="229552"/>
                </a:cubicBezTo>
                <a:cubicBezTo>
                  <a:pt x="1985010" y="166688"/>
                  <a:pt x="2064067" y="87630"/>
                  <a:pt x="2127885" y="0"/>
                </a:cubicBezTo>
                <a:cubicBezTo>
                  <a:pt x="2047875" y="103823"/>
                  <a:pt x="1943100" y="193358"/>
                  <a:pt x="1830705" y="259080"/>
                </a:cubicBezTo>
                <a:close/>
              </a:path>
            </a:pathLst>
          </a:custGeom>
          <a:solidFill>
            <a:schemeClr val="accent3">
              <a:lumMod val="75000"/>
            </a:schemeClr>
          </a:solidFill>
          <a:ln w="9525" cap="flat">
            <a:noFill/>
            <a:prstDash val="solid"/>
            <a:miter/>
          </a:ln>
        </p:spPr>
        <p:txBody>
          <a:bodyPr rtlCol="0" anchor="ctr"/>
          <a:lstStyle/>
          <a:p>
            <a:endParaRPr lang="zh-CN" altLang="en-US"/>
          </a:p>
        </p:txBody>
      </p:sp>
      <p:sp>
        <p:nvSpPr>
          <p:cNvPr id="14" name="任意多边形: 形状 13">
            <a:extLst>
              <a:ext uri="{FF2B5EF4-FFF2-40B4-BE49-F238E27FC236}">
                <a16:creationId xmlns:a16="http://schemas.microsoft.com/office/drawing/2014/main" id="{026FB1FA-456F-401A-81C9-9EFFE22DB0A7}"/>
              </a:ext>
            </a:extLst>
          </p:cNvPr>
          <p:cNvSpPr/>
          <p:nvPr userDrawn="1"/>
        </p:nvSpPr>
        <p:spPr>
          <a:xfrm>
            <a:off x="11735773" y="155352"/>
            <a:ext cx="152010" cy="152010"/>
          </a:xfrm>
          <a:custGeom>
            <a:avLst/>
            <a:gdLst>
              <a:gd name="connsiteX0" fmla="*/ 6429 w 104775"/>
              <a:gd name="connsiteY0" fmla="*/ 63579 h 104775"/>
              <a:gd name="connsiteX1" fmla="*/ 23574 w 104775"/>
              <a:gd name="connsiteY1" fmla="*/ 66437 h 104775"/>
              <a:gd name="connsiteX2" fmla="*/ 45482 w 104775"/>
              <a:gd name="connsiteY2" fmla="*/ 88344 h 104775"/>
              <a:gd name="connsiteX3" fmla="*/ 48339 w 104775"/>
              <a:gd name="connsiteY3" fmla="*/ 105489 h 104775"/>
              <a:gd name="connsiteX4" fmla="*/ 63579 w 104775"/>
              <a:gd name="connsiteY4" fmla="*/ 105489 h 104775"/>
              <a:gd name="connsiteX5" fmla="*/ 66437 w 104775"/>
              <a:gd name="connsiteY5" fmla="*/ 88344 h 104775"/>
              <a:gd name="connsiteX6" fmla="*/ 88344 w 104775"/>
              <a:gd name="connsiteY6" fmla="*/ 66437 h 104775"/>
              <a:gd name="connsiteX7" fmla="*/ 105489 w 104775"/>
              <a:gd name="connsiteY7" fmla="*/ 63579 h 104775"/>
              <a:gd name="connsiteX8" fmla="*/ 105489 w 104775"/>
              <a:gd name="connsiteY8" fmla="*/ 48339 h 104775"/>
              <a:gd name="connsiteX9" fmla="*/ 88344 w 104775"/>
              <a:gd name="connsiteY9" fmla="*/ 45482 h 104775"/>
              <a:gd name="connsiteX10" fmla="*/ 66437 w 104775"/>
              <a:gd name="connsiteY10" fmla="*/ 23574 h 104775"/>
              <a:gd name="connsiteX11" fmla="*/ 63579 w 104775"/>
              <a:gd name="connsiteY11" fmla="*/ 6429 h 104775"/>
              <a:gd name="connsiteX12" fmla="*/ 48339 w 104775"/>
              <a:gd name="connsiteY12" fmla="*/ 6429 h 104775"/>
              <a:gd name="connsiteX13" fmla="*/ 45482 w 104775"/>
              <a:gd name="connsiteY13" fmla="*/ 23574 h 104775"/>
              <a:gd name="connsiteX14" fmla="*/ 23574 w 104775"/>
              <a:gd name="connsiteY14" fmla="*/ 45482 h 104775"/>
              <a:gd name="connsiteX15" fmla="*/ 6429 w 104775"/>
              <a:gd name="connsiteY15" fmla="*/ 48339 h 104775"/>
              <a:gd name="connsiteX16" fmla="*/ 6429 w 104775"/>
              <a:gd name="connsiteY16" fmla="*/ 6357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6429" y="63579"/>
                </a:move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4062" y="62627"/>
                  <a:pt x="114062" y="49292"/>
                  <a:pt x="105489" y="48339"/>
                </a:cubicBezTo>
                <a:lnTo>
                  <a:pt x="88344" y="45482"/>
                </a:lnTo>
                <a:cubicBezTo>
                  <a:pt x="76914" y="43577"/>
                  <a:pt x="68342" y="35004"/>
                  <a:pt x="66437" y="23574"/>
                </a:cubicBezTo>
                <a:lnTo>
                  <a:pt x="63579" y="6429"/>
                </a:lnTo>
                <a:cubicBezTo>
                  <a:pt x="62627" y="-2143"/>
                  <a:pt x="49292" y="-2143"/>
                  <a:pt x="48339" y="6429"/>
                </a:cubicBezTo>
                <a:lnTo>
                  <a:pt x="45482" y="23574"/>
                </a:lnTo>
                <a:cubicBezTo>
                  <a:pt x="43577" y="35004"/>
                  <a:pt x="35004" y="43577"/>
                  <a:pt x="23574" y="45482"/>
                </a:cubicBezTo>
                <a:lnTo>
                  <a:pt x="6429" y="48339"/>
                </a:lnTo>
                <a:cubicBezTo>
                  <a:pt x="-2143" y="50244"/>
                  <a:pt x="-2143" y="62627"/>
                  <a:pt x="6429" y="63579"/>
                </a:cubicBezTo>
                <a:close/>
              </a:path>
            </a:pathLst>
          </a:custGeom>
          <a:solidFill>
            <a:schemeClr val="accent2"/>
          </a:solidFill>
          <a:ln w="9525" cap="flat">
            <a:noFill/>
            <a:prstDash val="solid"/>
            <a:miter/>
          </a:ln>
        </p:spPr>
        <p:txBody>
          <a:bodyPr rtlCol="0" anchor="ctr"/>
          <a:lstStyle/>
          <a:p>
            <a:endParaRPr lang="zh-CN" altLang="en-US"/>
          </a:p>
        </p:txBody>
      </p:sp>
      <p:sp>
        <p:nvSpPr>
          <p:cNvPr id="16" name="任意多边形: 形状 15">
            <a:extLst>
              <a:ext uri="{FF2B5EF4-FFF2-40B4-BE49-F238E27FC236}">
                <a16:creationId xmlns:a16="http://schemas.microsoft.com/office/drawing/2014/main" id="{A107F2BB-E091-4BD8-8524-6AD34C9A074E}"/>
              </a:ext>
            </a:extLst>
          </p:cNvPr>
          <p:cNvSpPr/>
          <p:nvPr userDrawn="1"/>
        </p:nvSpPr>
        <p:spPr>
          <a:xfrm>
            <a:off x="9032766" y="2045799"/>
            <a:ext cx="152010" cy="152010"/>
          </a:xfrm>
          <a:custGeom>
            <a:avLst/>
            <a:gdLst>
              <a:gd name="connsiteX0" fmla="*/ 105489 w 104775"/>
              <a:gd name="connsiteY0" fmla="*/ 48339 h 104775"/>
              <a:gd name="connsiteX1" fmla="*/ 88344 w 104775"/>
              <a:gd name="connsiteY1" fmla="*/ 45482 h 104775"/>
              <a:gd name="connsiteX2" fmla="*/ 66437 w 104775"/>
              <a:gd name="connsiteY2" fmla="*/ 23574 h 104775"/>
              <a:gd name="connsiteX3" fmla="*/ 63579 w 104775"/>
              <a:gd name="connsiteY3" fmla="*/ 6429 h 104775"/>
              <a:gd name="connsiteX4" fmla="*/ 48339 w 104775"/>
              <a:gd name="connsiteY4" fmla="*/ 6429 h 104775"/>
              <a:gd name="connsiteX5" fmla="*/ 45482 w 104775"/>
              <a:gd name="connsiteY5" fmla="*/ 23574 h 104775"/>
              <a:gd name="connsiteX6" fmla="*/ 23574 w 104775"/>
              <a:gd name="connsiteY6" fmla="*/ 45482 h 104775"/>
              <a:gd name="connsiteX7" fmla="*/ 6429 w 104775"/>
              <a:gd name="connsiteY7" fmla="*/ 48339 h 104775"/>
              <a:gd name="connsiteX8" fmla="*/ 6429 w 104775"/>
              <a:gd name="connsiteY8" fmla="*/ 63579 h 104775"/>
              <a:gd name="connsiteX9" fmla="*/ 23574 w 104775"/>
              <a:gd name="connsiteY9" fmla="*/ 66437 h 104775"/>
              <a:gd name="connsiteX10" fmla="*/ 45482 w 104775"/>
              <a:gd name="connsiteY10" fmla="*/ 88344 h 104775"/>
              <a:gd name="connsiteX11" fmla="*/ 48339 w 104775"/>
              <a:gd name="connsiteY11" fmla="*/ 105489 h 104775"/>
              <a:gd name="connsiteX12" fmla="*/ 63579 w 104775"/>
              <a:gd name="connsiteY12" fmla="*/ 105489 h 104775"/>
              <a:gd name="connsiteX13" fmla="*/ 66437 w 104775"/>
              <a:gd name="connsiteY13" fmla="*/ 88344 h 104775"/>
              <a:gd name="connsiteX14" fmla="*/ 88344 w 104775"/>
              <a:gd name="connsiteY14" fmla="*/ 66437 h 104775"/>
              <a:gd name="connsiteX15" fmla="*/ 105489 w 104775"/>
              <a:gd name="connsiteY15" fmla="*/ 63579 h 104775"/>
              <a:gd name="connsiteX16" fmla="*/ 105489 w 104775"/>
              <a:gd name="connsiteY16" fmla="*/ 4833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105489" y="48339"/>
                </a:moveTo>
                <a:lnTo>
                  <a:pt x="88344" y="45482"/>
                </a:lnTo>
                <a:cubicBezTo>
                  <a:pt x="76914" y="43577"/>
                  <a:pt x="68342" y="35004"/>
                  <a:pt x="66437" y="23574"/>
                </a:cubicBezTo>
                <a:lnTo>
                  <a:pt x="63579" y="6429"/>
                </a:lnTo>
                <a:cubicBezTo>
                  <a:pt x="62627" y="-2143"/>
                  <a:pt x="49292" y="-2143"/>
                  <a:pt x="48339" y="6429"/>
                </a:cubicBezTo>
                <a:lnTo>
                  <a:pt x="45482" y="23574"/>
                </a:lnTo>
                <a:cubicBezTo>
                  <a:pt x="43577" y="35004"/>
                  <a:pt x="35004" y="43577"/>
                  <a:pt x="23574" y="45482"/>
                </a:cubicBezTo>
                <a:lnTo>
                  <a:pt x="6429" y="48339"/>
                </a:lnTo>
                <a:cubicBezTo>
                  <a:pt x="-2143" y="49292"/>
                  <a:pt x="-2143" y="62627"/>
                  <a:pt x="6429" y="63579"/>
                </a:cubicBez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4062" y="62627"/>
                  <a:pt x="114062" y="49292"/>
                  <a:pt x="105489" y="48339"/>
                </a:cubicBezTo>
                <a:close/>
              </a:path>
            </a:pathLst>
          </a:custGeom>
          <a:solidFill>
            <a:schemeClr val="accent2">
              <a:lumMod val="60000"/>
              <a:lumOff val="40000"/>
            </a:schemeClr>
          </a:solidFill>
          <a:ln w="9525" cap="flat">
            <a:noFill/>
            <a:prstDash val="solid"/>
            <a:miter/>
          </a:ln>
        </p:spPr>
        <p:txBody>
          <a:bodyPr rtlCol="0" anchor="ctr"/>
          <a:lstStyle/>
          <a:p>
            <a:endParaRPr lang="zh-CN" altLang="en-US"/>
          </a:p>
        </p:txBody>
      </p:sp>
      <p:sp>
        <p:nvSpPr>
          <p:cNvPr id="17" name="任意多边形: 形状 16">
            <a:extLst>
              <a:ext uri="{FF2B5EF4-FFF2-40B4-BE49-F238E27FC236}">
                <a16:creationId xmlns:a16="http://schemas.microsoft.com/office/drawing/2014/main" id="{51C7CACC-69F3-40CC-BDCB-C948D5662DBB}"/>
              </a:ext>
            </a:extLst>
          </p:cNvPr>
          <p:cNvSpPr/>
          <p:nvPr userDrawn="1"/>
        </p:nvSpPr>
        <p:spPr>
          <a:xfrm>
            <a:off x="11734391" y="3017278"/>
            <a:ext cx="152010" cy="152010"/>
          </a:xfrm>
          <a:custGeom>
            <a:avLst/>
            <a:gdLst>
              <a:gd name="connsiteX0" fmla="*/ 105489 w 104775"/>
              <a:gd name="connsiteY0" fmla="*/ 48339 h 104775"/>
              <a:gd name="connsiteX1" fmla="*/ 88344 w 104775"/>
              <a:gd name="connsiteY1" fmla="*/ 45482 h 104775"/>
              <a:gd name="connsiteX2" fmla="*/ 66437 w 104775"/>
              <a:gd name="connsiteY2" fmla="*/ 23574 h 104775"/>
              <a:gd name="connsiteX3" fmla="*/ 63579 w 104775"/>
              <a:gd name="connsiteY3" fmla="*/ 6429 h 104775"/>
              <a:gd name="connsiteX4" fmla="*/ 48339 w 104775"/>
              <a:gd name="connsiteY4" fmla="*/ 6429 h 104775"/>
              <a:gd name="connsiteX5" fmla="*/ 45482 w 104775"/>
              <a:gd name="connsiteY5" fmla="*/ 23574 h 104775"/>
              <a:gd name="connsiteX6" fmla="*/ 23574 w 104775"/>
              <a:gd name="connsiteY6" fmla="*/ 45482 h 104775"/>
              <a:gd name="connsiteX7" fmla="*/ 6429 w 104775"/>
              <a:gd name="connsiteY7" fmla="*/ 48339 h 104775"/>
              <a:gd name="connsiteX8" fmla="*/ 6429 w 104775"/>
              <a:gd name="connsiteY8" fmla="*/ 63579 h 104775"/>
              <a:gd name="connsiteX9" fmla="*/ 23574 w 104775"/>
              <a:gd name="connsiteY9" fmla="*/ 66437 h 104775"/>
              <a:gd name="connsiteX10" fmla="*/ 45482 w 104775"/>
              <a:gd name="connsiteY10" fmla="*/ 88344 h 104775"/>
              <a:gd name="connsiteX11" fmla="*/ 48339 w 104775"/>
              <a:gd name="connsiteY11" fmla="*/ 105489 h 104775"/>
              <a:gd name="connsiteX12" fmla="*/ 63579 w 104775"/>
              <a:gd name="connsiteY12" fmla="*/ 105489 h 104775"/>
              <a:gd name="connsiteX13" fmla="*/ 66437 w 104775"/>
              <a:gd name="connsiteY13" fmla="*/ 88344 h 104775"/>
              <a:gd name="connsiteX14" fmla="*/ 88344 w 104775"/>
              <a:gd name="connsiteY14" fmla="*/ 66437 h 104775"/>
              <a:gd name="connsiteX15" fmla="*/ 105489 w 104775"/>
              <a:gd name="connsiteY15" fmla="*/ 63579 h 104775"/>
              <a:gd name="connsiteX16" fmla="*/ 105489 w 104775"/>
              <a:gd name="connsiteY16" fmla="*/ 4833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105489" y="48339"/>
                </a:moveTo>
                <a:lnTo>
                  <a:pt x="88344" y="45482"/>
                </a:lnTo>
                <a:cubicBezTo>
                  <a:pt x="76914" y="43577"/>
                  <a:pt x="68342" y="35004"/>
                  <a:pt x="66437" y="23574"/>
                </a:cubicBezTo>
                <a:lnTo>
                  <a:pt x="63579" y="6429"/>
                </a:lnTo>
                <a:cubicBezTo>
                  <a:pt x="62627" y="-2143"/>
                  <a:pt x="49292" y="-2143"/>
                  <a:pt x="48339" y="6429"/>
                </a:cubicBezTo>
                <a:lnTo>
                  <a:pt x="45482" y="23574"/>
                </a:lnTo>
                <a:cubicBezTo>
                  <a:pt x="43577" y="35004"/>
                  <a:pt x="35004" y="43577"/>
                  <a:pt x="23574" y="45482"/>
                </a:cubicBezTo>
                <a:lnTo>
                  <a:pt x="6429" y="48339"/>
                </a:lnTo>
                <a:cubicBezTo>
                  <a:pt x="-2143" y="49292"/>
                  <a:pt x="-2143" y="62627"/>
                  <a:pt x="6429" y="63579"/>
                </a:cubicBez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4062" y="62627"/>
                  <a:pt x="114062" y="49292"/>
                  <a:pt x="105489" y="48339"/>
                </a:cubicBezTo>
                <a:close/>
              </a:path>
            </a:pathLst>
          </a:custGeom>
          <a:solidFill>
            <a:schemeClr val="accent2">
              <a:lumMod val="60000"/>
              <a:lumOff val="40000"/>
            </a:schemeClr>
          </a:solidFill>
          <a:ln w="9525"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id="{9B8B14EA-0DAF-4FEB-8BAD-49C9BCC339DE}"/>
              </a:ext>
            </a:extLst>
          </p:cNvPr>
          <p:cNvSpPr/>
          <p:nvPr userDrawn="1"/>
        </p:nvSpPr>
        <p:spPr>
          <a:xfrm>
            <a:off x="8103795" y="6185359"/>
            <a:ext cx="152010" cy="152010"/>
          </a:xfrm>
          <a:custGeom>
            <a:avLst/>
            <a:gdLst>
              <a:gd name="connsiteX0" fmla="*/ 105489 w 104775"/>
              <a:gd name="connsiteY0" fmla="*/ 48339 h 104775"/>
              <a:gd name="connsiteX1" fmla="*/ 88344 w 104775"/>
              <a:gd name="connsiteY1" fmla="*/ 45482 h 104775"/>
              <a:gd name="connsiteX2" fmla="*/ 66437 w 104775"/>
              <a:gd name="connsiteY2" fmla="*/ 23574 h 104775"/>
              <a:gd name="connsiteX3" fmla="*/ 63579 w 104775"/>
              <a:gd name="connsiteY3" fmla="*/ 6429 h 104775"/>
              <a:gd name="connsiteX4" fmla="*/ 48339 w 104775"/>
              <a:gd name="connsiteY4" fmla="*/ 6429 h 104775"/>
              <a:gd name="connsiteX5" fmla="*/ 45482 w 104775"/>
              <a:gd name="connsiteY5" fmla="*/ 23574 h 104775"/>
              <a:gd name="connsiteX6" fmla="*/ 23574 w 104775"/>
              <a:gd name="connsiteY6" fmla="*/ 45482 h 104775"/>
              <a:gd name="connsiteX7" fmla="*/ 6429 w 104775"/>
              <a:gd name="connsiteY7" fmla="*/ 48339 h 104775"/>
              <a:gd name="connsiteX8" fmla="*/ 6429 w 104775"/>
              <a:gd name="connsiteY8" fmla="*/ 63579 h 104775"/>
              <a:gd name="connsiteX9" fmla="*/ 23574 w 104775"/>
              <a:gd name="connsiteY9" fmla="*/ 66437 h 104775"/>
              <a:gd name="connsiteX10" fmla="*/ 45482 w 104775"/>
              <a:gd name="connsiteY10" fmla="*/ 88344 h 104775"/>
              <a:gd name="connsiteX11" fmla="*/ 48339 w 104775"/>
              <a:gd name="connsiteY11" fmla="*/ 105489 h 104775"/>
              <a:gd name="connsiteX12" fmla="*/ 63579 w 104775"/>
              <a:gd name="connsiteY12" fmla="*/ 105489 h 104775"/>
              <a:gd name="connsiteX13" fmla="*/ 66437 w 104775"/>
              <a:gd name="connsiteY13" fmla="*/ 88344 h 104775"/>
              <a:gd name="connsiteX14" fmla="*/ 88344 w 104775"/>
              <a:gd name="connsiteY14" fmla="*/ 66437 h 104775"/>
              <a:gd name="connsiteX15" fmla="*/ 105489 w 104775"/>
              <a:gd name="connsiteY15" fmla="*/ 63579 h 104775"/>
              <a:gd name="connsiteX16" fmla="*/ 105489 w 104775"/>
              <a:gd name="connsiteY16" fmla="*/ 4833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105489" y="48339"/>
                </a:moveTo>
                <a:lnTo>
                  <a:pt x="88344" y="45482"/>
                </a:lnTo>
                <a:cubicBezTo>
                  <a:pt x="76914" y="43577"/>
                  <a:pt x="68342" y="35004"/>
                  <a:pt x="66437" y="23574"/>
                </a:cubicBezTo>
                <a:lnTo>
                  <a:pt x="63579" y="6429"/>
                </a:lnTo>
                <a:cubicBezTo>
                  <a:pt x="62627" y="-2143"/>
                  <a:pt x="49292" y="-2143"/>
                  <a:pt x="48339" y="6429"/>
                </a:cubicBezTo>
                <a:lnTo>
                  <a:pt x="45482" y="23574"/>
                </a:lnTo>
                <a:cubicBezTo>
                  <a:pt x="43577" y="35004"/>
                  <a:pt x="35004" y="43577"/>
                  <a:pt x="23574" y="45482"/>
                </a:cubicBezTo>
                <a:lnTo>
                  <a:pt x="6429" y="48339"/>
                </a:lnTo>
                <a:cubicBezTo>
                  <a:pt x="-2143" y="49292"/>
                  <a:pt x="-2143" y="62627"/>
                  <a:pt x="6429" y="63579"/>
                </a:cubicBez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4062" y="62627"/>
                  <a:pt x="114062" y="50244"/>
                  <a:pt x="105489" y="48339"/>
                </a:cubicBezTo>
                <a:close/>
              </a:path>
            </a:pathLst>
          </a:custGeom>
          <a:solidFill>
            <a:schemeClr val="accent2">
              <a:lumMod val="60000"/>
              <a:lumOff val="40000"/>
            </a:schemeClr>
          </a:solidFill>
          <a:ln w="9525" cap="flat">
            <a:noFill/>
            <a:prstDash val="solid"/>
            <a:miter/>
          </a:ln>
        </p:spPr>
        <p:txBody>
          <a:bodyPr rtlCol="0" anchor="ctr"/>
          <a:lstStyle/>
          <a:p>
            <a:endParaRPr lang="zh-CN" altLang="en-US"/>
          </a:p>
        </p:txBody>
      </p:sp>
      <p:sp>
        <p:nvSpPr>
          <p:cNvPr id="19" name="任意多边形: 形状 18">
            <a:extLst>
              <a:ext uri="{FF2B5EF4-FFF2-40B4-BE49-F238E27FC236}">
                <a16:creationId xmlns:a16="http://schemas.microsoft.com/office/drawing/2014/main" id="{DFA655FE-B8FC-405C-BC19-B19645D8DDA1}"/>
              </a:ext>
            </a:extLst>
          </p:cNvPr>
          <p:cNvSpPr/>
          <p:nvPr userDrawn="1"/>
        </p:nvSpPr>
        <p:spPr>
          <a:xfrm>
            <a:off x="10705527" y="231357"/>
            <a:ext cx="152010" cy="152010"/>
          </a:xfrm>
          <a:custGeom>
            <a:avLst/>
            <a:gdLst>
              <a:gd name="connsiteX0" fmla="*/ 104537 w 104775"/>
              <a:gd name="connsiteY0" fmla="*/ 48339 h 104775"/>
              <a:gd name="connsiteX1" fmla="*/ 87392 w 104775"/>
              <a:gd name="connsiteY1" fmla="*/ 45482 h 104775"/>
              <a:gd name="connsiteX2" fmla="*/ 65484 w 104775"/>
              <a:gd name="connsiteY2" fmla="*/ 23574 h 104775"/>
              <a:gd name="connsiteX3" fmla="*/ 62627 w 104775"/>
              <a:gd name="connsiteY3" fmla="*/ 6429 h 104775"/>
              <a:gd name="connsiteX4" fmla="*/ 47387 w 104775"/>
              <a:gd name="connsiteY4" fmla="*/ 6429 h 104775"/>
              <a:gd name="connsiteX5" fmla="*/ 44529 w 104775"/>
              <a:gd name="connsiteY5" fmla="*/ 23574 h 104775"/>
              <a:gd name="connsiteX6" fmla="*/ 22622 w 104775"/>
              <a:gd name="connsiteY6" fmla="*/ 45482 h 104775"/>
              <a:gd name="connsiteX7" fmla="*/ 6429 w 104775"/>
              <a:gd name="connsiteY7" fmla="*/ 48339 h 104775"/>
              <a:gd name="connsiteX8" fmla="*/ 6429 w 104775"/>
              <a:gd name="connsiteY8" fmla="*/ 63579 h 104775"/>
              <a:gd name="connsiteX9" fmla="*/ 23574 w 104775"/>
              <a:gd name="connsiteY9" fmla="*/ 66437 h 104775"/>
              <a:gd name="connsiteX10" fmla="*/ 45482 w 104775"/>
              <a:gd name="connsiteY10" fmla="*/ 88344 h 104775"/>
              <a:gd name="connsiteX11" fmla="*/ 48339 w 104775"/>
              <a:gd name="connsiteY11" fmla="*/ 105489 h 104775"/>
              <a:gd name="connsiteX12" fmla="*/ 63579 w 104775"/>
              <a:gd name="connsiteY12" fmla="*/ 105489 h 104775"/>
              <a:gd name="connsiteX13" fmla="*/ 66437 w 104775"/>
              <a:gd name="connsiteY13" fmla="*/ 88344 h 104775"/>
              <a:gd name="connsiteX14" fmla="*/ 88344 w 104775"/>
              <a:gd name="connsiteY14" fmla="*/ 66437 h 104775"/>
              <a:gd name="connsiteX15" fmla="*/ 105489 w 104775"/>
              <a:gd name="connsiteY15" fmla="*/ 63579 h 104775"/>
              <a:gd name="connsiteX16" fmla="*/ 104537 w 104775"/>
              <a:gd name="connsiteY16" fmla="*/ 4833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104537" y="48339"/>
                </a:moveTo>
                <a:lnTo>
                  <a:pt x="87392" y="45482"/>
                </a:lnTo>
                <a:cubicBezTo>
                  <a:pt x="75962" y="43577"/>
                  <a:pt x="67389" y="35004"/>
                  <a:pt x="65484" y="23574"/>
                </a:cubicBezTo>
                <a:lnTo>
                  <a:pt x="62627" y="6429"/>
                </a:lnTo>
                <a:cubicBezTo>
                  <a:pt x="61674" y="-2143"/>
                  <a:pt x="48339" y="-2143"/>
                  <a:pt x="47387" y="6429"/>
                </a:cubicBezTo>
                <a:lnTo>
                  <a:pt x="44529" y="23574"/>
                </a:lnTo>
                <a:cubicBezTo>
                  <a:pt x="42624" y="35004"/>
                  <a:pt x="34052" y="43577"/>
                  <a:pt x="22622" y="45482"/>
                </a:cubicBezTo>
                <a:lnTo>
                  <a:pt x="6429" y="48339"/>
                </a:lnTo>
                <a:cubicBezTo>
                  <a:pt x="-2143" y="49292"/>
                  <a:pt x="-2143" y="62627"/>
                  <a:pt x="6429" y="63579"/>
                </a:cubicBezTo>
                <a:lnTo>
                  <a:pt x="23574" y="66437"/>
                </a:lnTo>
                <a:cubicBezTo>
                  <a:pt x="35004" y="68342"/>
                  <a:pt x="43577" y="76914"/>
                  <a:pt x="45482" y="88344"/>
                </a:cubicBezTo>
                <a:lnTo>
                  <a:pt x="48339" y="105489"/>
                </a:lnTo>
                <a:cubicBezTo>
                  <a:pt x="49292" y="114062"/>
                  <a:pt x="62627" y="114062"/>
                  <a:pt x="63579" y="105489"/>
                </a:cubicBezTo>
                <a:lnTo>
                  <a:pt x="66437" y="88344"/>
                </a:lnTo>
                <a:cubicBezTo>
                  <a:pt x="68342" y="76914"/>
                  <a:pt x="76914" y="68342"/>
                  <a:pt x="88344" y="66437"/>
                </a:cubicBezTo>
                <a:lnTo>
                  <a:pt x="105489" y="63579"/>
                </a:lnTo>
                <a:cubicBezTo>
                  <a:pt x="113109" y="62627"/>
                  <a:pt x="113109" y="50244"/>
                  <a:pt x="104537" y="48339"/>
                </a:cubicBezTo>
                <a:close/>
              </a:path>
            </a:pathLst>
          </a:custGeom>
          <a:solidFill>
            <a:schemeClr val="accent2"/>
          </a:solidFill>
          <a:ln w="9525" cap="flat">
            <a:noFill/>
            <a:prstDash val="solid"/>
            <a:miter/>
          </a:ln>
        </p:spPr>
        <p:txBody>
          <a:bodyPr rtlCol="0" anchor="ctr"/>
          <a:lstStyle/>
          <a:p>
            <a:endParaRPr lang="zh-CN" altLang="en-US"/>
          </a:p>
        </p:txBody>
      </p:sp>
      <p:sp>
        <p:nvSpPr>
          <p:cNvPr id="20" name="任意多边形: 形状 19">
            <a:extLst>
              <a:ext uri="{FF2B5EF4-FFF2-40B4-BE49-F238E27FC236}">
                <a16:creationId xmlns:a16="http://schemas.microsoft.com/office/drawing/2014/main" id="{06A9234F-E292-4985-9663-880A877D94EF}"/>
              </a:ext>
            </a:extLst>
          </p:cNvPr>
          <p:cNvSpPr/>
          <p:nvPr userDrawn="1"/>
        </p:nvSpPr>
        <p:spPr>
          <a:xfrm>
            <a:off x="8600940" y="5188121"/>
            <a:ext cx="124372" cy="124371"/>
          </a:xfrm>
          <a:custGeom>
            <a:avLst/>
            <a:gdLst>
              <a:gd name="connsiteX0" fmla="*/ 82153 w 85725"/>
              <a:gd name="connsiteY0" fmla="*/ 37386 h 85725"/>
              <a:gd name="connsiteX1" fmla="*/ 68818 w 85725"/>
              <a:gd name="connsiteY1" fmla="*/ 35481 h 85725"/>
              <a:gd name="connsiteX2" fmla="*/ 51673 w 85725"/>
              <a:gd name="connsiteY2" fmla="*/ 18336 h 85725"/>
              <a:gd name="connsiteX3" fmla="*/ 49768 w 85725"/>
              <a:gd name="connsiteY3" fmla="*/ 5001 h 85725"/>
              <a:gd name="connsiteX4" fmla="*/ 37386 w 85725"/>
              <a:gd name="connsiteY4" fmla="*/ 5001 h 85725"/>
              <a:gd name="connsiteX5" fmla="*/ 35481 w 85725"/>
              <a:gd name="connsiteY5" fmla="*/ 18336 h 85725"/>
              <a:gd name="connsiteX6" fmla="*/ 18336 w 85725"/>
              <a:gd name="connsiteY6" fmla="*/ 35481 h 85725"/>
              <a:gd name="connsiteX7" fmla="*/ 5001 w 85725"/>
              <a:gd name="connsiteY7" fmla="*/ 37386 h 85725"/>
              <a:gd name="connsiteX8" fmla="*/ 5001 w 85725"/>
              <a:gd name="connsiteY8" fmla="*/ 49768 h 85725"/>
              <a:gd name="connsiteX9" fmla="*/ 18336 w 85725"/>
              <a:gd name="connsiteY9" fmla="*/ 51673 h 85725"/>
              <a:gd name="connsiteX10" fmla="*/ 35481 w 85725"/>
              <a:gd name="connsiteY10" fmla="*/ 68818 h 85725"/>
              <a:gd name="connsiteX11" fmla="*/ 37386 w 85725"/>
              <a:gd name="connsiteY11" fmla="*/ 82153 h 85725"/>
              <a:gd name="connsiteX12" fmla="*/ 49768 w 85725"/>
              <a:gd name="connsiteY12" fmla="*/ 82153 h 85725"/>
              <a:gd name="connsiteX13" fmla="*/ 51673 w 85725"/>
              <a:gd name="connsiteY13" fmla="*/ 68818 h 85725"/>
              <a:gd name="connsiteX14" fmla="*/ 68818 w 85725"/>
              <a:gd name="connsiteY14" fmla="*/ 51673 h 85725"/>
              <a:gd name="connsiteX15" fmla="*/ 82153 w 85725"/>
              <a:gd name="connsiteY15" fmla="*/ 49768 h 85725"/>
              <a:gd name="connsiteX16" fmla="*/ 82153 w 85725"/>
              <a:gd name="connsiteY16" fmla="*/ 3738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725" h="85725">
                <a:moveTo>
                  <a:pt x="82153" y="37386"/>
                </a:moveTo>
                <a:lnTo>
                  <a:pt x="68818" y="35481"/>
                </a:lnTo>
                <a:cubicBezTo>
                  <a:pt x="60246" y="34528"/>
                  <a:pt x="52626" y="26908"/>
                  <a:pt x="51673" y="18336"/>
                </a:cubicBezTo>
                <a:lnTo>
                  <a:pt x="49768" y="5001"/>
                </a:lnTo>
                <a:cubicBezTo>
                  <a:pt x="48816" y="-1667"/>
                  <a:pt x="38338" y="-1667"/>
                  <a:pt x="37386" y="5001"/>
                </a:cubicBezTo>
                <a:lnTo>
                  <a:pt x="35481" y="18336"/>
                </a:lnTo>
                <a:cubicBezTo>
                  <a:pt x="34528" y="26908"/>
                  <a:pt x="26908" y="34528"/>
                  <a:pt x="18336" y="35481"/>
                </a:cubicBezTo>
                <a:lnTo>
                  <a:pt x="5001" y="37386"/>
                </a:lnTo>
                <a:cubicBezTo>
                  <a:pt x="-1667" y="38338"/>
                  <a:pt x="-1667" y="48816"/>
                  <a:pt x="5001" y="49768"/>
                </a:cubicBezTo>
                <a:lnTo>
                  <a:pt x="18336" y="51673"/>
                </a:lnTo>
                <a:cubicBezTo>
                  <a:pt x="26908" y="52626"/>
                  <a:pt x="34528" y="60246"/>
                  <a:pt x="35481" y="68818"/>
                </a:cubicBezTo>
                <a:lnTo>
                  <a:pt x="37386" y="82153"/>
                </a:lnTo>
                <a:cubicBezTo>
                  <a:pt x="38338" y="88821"/>
                  <a:pt x="48816" y="88821"/>
                  <a:pt x="49768" y="82153"/>
                </a:cubicBezTo>
                <a:lnTo>
                  <a:pt x="51673" y="68818"/>
                </a:lnTo>
                <a:cubicBezTo>
                  <a:pt x="52626" y="60246"/>
                  <a:pt x="60246" y="52626"/>
                  <a:pt x="68818" y="51673"/>
                </a:cubicBezTo>
                <a:lnTo>
                  <a:pt x="82153" y="49768"/>
                </a:lnTo>
                <a:cubicBezTo>
                  <a:pt x="88821" y="48816"/>
                  <a:pt x="88821" y="38338"/>
                  <a:pt x="82153" y="37386"/>
                </a:cubicBezTo>
                <a:close/>
              </a:path>
            </a:pathLst>
          </a:custGeom>
          <a:solidFill>
            <a:schemeClr val="accent1">
              <a:lumMod val="60000"/>
              <a:lumOff val="40000"/>
            </a:schemeClr>
          </a:solidFill>
          <a:ln w="9525" cap="flat">
            <a:noFill/>
            <a:prstDash val="solid"/>
            <a:miter/>
          </a:ln>
        </p:spPr>
        <p:txBody>
          <a:bodyPr rtlCol="0" anchor="ctr"/>
          <a:lstStyle/>
          <a:p>
            <a:endParaRPr lang="zh-CN" altLang="en-US"/>
          </a:p>
        </p:txBody>
      </p:sp>
      <p:sp>
        <p:nvSpPr>
          <p:cNvPr id="21" name="任意多边形: 形状 20">
            <a:extLst>
              <a:ext uri="{FF2B5EF4-FFF2-40B4-BE49-F238E27FC236}">
                <a16:creationId xmlns:a16="http://schemas.microsoft.com/office/drawing/2014/main" id="{FDC0FDA4-B95B-49F2-ADF7-37DD176073BE}"/>
              </a:ext>
            </a:extLst>
          </p:cNvPr>
          <p:cNvSpPr/>
          <p:nvPr userDrawn="1"/>
        </p:nvSpPr>
        <p:spPr>
          <a:xfrm>
            <a:off x="11523651" y="6464441"/>
            <a:ext cx="124372" cy="124371"/>
          </a:xfrm>
          <a:custGeom>
            <a:avLst/>
            <a:gdLst>
              <a:gd name="connsiteX0" fmla="*/ 82153 w 85725"/>
              <a:gd name="connsiteY0" fmla="*/ 37386 h 85725"/>
              <a:gd name="connsiteX1" fmla="*/ 68818 w 85725"/>
              <a:gd name="connsiteY1" fmla="*/ 35481 h 85725"/>
              <a:gd name="connsiteX2" fmla="*/ 51673 w 85725"/>
              <a:gd name="connsiteY2" fmla="*/ 18336 h 85725"/>
              <a:gd name="connsiteX3" fmla="*/ 49768 w 85725"/>
              <a:gd name="connsiteY3" fmla="*/ 5001 h 85725"/>
              <a:gd name="connsiteX4" fmla="*/ 37386 w 85725"/>
              <a:gd name="connsiteY4" fmla="*/ 5001 h 85725"/>
              <a:gd name="connsiteX5" fmla="*/ 35481 w 85725"/>
              <a:gd name="connsiteY5" fmla="*/ 18336 h 85725"/>
              <a:gd name="connsiteX6" fmla="*/ 18336 w 85725"/>
              <a:gd name="connsiteY6" fmla="*/ 35481 h 85725"/>
              <a:gd name="connsiteX7" fmla="*/ 5001 w 85725"/>
              <a:gd name="connsiteY7" fmla="*/ 37386 h 85725"/>
              <a:gd name="connsiteX8" fmla="*/ 5001 w 85725"/>
              <a:gd name="connsiteY8" fmla="*/ 49768 h 85725"/>
              <a:gd name="connsiteX9" fmla="*/ 18336 w 85725"/>
              <a:gd name="connsiteY9" fmla="*/ 51673 h 85725"/>
              <a:gd name="connsiteX10" fmla="*/ 35481 w 85725"/>
              <a:gd name="connsiteY10" fmla="*/ 68818 h 85725"/>
              <a:gd name="connsiteX11" fmla="*/ 37386 w 85725"/>
              <a:gd name="connsiteY11" fmla="*/ 82153 h 85725"/>
              <a:gd name="connsiteX12" fmla="*/ 49768 w 85725"/>
              <a:gd name="connsiteY12" fmla="*/ 82153 h 85725"/>
              <a:gd name="connsiteX13" fmla="*/ 51673 w 85725"/>
              <a:gd name="connsiteY13" fmla="*/ 68818 h 85725"/>
              <a:gd name="connsiteX14" fmla="*/ 68818 w 85725"/>
              <a:gd name="connsiteY14" fmla="*/ 51673 h 85725"/>
              <a:gd name="connsiteX15" fmla="*/ 82153 w 85725"/>
              <a:gd name="connsiteY15" fmla="*/ 49768 h 85725"/>
              <a:gd name="connsiteX16" fmla="*/ 82153 w 85725"/>
              <a:gd name="connsiteY16" fmla="*/ 3738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725" h="85725">
                <a:moveTo>
                  <a:pt x="82153" y="37386"/>
                </a:moveTo>
                <a:lnTo>
                  <a:pt x="68818" y="35481"/>
                </a:lnTo>
                <a:cubicBezTo>
                  <a:pt x="60246" y="34528"/>
                  <a:pt x="52626" y="26908"/>
                  <a:pt x="51673" y="18336"/>
                </a:cubicBezTo>
                <a:lnTo>
                  <a:pt x="49768" y="5001"/>
                </a:lnTo>
                <a:cubicBezTo>
                  <a:pt x="48816" y="-1667"/>
                  <a:pt x="38338" y="-1667"/>
                  <a:pt x="37386" y="5001"/>
                </a:cubicBezTo>
                <a:lnTo>
                  <a:pt x="35481" y="18336"/>
                </a:lnTo>
                <a:cubicBezTo>
                  <a:pt x="34528" y="26908"/>
                  <a:pt x="26908" y="34528"/>
                  <a:pt x="18336" y="35481"/>
                </a:cubicBezTo>
                <a:lnTo>
                  <a:pt x="5001" y="37386"/>
                </a:lnTo>
                <a:cubicBezTo>
                  <a:pt x="-1667" y="38338"/>
                  <a:pt x="-1667" y="48816"/>
                  <a:pt x="5001" y="49768"/>
                </a:cubicBezTo>
                <a:lnTo>
                  <a:pt x="18336" y="51673"/>
                </a:lnTo>
                <a:cubicBezTo>
                  <a:pt x="26908" y="52626"/>
                  <a:pt x="34528" y="60246"/>
                  <a:pt x="35481" y="68818"/>
                </a:cubicBezTo>
                <a:lnTo>
                  <a:pt x="37386" y="82153"/>
                </a:lnTo>
                <a:cubicBezTo>
                  <a:pt x="38338" y="88821"/>
                  <a:pt x="48816" y="88821"/>
                  <a:pt x="49768" y="82153"/>
                </a:cubicBezTo>
                <a:lnTo>
                  <a:pt x="51673" y="68818"/>
                </a:lnTo>
                <a:cubicBezTo>
                  <a:pt x="52626" y="60246"/>
                  <a:pt x="60246" y="52626"/>
                  <a:pt x="68818" y="51673"/>
                </a:cubicBezTo>
                <a:lnTo>
                  <a:pt x="82153" y="49768"/>
                </a:lnTo>
                <a:cubicBezTo>
                  <a:pt x="88821" y="47863"/>
                  <a:pt x="88821" y="38338"/>
                  <a:pt x="82153" y="37386"/>
                </a:cubicBezTo>
                <a:close/>
              </a:path>
            </a:pathLst>
          </a:custGeom>
          <a:solidFill>
            <a:schemeClr val="accent1">
              <a:lumMod val="60000"/>
              <a:lumOff val="40000"/>
            </a:schemeClr>
          </a:solidFill>
          <a:ln w="9525" cap="flat">
            <a:noFill/>
            <a:prstDash val="solid"/>
            <a:miter/>
          </a:ln>
        </p:spPr>
        <p:txBody>
          <a:bodyPr rtlCol="0" anchor="ctr"/>
          <a:lstStyle/>
          <a:p>
            <a:endParaRPr lang="zh-CN" altLang="en-US"/>
          </a:p>
        </p:txBody>
      </p:sp>
      <p:sp>
        <p:nvSpPr>
          <p:cNvPr id="22" name="任意多边形: 形状 21">
            <a:extLst>
              <a:ext uri="{FF2B5EF4-FFF2-40B4-BE49-F238E27FC236}">
                <a16:creationId xmlns:a16="http://schemas.microsoft.com/office/drawing/2014/main" id="{F676E303-75CB-4E8B-9F4F-C7684E43CA74}"/>
              </a:ext>
            </a:extLst>
          </p:cNvPr>
          <p:cNvSpPr/>
          <p:nvPr userDrawn="1"/>
        </p:nvSpPr>
        <p:spPr>
          <a:xfrm>
            <a:off x="9765269" y="2922715"/>
            <a:ext cx="124372" cy="124371"/>
          </a:xfrm>
          <a:custGeom>
            <a:avLst/>
            <a:gdLst>
              <a:gd name="connsiteX0" fmla="*/ 82153 w 85725"/>
              <a:gd name="connsiteY0" fmla="*/ 37386 h 85725"/>
              <a:gd name="connsiteX1" fmla="*/ 68818 w 85725"/>
              <a:gd name="connsiteY1" fmla="*/ 35481 h 85725"/>
              <a:gd name="connsiteX2" fmla="*/ 51673 w 85725"/>
              <a:gd name="connsiteY2" fmla="*/ 18336 h 85725"/>
              <a:gd name="connsiteX3" fmla="*/ 49768 w 85725"/>
              <a:gd name="connsiteY3" fmla="*/ 5001 h 85725"/>
              <a:gd name="connsiteX4" fmla="*/ 37386 w 85725"/>
              <a:gd name="connsiteY4" fmla="*/ 5001 h 85725"/>
              <a:gd name="connsiteX5" fmla="*/ 35481 w 85725"/>
              <a:gd name="connsiteY5" fmla="*/ 18336 h 85725"/>
              <a:gd name="connsiteX6" fmla="*/ 18336 w 85725"/>
              <a:gd name="connsiteY6" fmla="*/ 35481 h 85725"/>
              <a:gd name="connsiteX7" fmla="*/ 5001 w 85725"/>
              <a:gd name="connsiteY7" fmla="*/ 37386 h 85725"/>
              <a:gd name="connsiteX8" fmla="*/ 5001 w 85725"/>
              <a:gd name="connsiteY8" fmla="*/ 49768 h 85725"/>
              <a:gd name="connsiteX9" fmla="*/ 18336 w 85725"/>
              <a:gd name="connsiteY9" fmla="*/ 51673 h 85725"/>
              <a:gd name="connsiteX10" fmla="*/ 35481 w 85725"/>
              <a:gd name="connsiteY10" fmla="*/ 68818 h 85725"/>
              <a:gd name="connsiteX11" fmla="*/ 37386 w 85725"/>
              <a:gd name="connsiteY11" fmla="*/ 82153 h 85725"/>
              <a:gd name="connsiteX12" fmla="*/ 49768 w 85725"/>
              <a:gd name="connsiteY12" fmla="*/ 82153 h 85725"/>
              <a:gd name="connsiteX13" fmla="*/ 51673 w 85725"/>
              <a:gd name="connsiteY13" fmla="*/ 68818 h 85725"/>
              <a:gd name="connsiteX14" fmla="*/ 68818 w 85725"/>
              <a:gd name="connsiteY14" fmla="*/ 51673 h 85725"/>
              <a:gd name="connsiteX15" fmla="*/ 82153 w 85725"/>
              <a:gd name="connsiteY15" fmla="*/ 49768 h 85725"/>
              <a:gd name="connsiteX16" fmla="*/ 82153 w 85725"/>
              <a:gd name="connsiteY16" fmla="*/ 3738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725" h="85725">
                <a:moveTo>
                  <a:pt x="82153" y="37386"/>
                </a:moveTo>
                <a:lnTo>
                  <a:pt x="68818" y="35481"/>
                </a:lnTo>
                <a:cubicBezTo>
                  <a:pt x="60246" y="34528"/>
                  <a:pt x="52626" y="26908"/>
                  <a:pt x="51673" y="18336"/>
                </a:cubicBezTo>
                <a:lnTo>
                  <a:pt x="49768" y="5001"/>
                </a:lnTo>
                <a:cubicBezTo>
                  <a:pt x="48816" y="-1667"/>
                  <a:pt x="38338" y="-1667"/>
                  <a:pt x="37386" y="5001"/>
                </a:cubicBezTo>
                <a:lnTo>
                  <a:pt x="35481" y="18336"/>
                </a:lnTo>
                <a:cubicBezTo>
                  <a:pt x="34528" y="26908"/>
                  <a:pt x="26908" y="34528"/>
                  <a:pt x="18336" y="35481"/>
                </a:cubicBezTo>
                <a:lnTo>
                  <a:pt x="5001" y="37386"/>
                </a:lnTo>
                <a:cubicBezTo>
                  <a:pt x="-1667" y="38338"/>
                  <a:pt x="-1667" y="48816"/>
                  <a:pt x="5001" y="49768"/>
                </a:cubicBezTo>
                <a:lnTo>
                  <a:pt x="18336" y="51673"/>
                </a:lnTo>
                <a:cubicBezTo>
                  <a:pt x="26908" y="52626"/>
                  <a:pt x="34528" y="60246"/>
                  <a:pt x="35481" y="68818"/>
                </a:cubicBezTo>
                <a:lnTo>
                  <a:pt x="37386" y="82153"/>
                </a:lnTo>
                <a:cubicBezTo>
                  <a:pt x="38338" y="88821"/>
                  <a:pt x="48816" y="88821"/>
                  <a:pt x="49768" y="82153"/>
                </a:cubicBezTo>
                <a:lnTo>
                  <a:pt x="51673" y="68818"/>
                </a:lnTo>
                <a:cubicBezTo>
                  <a:pt x="52626" y="60246"/>
                  <a:pt x="60246" y="52626"/>
                  <a:pt x="68818" y="51673"/>
                </a:cubicBezTo>
                <a:lnTo>
                  <a:pt x="82153" y="49768"/>
                </a:lnTo>
                <a:cubicBezTo>
                  <a:pt x="88821" y="47863"/>
                  <a:pt x="88821" y="38338"/>
                  <a:pt x="82153" y="37386"/>
                </a:cubicBezTo>
                <a:close/>
              </a:path>
            </a:pathLst>
          </a:custGeom>
          <a:solidFill>
            <a:schemeClr val="accent2">
              <a:lumMod val="60000"/>
              <a:lumOff val="40000"/>
            </a:schemeClr>
          </a:solidFill>
          <a:ln w="9525" cap="flat">
            <a:noFill/>
            <a:prstDash val="solid"/>
            <a:miter/>
          </a:ln>
        </p:spPr>
        <p:txBody>
          <a:bodyPr rtlCol="0" anchor="ctr"/>
          <a:lstStyle/>
          <a:p>
            <a:endParaRPr lang="zh-CN" altLang="en-US"/>
          </a:p>
        </p:txBody>
      </p:sp>
      <p:sp>
        <p:nvSpPr>
          <p:cNvPr id="23" name="任意多边形: 形状 22">
            <a:extLst>
              <a:ext uri="{FF2B5EF4-FFF2-40B4-BE49-F238E27FC236}">
                <a16:creationId xmlns:a16="http://schemas.microsoft.com/office/drawing/2014/main" id="{EC2FB9D3-A8E8-4792-B7D7-F73BEB3F4BFD}"/>
              </a:ext>
            </a:extLst>
          </p:cNvPr>
          <p:cNvSpPr/>
          <p:nvPr userDrawn="1"/>
        </p:nvSpPr>
        <p:spPr>
          <a:xfrm>
            <a:off x="11380440" y="1910946"/>
            <a:ext cx="69095" cy="69095"/>
          </a:xfrm>
          <a:custGeom>
            <a:avLst/>
            <a:gdLst>
              <a:gd name="connsiteX0" fmla="*/ 3572 w 47625"/>
              <a:gd name="connsiteY0" fmla="*/ 29527 h 47625"/>
              <a:gd name="connsiteX1" fmla="*/ 11192 w 47625"/>
              <a:gd name="connsiteY1" fmla="*/ 30480 h 47625"/>
              <a:gd name="connsiteX2" fmla="*/ 21669 w 47625"/>
              <a:gd name="connsiteY2" fmla="*/ 40957 h 47625"/>
              <a:gd name="connsiteX3" fmla="*/ 22622 w 47625"/>
              <a:gd name="connsiteY3" fmla="*/ 48577 h 47625"/>
              <a:gd name="connsiteX4" fmla="*/ 30242 w 47625"/>
              <a:gd name="connsiteY4" fmla="*/ 48577 h 47625"/>
              <a:gd name="connsiteX5" fmla="*/ 31194 w 47625"/>
              <a:gd name="connsiteY5" fmla="*/ 40957 h 47625"/>
              <a:gd name="connsiteX6" fmla="*/ 41672 w 47625"/>
              <a:gd name="connsiteY6" fmla="*/ 30480 h 47625"/>
              <a:gd name="connsiteX7" fmla="*/ 49292 w 47625"/>
              <a:gd name="connsiteY7" fmla="*/ 29527 h 47625"/>
              <a:gd name="connsiteX8" fmla="*/ 49292 w 47625"/>
              <a:gd name="connsiteY8" fmla="*/ 21907 h 47625"/>
              <a:gd name="connsiteX9" fmla="*/ 41672 w 47625"/>
              <a:gd name="connsiteY9" fmla="*/ 20955 h 47625"/>
              <a:gd name="connsiteX10" fmla="*/ 31194 w 47625"/>
              <a:gd name="connsiteY10" fmla="*/ 10477 h 47625"/>
              <a:gd name="connsiteX11" fmla="*/ 30242 w 47625"/>
              <a:gd name="connsiteY11" fmla="*/ 2857 h 47625"/>
              <a:gd name="connsiteX12" fmla="*/ 22622 w 47625"/>
              <a:gd name="connsiteY12" fmla="*/ 2857 h 47625"/>
              <a:gd name="connsiteX13" fmla="*/ 21669 w 47625"/>
              <a:gd name="connsiteY13" fmla="*/ 10477 h 47625"/>
              <a:gd name="connsiteX14" fmla="*/ 11192 w 47625"/>
              <a:gd name="connsiteY14" fmla="*/ 20955 h 47625"/>
              <a:gd name="connsiteX15" fmla="*/ 3572 w 47625"/>
              <a:gd name="connsiteY15" fmla="*/ 21907 h 47625"/>
              <a:gd name="connsiteX16" fmla="*/ 3572 w 47625"/>
              <a:gd name="connsiteY16" fmla="*/ 2952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3572" y="29527"/>
                </a:moveTo>
                <a:lnTo>
                  <a:pt x="11192" y="30480"/>
                </a:lnTo>
                <a:cubicBezTo>
                  <a:pt x="15954" y="31432"/>
                  <a:pt x="20717" y="35242"/>
                  <a:pt x="21669" y="40957"/>
                </a:cubicBezTo>
                <a:lnTo>
                  <a:pt x="22622" y="48577"/>
                </a:lnTo>
                <a:cubicBezTo>
                  <a:pt x="23574" y="52388"/>
                  <a:pt x="29289" y="52388"/>
                  <a:pt x="30242" y="48577"/>
                </a:cubicBezTo>
                <a:lnTo>
                  <a:pt x="31194" y="40957"/>
                </a:lnTo>
                <a:cubicBezTo>
                  <a:pt x="32147" y="36195"/>
                  <a:pt x="35957" y="31432"/>
                  <a:pt x="41672" y="30480"/>
                </a:cubicBezTo>
                <a:lnTo>
                  <a:pt x="49292" y="29527"/>
                </a:lnTo>
                <a:cubicBezTo>
                  <a:pt x="53102" y="28575"/>
                  <a:pt x="53102" y="22860"/>
                  <a:pt x="49292" y="21907"/>
                </a:cubicBezTo>
                <a:lnTo>
                  <a:pt x="41672" y="20955"/>
                </a:lnTo>
                <a:cubicBezTo>
                  <a:pt x="36909" y="20002"/>
                  <a:pt x="32147" y="16192"/>
                  <a:pt x="31194" y="10477"/>
                </a:cubicBezTo>
                <a:lnTo>
                  <a:pt x="30242" y="2857"/>
                </a:lnTo>
                <a:cubicBezTo>
                  <a:pt x="29289" y="-952"/>
                  <a:pt x="23574" y="-952"/>
                  <a:pt x="22622" y="2857"/>
                </a:cubicBezTo>
                <a:lnTo>
                  <a:pt x="21669" y="10477"/>
                </a:lnTo>
                <a:cubicBezTo>
                  <a:pt x="20717" y="15240"/>
                  <a:pt x="16907" y="20002"/>
                  <a:pt x="11192" y="20955"/>
                </a:cubicBezTo>
                <a:lnTo>
                  <a:pt x="3572" y="21907"/>
                </a:lnTo>
                <a:cubicBezTo>
                  <a:pt x="-1191" y="22860"/>
                  <a:pt x="-1191" y="28575"/>
                  <a:pt x="3572" y="29527"/>
                </a:cubicBezTo>
                <a:close/>
              </a:path>
            </a:pathLst>
          </a:custGeom>
          <a:solidFill>
            <a:schemeClr val="accent6">
              <a:lumMod val="60000"/>
              <a:lumOff val="40000"/>
            </a:schemeClr>
          </a:solidFill>
          <a:ln w="9525" cap="flat">
            <a:noFill/>
            <a:prstDash val="solid"/>
            <a:miter/>
          </a:ln>
        </p:spPr>
        <p:txBody>
          <a:bodyPr rtlCol="0" anchor="ctr"/>
          <a:lstStyle/>
          <a:p>
            <a:endParaRPr lang="zh-CN" altLang="en-US"/>
          </a:p>
        </p:txBody>
      </p:sp>
      <p:sp>
        <p:nvSpPr>
          <p:cNvPr id="24" name="任意多边形: 形状 23">
            <a:extLst>
              <a:ext uri="{FF2B5EF4-FFF2-40B4-BE49-F238E27FC236}">
                <a16:creationId xmlns:a16="http://schemas.microsoft.com/office/drawing/2014/main" id="{EEBED7A3-4535-4E0B-991E-70775A6373BD}"/>
              </a:ext>
            </a:extLst>
          </p:cNvPr>
          <p:cNvSpPr/>
          <p:nvPr userDrawn="1"/>
        </p:nvSpPr>
        <p:spPr>
          <a:xfrm>
            <a:off x="9430410" y="2324598"/>
            <a:ext cx="69095" cy="69095"/>
          </a:xfrm>
          <a:custGeom>
            <a:avLst/>
            <a:gdLst>
              <a:gd name="connsiteX0" fmla="*/ 48578 w 47625"/>
              <a:gd name="connsiteY0" fmla="*/ 21907 h 47625"/>
              <a:gd name="connsiteX1" fmla="*/ 40958 w 47625"/>
              <a:gd name="connsiteY1" fmla="*/ 20955 h 47625"/>
              <a:gd name="connsiteX2" fmla="*/ 30480 w 47625"/>
              <a:gd name="connsiteY2" fmla="*/ 10477 h 47625"/>
              <a:gd name="connsiteX3" fmla="*/ 29528 w 47625"/>
              <a:gd name="connsiteY3" fmla="*/ 2857 h 47625"/>
              <a:gd name="connsiteX4" fmla="*/ 21908 w 47625"/>
              <a:gd name="connsiteY4" fmla="*/ 2857 h 47625"/>
              <a:gd name="connsiteX5" fmla="*/ 20955 w 47625"/>
              <a:gd name="connsiteY5" fmla="*/ 10477 h 47625"/>
              <a:gd name="connsiteX6" fmla="*/ 10478 w 47625"/>
              <a:gd name="connsiteY6" fmla="*/ 20955 h 47625"/>
              <a:gd name="connsiteX7" fmla="*/ 2858 w 47625"/>
              <a:gd name="connsiteY7" fmla="*/ 21907 h 47625"/>
              <a:gd name="connsiteX8" fmla="*/ 2858 w 47625"/>
              <a:gd name="connsiteY8" fmla="*/ 29527 h 47625"/>
              <a:gd name="connsiteX9" fmla="*/ 10478 w 47625"/>
              <a:gd name="connsiteY9" fmla="*/ 30480 h 47625"/>
              <a:gd name="connsiteX10" fmla="*/ 20955 w 47625"/>
              <a:gd name="connsiteY10" fmla="*/ 40957 h 47625"/>
              <a:gd name="connsiteX11" fmla="*/ 21908 w 47625"/>
              <a:gd name="connsiteY11" fmla="*/ 48577 h 47625"/>
              <a:gd name="connsiteX12" fmla="*/ 29528 w 47625"/>
              <a:gd name="connsiteY12" fmla="*/ 48577 h 47625"/>
              <a:gd name="connsiteX13" fmla="*/ 30480 w 47625"/>
              <a:gd name="connsiteY13" fmla="*/ 40957 h 47625"/>
              <a:gd name="connsiteX14" fmla="*/ 40958 w 47625"/>
              <a:gd name="connsiteY14" fmla="*/ 30480 h 47625"/>
              <a:gd name="connsiteX15" fmla="*/ 48578 w 47625"/>
              <a:gd name="connsiteY15" fmla="*/ 29527 h 47625"/>
              <a:gd name="connsiteX16" fmla="*/ 48578 w 47625"/>
              <a:gd name="connsiteY1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8" y="21907"/>
                </a:moveTo>
                <a:lnTo>
                  <a:pt x="40958" y="20955"/>
                </a:lnTo>
                <a:cubicBezTo>
                  <a:pt x="35242" y="20002"/>
                  <a:pt x="31433" y="16193"/>
                  <a:pt x="30480" y="10477"/>
                </a:cubicBezTo>
                <a:lnTo>
                  <a:pt x="29528" y="2857"/>
                </a:lnTo>
                <a:cubicBezTo>
                  <a:pt x="28575" y="-952"/>
                  <a:pt x="22860" y="-952"/>
                  <a:pt x="21908" y="2857"/>
                </a:cubicBezTo>
                <a:lnTo>
                  <a:pt x="20955" y="10477"/>
                </a:lnTo>
                <a:cubicBezTo>
                  <a:pt x="20003" y="15240"/>
                  <a:pt x="16192" y="20002"/>
                  <a:pt x="10478" y="20955"/>
                </a:cubicBezTo>
                <a:lnTo>
                  <a:pt x="2858" y="21907"/>
                </a:lnTo>
                <a:cubicBezTo>
                  <a:pt x="-953" y="22860"/>
                  <a:pt x="-953" y="28575"/>
                  <a:pt x="2858" y="29527"/>
                </a:cubicBezTo>
                <a:lnTo>
                  <a:pt x="10478" y="30480"/>
                </a:lnTo>
                <a:cubicBezTo>
                  <a:pt x="15240" y="31432"/>
                  <a:pt x="20003" y="35243"/>
                  <a:pt x="20955" y="40957"/>
                </a:cubicBezTo>
                <a:lnTo>
                  <a:pt x="21908" y="48577"/>
                </a:lnTo>
                <a:cubicBezTo>
                  <a:pt x="22860" y="52387"/>
                  <a:pt x="28575" y="52387"/>
                  <a:pt x="29528" y="48577"/>
                </a:cubicBezTo>
                <a:lnTo>
                  <a:pt x="30480" y="40957"/>
                </a:lnTo>
                <a:cubicBezTo>
                  <a:pt x="31433" y="36195"/>
                  <a:pt x="35242" y="31432"/>
                  <a:pt x="40958" y="30480"/>
                </a:cubicBezTo>
                <a:lnTo>
                  <a:pt x="48578" y="29527"/>
                </a:lnTo>
                <a:cubicBezTo>
                  <a:pt x="52387" y="27623"/>
                  <a:pt x="52387" y="21907"/>
                  <a:pt x="48578" y="21907"/>
                </a:cubicBezTo>
                <a:close/>
              </a:path>
            </a:pathLst>
          </a:custGeom>
          <a:solidFill>
            <a:schemeClr val="bg1"/>
          </a:solidFill>
          <a:ln w="9525" cap="flat">
            <a:noFill/>
            <a:prstDash val="solid"/>
            <a:miter/>
          </a:ln>
        </p:spPr>
        <p:txBody>
          <a:bodyPr rtlCol="0" anchor="ctr"/>
          <a:lstStyle/>
          <a:p>
            <a:endParaRPr lang="zh-CN" altLang="en-US"/>
          </a:p>
        </p:txBody>
      </p:sp>
      <p:sp>
        <p:nvSpPr>
          <p:cNvPr id="25" name="任意多边形: 形状 24">
            <a:extLst>
              <a:ext uri="{FF2B5EF4-FFF2-40B4-BE49-F238E27FC236}">
                <a16:creationId xmlns:a16="http://schemas.microsoft.com/office/drawing/2014/main" id="{2B02E587-985E-4204-B77F-8FEC594C49FF}"/>
              </a:ext>
            </a:extLst>
          </p:cNvPr>
          <p:cNvSpPr/>
          <p:nvPr userDrawn="1"/>
        </p:nvSpPr>
        <p:spPr>
          <a:xfrm>
            <a:off x="10702438" y="1207135"/>
            <a:ext cx="69095" cy="69095"/>
          </a:xfrm>
          <a:custGeom>
            <a:avLst/>
            <a:gdLst>
              <a:gd name="connsiteX0" fmla="*/ 48577 w 47625"/>
              <a:gd name="connsiteY0" fmla="*/ 21908 h 47625"/>
              <a:gd name="connsiteX1" fmla="*/ 40958 w 47625"/>
              <a:gd name="connsiteY1" fmla="*/ 20955 h 47625"/>
              <a:gd name="connsiteX2" fmla="*/ 30480 w 47625"/>
              <a:gd name="connsiteY2" fmla="*/ 10478 h 47625"/>
              <a:gd name="connsiteX3" fmla="*/ 29527 w 47625"/>
              <a:gd name="connsiteY3" fmla="*/ 2858 h 47625"/>
              <a:gd name="connsiteX4" fmla="*/ 21908 w 47625"/>
              <a:gd name="connsiteY4" fmla="*/ 2858 h 47625"/>
              <a:gd name="connsiteX5" fmla="*/ 20955 w 47625"/>
              <a:gd name="connsiteY5" fmla="*/ 10478 h 47625"/>
              <a:gd name="connsiteX6" fmla="*/ 10477 w 47625"/>
              <a:gd name="connsiteY6" fmla="*/ 20955 h 47625"/>
              <a:gd name="connsiteX7" fmla="*/ 2858 w 47625"/>
              <a:gd name="connsiteY7" fmla="*/ 21908 h 47625"/>
              <a:gd name="connsiteX8" fmla="*/ 2858 w 47625"/>
              <a:gd name="connsiteY8" fmla="*/ 29528 h 47625"/>
              <a:gd name="connsiteX9" fmla="*/ 10477 w 47625"/>
              <a:gd name="connsiteY9" fmla="*/ 30480 h 47625"/>
              <a:gd name="connsiteX10" fmla="*/ 20955 w 47625"/>
              <a:gd name="connsiteY10" fmla="*/ 40958 h 47625"/>
              <a:gd name="connsiteX11" fmla="*/ 21908 w 47625"/>
              <a:gd name="connsiteY11" fmla="*/ 48578 h 47625"/>
              <a:gd name="connsiteX12" fmla="*/ 29527 w 47625"/>
              <a:gd name="connsiteY12" fmla="*/ 48578 h 47625"/>
              <a:gd name="connsiteX13" fmla="*/ 30480 w 47625"/>
              <a:gd name="connsiteY13" fmla="*/ 40958 h 47625"/>
              <a:gd name="connsiteX14" fmla="*/ 40958 w 47625"/>
              <a:gd name="connsiteY14" fmla="*/ 30480 h 47625"/>
              <a:gd name="connsiteX15" fmla="*/ 48577 w 47625"/>
              <a:gd name="connsiteY15" fmla="*/ 29528 h 47625"/>
              <a:gd name="connsiteX16" fmla="*/ 48577 w 47625"/>
              <a:gd name="connsiteY16" fmla="*/ 219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7" y="21908"/>
                </a:moveTo>
                <a:lnTo>
                  <a:pt x="40958" y="20955"/>
                </a:lnTo>
                <a:cubicBezTo>
                  <a:pt x="36195" y="20003"/>
                  <a:pt x="31433" y="16193"/>
                  <a:pt x="30480" y="10478"/>
                </a:cubicBezTo>
                <a:lnTo>
                  <a:pt x="29527" y="2858"/>
                </a:lnTo>
                <a:cubicBezTo>
                  <a:pt x="28575" y="-953"/>
                  <a:pt x="22860" y="-953"/>
                  <a:pt x="21908" y="2858"/>
                </a:cubicBezTo>
                <a:lnTo>
                  <a:pt x="20955" y="10478"/>
                </a:lnTo>
                <a:cubicBezTo>
                  <a:pt x="20002" y="15240"/>
                  <a:pt x="16193" y="20003"/>
                  <a:pt x="10477" y="20955"/>
                </a:cubicBezTo>
                <a:lnTo>
                  <a:pt x="2858" y="21908"/>
                </a:lnTo>
                <a:cubicBezTo>
                  <a:pt x="-953" y="22860"/>
                  <a:pt x="-953" y="28575"/>
                  <a:pt x="2858" y="29528"/>
                </a:cubicBezTo>
                <a:lnTo>
                  <a:pt x="10477" y="30480"/>
                </a:lnTo>
                <a:cubicBezTo>
                  <a:pt x="15240" y="31433"/>
                  <a:pt x="20002" y="35243"/>
                  <a:pt x="20955" y="40958"/>
                </a:cubicBezTo>
                <a:lnTo>
                  <a:pt x="21908" y="48578"/>
                </a:lnTo>
                <a:cubicBezTo>
                  <a:pt x="22860" y="52387"/>
                  <a:pt x="28575" y="52387"/>
                  <a:pt x="29527" y="48578"/>
                </a:cubicBezTo>
                <a:lnTo>
                  <a:pt x="30480" y="40958"/>
                </a:lnTo>
                <a:cubicBezTo>
                  <a:pt x="31433" y="36195"/>
                  <a:pt x="35243" y="31433"/>
                  <a:pt x="40958" y="30480"/>
                </a:cubicBezTo>
                <a:lnTo>
                  <a:pt x="48577" y="29528"/>
                </a:lnTo>
                <a:cubicBezTo>
                  <a:pt x="52388" y="28575"/>
                  <a:pt x="52388" y="22860"/>
                  <a:pt x="48577" y="21908"/>
                </a:cubicBezTo>
                <a:close/>
              </a:path>
            </a:pathLst>
          </a:custGeom>
          <a:solidFill>
            <a:schemeClr val="accent6">
              <a:lumMod val="60000"/>
              <a:lumOff val="40000"/>
            </a:schemeClr>
          </a:solidFill>
          <a:ln w="9525" cap="flat">
            <a:noFill/>
            <a:prstDash val="solid"/>
            <a:miter/>
          </a:ln>
        </p:spPr>
        <p:txBody>
          <a:bodyPr rtlCol="0" anchor="ctr"/>
          <a:lstStyle/>
          <a:p>
            <a:endParaRPr lang="zh-CN" altLang="en-US"/>
          </a:p>
        </p:txBody>
      </p:sp>
      <p:sp>
        <p:nvSpPr>
          <p:cNvPr id="26" name="任意多边形: 形状 25">
            <a:extLst>
              <a:ext uri="{FF2B5EF4-FFF2-40B4-BE49-F238E27FC236}">
                <a16:creationId xmlns:a16="http://schemas.microsoft.com/office/drawing/2014/main" id="{9A46670A-0D90-4E75-982A-67BFDF9C7495}"/>
              </a:ext>
            </a:extLst>
          </p:cNvPr>
          <p:cNvSpPr/>
          <p:nvPr userDrawn="1"/>
        </p:nvSpPr>
        <p:spPr>
          <a:xfrm>
            <a:off x="11698116" y="5060770"/>
            <a:ext cx="69095" cy="69095"/>
          </a:xfrm>
          <a:custGeom>
            <a:avLst/>
            <a:gdLst>
              <a:gd name="connsiteX0" fmla="*/ 48577 w 47625"/>
              <a:gd name="connsiteY0" fmla="*/ 21908 h 47625"/>
              <a:gd name="connsiteX1" fmla="*/ 40957 w 47625"/>
              <a:gd name="connsiteY1" fmla="*/ 20955 h 47625"/>
              <a:gd name="connsiteX2" fmla="*/ 30480 w 47625"/>
              <a:gd name="connsiteY2" fmla="*/ 10478 h 47625"/>
              <a:gd name="connsiteX3" fmla="*/ 29527 w 47625"/>
              <a:gd name="connsiteY3" fmla="*/ 2858 h 47625"/>
              <a:gd name="connsiteX4" fmla="*/ 21907 w 47625"/>
              <a:gd name="connsiteY4" fmla="*/ 2858 h 47625"/>
              <a:gd name="connsiteX5" fmla="*/ 20955 w 47625"/>
              <a:gd name="connsiteY5" fmla="*/ 10478 h 47625"/>
              <a:gd name="connsiteX6" fmla="*/ 10477 w 47625"/>
              <a:gd name="connsiteY6" fmla="*/ 20955 h 47625"/>
              <a:gd name="connsiteX7" fmla="*/ 2857 w 47625"/>
              <a:gd name="connsiteY7" fmla="*/ 21908 h 47625"/>
              <a:gd name="connsiteX8" fmla="*/ 2857 w 47625"/>
              <a:gd name="connsiteY8" fmla="*/ 29528 h 47625"/>
              <a:gd name="connsiteX9" fmla="*/ 10477 w 47625"/>
              <a:gd name="connsiteY9" fmla="*/ 30480 h 47625"/>
              <a:gd name="connsiteX10" fmla="*/ 20955 w 47625"/>
              <a:gd name="connsiteY10" fmla="*/ 40958 h 47625"/>
              <a:gd name="connsiteX11" fmla="*/ 21907 w 47625"/>
              <a:gd name="connsiteY11" fmla="*/ 48578 h 47625"/>
              <a:gd name="connsiteX12" fmla="*/ 29527 w 47625"/>
              <a:gd name="connsiteY12" fmla="*/ 48578 h 47625"/>
              <a:gd name="connsiteX13" fmla="*/ 30480 w 47625"/>
              <a:gd name="connsiteY13" fmla="*/ 40958 h 47625"/>
              <a:gd name="connsiteX14" fmla="*/ 40957 w 47625"/>
              <a:gd name="connsiteY14" fmla="*/ 30480 h 47625"/>
              <a:gd name="connsiteX15" fmla="*/ 48577 w 47625"/>
              <a:gd name="connsiteY15" fmla="*/ 29528 h 47625"/>
              <a:gd name="connsiteX16" fmla="*/ 48577 w 47625"/>
              <a:gd name="connsiteY16" fmla="*/ 2190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7" y="21908"/>
                </a:moveTo>
                <a:lnTo>
                  <a:pt x="40957" y="20955"/>
                </a:lnTo>
                <a:cubicBezTo>
                  <a:pt x="36195" y="20003"/>
                  <a:pt x="31432" y="16193"/>
                  <a:pt x="30480" y="10478"/>
                </a:cubicBezTo>
                <a:lnTo>
                  <a:pt x="29527" y="2858"/>
                </a:lnTo>
                <a:cubicBezTo>
                  <a:pt x="28575" y="-953"/>
                  <a:pt x="22860" y="-953"/>
                  <a:pt x="21907" y="2858"/>
                </a:cubicBezTo>
                <a:lnTo>
                  <a:pt x="20955" y="10478"/>
                </a:lnTo>
                <a:cubicBezTo>
                  <a:pt x="20002" y="15240"/>
                  <a:pt x="16192" y="20003"/>
                  <a:pt x="10477" y="20955"/>
                </a:cubicBezTo>
                <a:lnTo>
                  <a:pt x="2857" y="21908"/>
                </a:lnTo>
                <a:cubicBezTo>
                  <a:pt x="-952" y="22860"/>
                  <a:pt x="-952" y="28575"/>
                  <a:pt x="2857" y="29528"/>
                </a:cubicBezTo>
                <a:lnTo>
                  <a:pt x="10477" y="30480"/>
                </a:lnTo>
                <a:cubicBezTo>
                  <a:pt x="15240" y="31433"/>
                  <a:pt x="20002" y="35243"/>
                  <a:pt x="20955" y="40958"/>
                </a:cubicBezTo>
                <a:lnTo>
                  <a:pt x="21907" y="48578"/>
                </a:lnTo>
                <a:cubicBezTo>
                  <a:pt x="22860" y="52388"/>
                  <a:pt x="28575" y="52388"/>
                  <a:pt x="29527" y="48578"/>
                </a:cubicBezTo>
                <a:lnTo>
                  <a:pt x="30480" y="40958"/>
                </a:lnTo>
                <a:cubicBezTo>
                  <a:pt x="31432" y="36195"/>
                  <a:pt x="35242" y="31433"/>
                  <a:pt x="40957" y="30480"/>
                </a:cubicBezTo>
                <a:lnTo>
                  <a:pt x="48577" y="29528"/>
                </a:lnTo>
                <a:cubicBezTo>
                  <a:pt x="53340" y="28575"/>
                  <a:pt x="53340" y="21908"/>
                  <a:pt x="48577" y="21908"/>
                </a:cubicBezTo>
                <a:close/>
              </a:path>
            </a:pathLst>
          </a:custGeom>
          <a:solidFill>
            <a:schemeClr val="bg1"/>
          </a:solidFill>
          <a:ln w="9525" cap="flat">
            <a:noFill/>
            <a:prstDash val="solid"/>
            <a:miter/>
          </a:ln>
        </p:spPr>
        <p:txBody>
          <a:bodyPr rtlCol="0" anchor="ctr"/>
          <a:lstStyle/>
          <a:p>
            <a:endParaRPr lang="zh-CN" altLang="en-US"/>
          </a:p>
        </p:txBody>
      </p:sp>
      <p:sp>
        <p:nvSpPr>
          <p:cNvPr id="27" name="任意多边形: 形状 26">
            <a:extLst>
              <a:ext uri="{FF2B5EF4-FFF2-40B4-BE49-F238E27FC236}">
                <a16:creationId xmlns:a16="http://schemas.microsoft.com/office/drawing/2014/main" id="{0D242E1A-14A5-4489-8873-213973D69DC7}"/>
              </a:ext>
            </a:extLst>
          </p:cNvPr>
          <p:cNvSpPr/>
          <p:nvPr userDrawn="1"/>
        </p:nvSpPr>
        <p:spPr>
          <a:xfrm>
            <a:off x="11287689" y="4309013"/>
            <a:ext cx="69095" cy="69095"/>
          </a:xfrm>
          <a:custGeom>
            <a:avLst/>
            <a:gdLst>
              <a:gd name="connsiteX0" fmla="*/ 48578 w 47625"/>
              <a:gd name="connsiteY0" fmla="*/ 21907 h 47625"/>
              <a:gd name="connsiteX1" fmla="*/ 40958 w 47625"/>
              <a:gd name="connsiteY1" fmla="*/ 20955 h 47625"/>
              <a:gd name="connsiteX2" fmla="*/ 30480 w 47625"/>
              <a:gd name="connsiteY2" fmla="*/ 10478 h 47625"/>
              <a:gd name="connsiteX3" fmla="*/ 29528 w 47625"/>
              <a:gd name="connsiteY3" fmla="*/ 2857 h 47625"/>
              <a:gd name="connsiteX4" fmla="*/ 21908 w 47625"/>
              <a:gd name="connsiteY4" fmla="*/ 2857 h 47625"/>
              <a:gd name="connsiteX5" fmla="*/ 20955 w 47625"/>
              <a:gd name="connsiteY5" fmla="*/ 10478 h 47625"/>
              <a:gd name="connsiteX6" fmla="*/ 10478 w 47625"/>
              <a:gd name="connsiteY6" fmla="*/ 20955 h 47625"/>
              <a:gd name="connsiteX7" fmla="*/ 2858 w 47625"/>
              <a:gd name="connsiteY7" fmla="*/ 21907 h 47625"/>
              <a:gd name="connsiteX8" fmla="*/ 2858 w 47625"/>
              <a:gd name="connsiteY8" fmla="*/ 29528 h 47625"/>
              <a:gd name="connsiteX9" fmla="*/ 10478 w 47625"/>
              <a:gd name="connsiteY9" fmla="*/ 30480 h 47625"/>
              <a:gd name="connsiteX10" fmla="*/ 20955 w 47625"/>
              <a:gd name="connsiteY10" fmla="*/ 40957 h 47625"/>
              <a:gd name="connsiteX11" fmla="*/ 21908 w 47625"/>
              <a:gd name="connsiteY11" fmla="*/ 48578 h 47625"/>
              <a:gd name="connsiteX12" fmla="*/ 29528 w 47625"/>
              <a:gd name="connsiteY12" fmla="*/ 48578 h 47625"/>
              <a:gd name="connsiteX13" fmla="*/ 30480 w 47625"/>
              <a:gd name="connsiteY13" fmla="*/ 40957 h 47625"/>
              <a:gd name="connsiteX14" fmla="*/ 40958 w 47625"/>
              <a:gd name="connsiteY14" fmla="*/ 30480 h 47625"/>
              <a:gd name="connsiteX15" fmla="*/ 48578 w 47625"/>
              <a:gd name="connsiteY15" fmla="*/ 29528 h 47625"/>
              <a:gd name="connsiteX16" fmla="*/ 48578 w 47625"/>
              <a:gd name="connsiteY1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8" y="21907"/>
                </a:moveTo>
                <a:lnTo>
                  <a:pt x="40958" y="20955"/>
                </a:lnTo>
                <a:cubicBezTo>
                  <a:pt x="36195" y="20003"/>
                  <a:pt x="31433" y="16193"/>
                  <a:pt x="30480" y="10478"/>
                </a:cubicBezTo>
                <a:lnTo>
                  <a:pt x="29528" y="2857"/>
                </a:lnTo>
                <a:cubicBezTo>
                  <a:pt x="28575" y="-952"/>
                  <a:pt x="22860" y="-952"/>
                  <a:pt x="21908" y="2857"/>
                </a:cubicBezTo>
                <a:lnTo>
                  <a:pt x="20955" y="10478"/>
                </a:lnTo>
                <a:cubicBezTo>
                  <a:pt x="20003" y="15240"/>
                  <a:pt x="16193" y="20003"/>
                  <a:pt x="10478" y="20955"/>
                </a:cubicBezTo>
                <a:lnTo>
                  <a:pt x="2858" y="21907"/>
                </a:lnTo>
                <a:cubicBezTo>
                  <a:pt x="-953" y="22860"/>
                  <a:pt x="-953" y="28575"/>
                  <a:pt x="2858" y="29528"/>
                </a:cubicBezTo>
                <a:lnTo>
                  <a:pt x="10478" y="30480"/>
                </a:lnTo>
                <a:cubicBezTo>
                  <a:pt x="15240" y="31432"/>
                  <a:pt x="20003" y="35243"/>
                  <a:pt x="20955" y="40957"/>
                </a:cubicBezTo>
                <a:lnTo>
                  <a:pt x="21908" y="48578"/>
                </a:lnTo>
                <a:cubicBezTo>
                  <a:pt x="22860" y="52388"/>
                  <a:pt x="28575" y="52388"/>
                  <a:pt x="29528" y="48578"/>
                </a:cubicBezTo>
                <a:lnTo>
                  <a:pt x="30480" y="40957"/>
                </a:lnTo>
                <a:cubicBezTo>
                  <a:pt x="31433" y="36195"/>
                  <a:pt x="35243" y="31432"/>
                  <a:pt x="40958" y="30480"/>
                </a:cubicBezTo>
                <a:lnTo>
                  <a:pt x="48578" y="29528"/>
                </a:lnTo>
                <a:cubicBezTo>
                  <a:pt x="52388" y="28575"/>
                  <a:pt x="52388" y="22860"/>
                  <a:pt x="48578" y="21907"/>
                </a:cubicBezTo>
                <a:close/>
              </a:path>
            </a:pathLst>
          </a:custGeom>
          <a:solidFill>
            <a:schemeClr val="bg1"/>
          </a:solidFill>
          <a:ln w="9525" cap="flat">
            <a:noFill/>
            <a:prstDash val="solid"/>
            <a:miter/>
          </a:ln>
        </p:spPr>
        <p:txBody>
          <a:bodyPr rtlCol="0" anchor="ctr"/>
          <a:lstStyle/>
          <a:p>
            <a:endParaRPr lang="zh-CN" altLang="en-US"/>
          </a:p>
        </p:txBody>
      </p:sp>
      <p:sp>
        <p:nvSpPr>
          <p:cNvPr id="28" name="任意多边形: 形状 27">
            <a:extLst>
              <a:ext uri="{FF2B5EF4-FFF2-40B4-BE49-F238E27FC236}">
                <a16:creationId xmlns:a16="http://schemas.microsoft.com/office/drawing/2014/main" id="{80EAE9C0-C7FD-42A5-81B2-ED4C7D1CCE22}"/>
              </a:ext>
            </a:extLst>
          </p:cNvPr>
          <p:cNvSpPr/>
          <p:nvPr userDrawn="1"/>
        </p:nvSpPr>
        <p:spPr>
          <a:xfrm>
            <a:off x="8771260" y="6591099"/>
            <a:ext cx="69095" cy="69095"/>
          </a:xfrm>
          <a:custGeom>
            <a:avLst/>
            <a:gdLst>
              <a:gd name="connsiteX0" fmla="*/ 48578 w 47625"/>
              <a:gd name="connsiteY0" fmla="*/ 21907 h 47625"/>
              <a:gd name="connsiteX1" fmla="*/ 40958 w 47625"/>
              <a:gd name="connsiteY1" fmla="*/ 20955 h 47625"/>
              <a:gd name="connsiteX2" fmla="*/ 30480 w 47625"/>
              <a:gd name="connsiteY2" fmla="*/ 10478 h 47625"/>
              <a:gd name="connsiteX3" fmla="*/ 29528 w 47625"/>
              <a:gd name="connsiteY3" fmla="*/ 2857 h 47625"/>
              <a:gd name="connsiteX4" fmla="*/ 21908 w 47625"/>
              <a:gd name="connsiteY4" fmla="*/ 2857 h 47625"/>
              <a:gd name="connsiteX5" fmla="*/ 20955 w 47625"/>
              <a:gd name="connsiteY5" fmla="*/ 10478 h 47625"/>
              <a:gd name="connsiteX6" fmla="*/ 10478 w 47625"/>
              <a:gd name="connsiteY6" fmla="*/ 20955 h 47625"/>
              <a:gd name="connsiteX7" fmla="*/ 2858 w 47625"/>
              <a:gd name="connsiteY7" fmla="*/ 21907 h 47625"/>
              <a:gd name="connsiteX8" fmla="*/ 2858 w 47625"/>
              <a:gd name="connsiteY8" fmla="*/ 29528 h 47625"/>
              <a:gd name="connsiteX9" fmla="*/ 10478 w 47625"/>
              <a:gd name="connsiteY9" fmla="*/ 30480 h 47625"/>
              <a:gd name="connsiteX10" fmla="*/ 20955 w 47625"/>
              <a:gd name="connsiteY10" fmla="*/ 40957 h 47625"/>
              <a:gd name="connsiteX11" fmla="*/ 21908 w 47625"/>
              <a:gd name="connsiteY11" fmla="*/ 48578 h 47625"/>
              <a:gd name="connsiteX12" fmla="*/ 29528 w 47625"/>
              <a:gd name="connsiteY12" fmla="*/ 48578 h 47625"/>
              <a:gd name="connsiteX13" fmla="*/ 30480 w 47625"/>
              <a:gd name="connsiteY13" fmla="*/ 40957 h 47625"/>
              <a:gd name="connsiteX14" fmla="*/ 40958 w 47625"/>
              <a:gd name="connsiteY14" fmla="*/ 30480 h 47625"/>
              <a:gd name="connsiteX15" fmla="*/ 48578 w 47625"/>
              <a:gd name="connsiteY15" fmla="*/ 29528 h 47625"/>
              <a:gd name="connsiteX16" fmla="*/ 48578 w 47625"/>
              <a:gd name="connsiteY1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8" y="21907"/>
                </a:moveTo>
                <a:lnTo>
                  <a:pt x="40958" y="20955"/>
                </a:lnTo>
                <a:cubicBezTo>
                  <a:pt x="35242" y="20003"/>
                  <a:pt x="31433" y="16192"/>
                  <a:pt x="30480" y="10478"/>
                </a:cubicBezTo>
                <a:lnTo>
                  <a:pt x="29528" y="2857"/>
                </a:lnTo>
                <a:cubicBezTo>
                  <a:pt x="28575" y="-952"/>
                  <a:pt x="22860" y="-952"/>
                  <a:pt x="21908" y="2857"/>
                </a:cubicBezTo>
                <a:lnTo>
                  <a:pt x="20955" y="10478"/>
                </a:lnTo>
                <a:cubicBezTo>
                  <a:pt x="20003" y="15240"/>
                  <a:pt x="16192" y="20003"/>
                  <a:pt x="10478" y="20955"/>
                </a:cubicBezTo>
                <a:lnTo>
                  <a:pt x="2858" y="21907"/>
                </a:lnTo>
                <a:cubicBezTo>
                  <a:pt x="-953" y="22860"/>
                  <a:pt x="-953" y="28575"/>
                  <a:pt x="2858" y="29528"/>
                </a:cubicBezTo>
                <a:lnTo>
                  <a:pt x="10478" y="30480"/>
                </a:lnTo>
                <a:cubicBezTo>
                  <a:pt x="15240" y="31432"/>
                  <a:pt x="20003" y="35242"/>
                  <a:pt x="20955" y="40957"/>
                </a:cubicBezTo>
                <a:lnTo>
                  <a:pt x="21908" y="48578"/>
                </a:lnTo>
                <a:cubicBezTo>
                  <a:pt x="22860" y="52388"/>
                  <a:pt x="28575" y="52388"/>
                  <a:pt x="29528" y="48578"/>
                </a:cubicBezTo>
                <a:lnTo>
                  <a:pt x="30480" y="40957"/>
                </a:lnTo>
                <a:cubicBezTo>
                  <a:pt x="31433" y="36195"/>
                  <a:pt x="35242" y="31432"/>
                  <a:pt x="40958" y="30480"/>
                </a:cubicBezTo>
                <a:lnTo>
                  <a:pt x="48578" y="29528"/>
                </a:lnTo>
                <a:cubicBezTo>
                  <a:pt x="52388" y="28575"/>
                  <a:pt x="52388" y="22860"/>
                  <a:pt x="48578" y="21907"/>
                </a:cubicBezTo>
                <a:close/>
              </a:path>
            </a:pathLst>
          </a:custGeom>
          <a:solidFill>
            <a:schemeClr val="bg1"/>
          </a:solidFill>
          <a:ln w="9525" cap="flat">
            <a:noFill/>
            <a:prstDash val="solid"/>
            <a:miter/>
          </a:ln>
        </p:spPr>
        <p:txBody>
          <a:bodyPr rtlCol="0" anchor="ctr"/>
          <a:lstStyle/>
          <a:p>
            <a:endParaRPr lang="zh-CN" altLang="en-US"/>
          </a:p>
        </p:txBody>
      </p:sp>
      <p:sp>
        <p:nvSpPr>
          <p:cNvPr id="29" name="任意多边形: 形状 28">
            <a:extLst>
              <a:ext uri="{FF2B5EF4-FFF2-40B4-BE49-F238E27FC236}">
                <a16:creationId xmlns:a16="http://schemas.microsoft.com/office/drawing/2014/main" id="{6E12EFC0-D56C-4D8E-A3BC-220EB750F9FE}"/>
              </a:ext>
            </a:extLst>
          </p:cNvPr>
          <p:cNvSpPr/>
          <p:nvPr userDrawn="1"/>
        </p:nvSpPr>
        <p:spPr>
          <a:xfrm>
            <a:off x="9437552" y="3593705"/>
            <a:ext cx="69095" cy="69095"/>
          </a:xfrm>
          <a:custGeom>
            <a:avLst/>
            <a:gdLst>
              <a:gd name="connsiteX0" fmla="*/ 48577 w 47625"/>
              <a:gd name="connsiteY0" fmla="*/ 21907 h 47625"/>
              <a:gd name="connsiteX1" fmla="*/ 40958 w 47625"/>
              <a:gd name="connsiteY1" fmla="*/ 20955 h 47625"/>
              <a:gd name="connsiteX2" fmla="*/ 30480 w 47625"/>
              <a:gd name="connsiteY2" fmla="*/ 10477 h 47625"/>
              <a:gd name="connsiteX3" fmla="*/ 29527 w 47625"/>
              <a:gd name="connsiteY3" fmla="*/ 2857 h 47625"/>
              <a:gd name="connsiteX4" fmla="*/ 21908 w 47625"/>
              <a:gd name="connsiteY4" fmla="*/ 2857 h 47625"/>
              <a:gd name="connsiteX5" fmla="*/ 20955 w 47625"/>
              <a:gd name="connsiteY5" fmla="*/ 10477 h 47625"/>
              <a:gd name="connsiteX6" fmla="*/ 10477 w 47625"/>
              <a:gd name="connsiteY6" fmla="*/ 20955 h 47625"/>
              <a:gd name="connsiteX7" fmla="*/ 2858 w 47625"/>
              <a:gd name="connsiteY7" fmla="*/ 21907 h 47625"/>
              <a:gd name="connsiteX8" fmla="*/ 2858 w 47625"/>
              <a:gd name="connsiteY8" fmla="*/ 29527 h 47625"/>
              <a:gd name="connsiteX9" fmla="*/ 10477 w 47625"/>
              <a:gd name="connsiteY9" fmla="*/ 30480 h 47625"/>
              <a:gd name="connsiteX10" fmla="*/ 20955 w 47625"/>
              <a:gd name="connsiteY10" fmla="*/ 40957 h 47625"/>
              <a:gd name="connsiteX11" fmla="*/ 21908 w 47625"/>
              <a:gd name="connsiteY11" fmla="*/ 48577 h 47625"/>
              <a:gd name="connsiteX12" fmla="*/ 29527 w 47625"/>
              <a:gd name="connsiteY12" fmla="*/ 48577 h 47625"/>
              <a:gd name="connsiteX13" fmla="*/ 30480 w 47625"/>
              <a:gd name="connsiteY13" fmla="*/ 40957 h 47625"/>
              <a:gd name="connsiteX14" fmla="*/ 40958 w 47625"/>
              <a:gd name="connsiteY14" fmla="*/ 30480 h 47625"/>
              <a:gd name="connsiteX15" fmla="*/ 48577 w 47625"/>
              <a:gd name="connsiteY15" fmla="*/ 29527 h 47625"/>
              <a:gd name="connsiteX16" fmla="*/ 48577 w 47625"/>
              <a:gd name="connsiteY1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7" y="21907"/>
                </a:moveTo>
                <a:lnTo>
                  <a:pt x="40958" y="20955"/>
                </a:lnTo>
                <a:cubicBezTo>
                  <a:pt x="36195" y="20002"/>
                  <a:pt x="31433" y="16192"/>
                  <a:pt x="30480" y="10477"/>
                </a:cubicBezTo>
                <a:lnTo>
                  <a:pt x="29527" y="2857"/>
                </a:lnTo>
                <a:cubicBezTo>
                  <a:pt x="28575" y="-952"/>
                  <a:pt x="22860" y="-952"/>
                  <a:pt x="21908" y="2857"/>
                </a:cubicBezTo>
                <a:lnTo>
                  <a:pt x="20955" y="10477"/>
                </a:lnTo>
                <a:cubicBezTo>
                  <a:pt x="20002" y="15240"/>
                  <a:pt x="16192" y="20002"/>
                  <a:pt x="10477" y="20955"/>
                </a:cubicBezTo>
                <a:lnTo>
                  <a:pt x="2858" y="21907"/>
                </a:lnTo>
                <a:cubicBezTo>
                  <a:pt x="-953" y="22860"/>
                  <a:pt x="-953" y="28575"/>
                  <a:pt x="2858" y="29527"/>
                </a:cubicBezTo>
                <a:lnTo>
                  <a:pt x="10477" y="30480"/>
                </a:lnTo>
                <a:cubicBezTo>
                  <a:pt x="15240" y="31432"/>
                  <a:pt x="20002" y="35242"/>
                  <a:pt x="20955" y="40957"/>
                </a:cubicBezTo>
                <a:lnTo>
                  <a:pt x="21908" y="48577"/>
                </a:lnTo>
                <a:cubicBezTo>
                  <a:pt x="22860" y="52387"/>
                  <a:pt x="28575" y="52387"/>
                  <a:pt x="29527" y="48577"/>
                </a:cubicBezTo>
                <a:lnTo>
                  <a:pt x="30480" y="40957"/>
                </a:lnTo>
                <a:cubicBezTo>
                  <a:pt x="31433" y="36195"/>
                  <a:pt x="35242" y="31432"/>
                  <a:pt x="40958" y="30480"/>
                </a:cubicBezTo>
                <a:lnTo>
                  <a:pt x="48577" y="29527"/>
                </a:lnTo>
                <a:cubicBezTo>
                  <a:pt x="52387" y="28575"/>
                  <a:pt x="52387" y="22860"/>
                  <a:pt x="48577" y="21907"/>
                </a:cubicBezTo>
                <a:close/>
              </a:path>
            </a:pathLst>
          </a:custGeom>
          <a:solidFill>
            <a:schemeClr val="bg1"/>
          </a:solidFill>
          <a:ln w="9525" cap="flat">
            <a:noFill/>
            <a:prstDash val="solid"/>
            <a:miter/>
          </a:ln>
        </p:spPr>
        <p:txBody>
          <a:bodyPr rtlCol="0" anchor="ctr"/>
          <a:lstStyle/>
          <a:p>
            <a:endParaRPr lang="zh-CN" altLang="en-US"/>
          </a:p>
        </p:txBody>
      </p:sp>
      <p:sp>
        <p:nvSpPr>
          <p:cNvPr id="30" name="任意多边形: 形状 29">
            <a:extLst>
              <a:ext uri="{FF2B5EF4-FFF2-40B4-BE49-F238E27FC236}">
                <a16:creationId xmlns:a16="http://schemas.microsoft.com/office/drawing/2014/main" id="{0B27DFF3-200A-4751-95CE-30EF45928129}"/>
              </a:ext>
            </a:extLst>
          </p:cNvPr>
          <p:cNvSpPr/>
          <p:nvPr userDrawn="1"/>
        </p:nvSpPr>
        <p:spPr>
          <a:xfrm>
            <a:off x="8060961" y="4899648"/>
            <a:ext cx="69095" cy="69095"/>
          </a:xfrm>
          <a:custGeom>
            <a:avLst/>
            <a:gdLst>
              <a:gd name="connsiteX0" fmla="*/ 48578 w 47625"/>
              <a:gd name="connsiteY0" fmla="*/ 21907 h 47625"/>
              <a:gd name="connsiteX1" fmla="*/ 40958 w 47625"/>
              <a:gd name="connsiteY1" fmla="*/ 20955 h 47625"/>
              <a:gd name="connsiteX2" fmla="*/ 30480 w 47625"/>
              <a:gd name="connsiteY2" fmla="*/ 10477 h 47625"/>
              <a:gd name="connsiteX3" fmla="*/ 29528 w 47625"/>
              <a:gd name="connsiteY3" fmla="*/ 2857 h 47625"/>
              <a:gd name="connsiteX4" fmla="*/ 21908 w 47625"/>
              <a:gd name="connsiteY4" fmla="*/ 2857 h 47625"/>
              <a:gd name="connsiteX5" fmla="*/ 20955 w 47625"/>
              <a:gd name="connsiteY5" fmla="*/ 10477 h 47625"/>
              <a:gd name="connsiteX6" fmla="*/ 10478 w 47625"/>
              <a:gd name="connsiteY6" fmla="*/ 20955 h 47625"/>
              <a:gd name="connsiteX7" fmla="*/ 2858 w 47625"/>
              <a:gd name="connsiteY7" fmla="*/ 21907 h 47625"/>
              <a:gd name="connsiteX8" fmla="*/ 2858 w 47625"/>
              <a:gd name="connsiteY8" fmla="*/ 29527 h 47625"/>
              <a:gd name="connsiteX9" fmla="*/ 10478 w 47625"/>
              <a:gd name="connsiteY9" fmla="*/ 30480 h 47625"/>
              <a:gd name="connsiteX10" fmla="*/ 20955 w 47625"/>
              <a:gd name="connsiteY10" fmla="*/ 40957 h 47625"/>
              <a:gd name="connsiteX11" fmla="*/ 21908 w 47625"/>
              <a:gd name="connsiteY11" fmla="*/ 48577 h 47625"/>
              <a:gd name="connsiteX12" fmla="*/ 29528 w 47625"/>
              <a:gd name="connsiteY12" fmla="*/ 48577 h 47625"/>
              <a:gd name="connsiteX13" fmla="*/ 30480 w 47625"/>
              <a:gd name="connsiteY13" fmla="*/ 40957 h 47625"/>
              <a:gd name="connsiteX14" fmla="*/ 40958 w 47625"/>
              <a:gd name="connsiteY14" fmla="*/ 30480 h 47625"/>
              <a:gd name="connsiteX15" fmla="*/ 48578 w 47625"/>
              <a:gd name="connsiteY15" fmla="*/ 29527 h 47625"/>
              <a:gd name="connsiteX16" fmla="*/ 48578 w 47625"/>
              <a:gd name="connsiteY1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625" h="47625">
                <a:moveTo>
                  <a:pt x="48578" y="21907"/>
                </a:moveTo>
                <a:lnTo>
                  <a:pt x="40958" y="20955"/>
                </a:lnTo>
                <a:cubicBezTo>
                  <a:pt x="36195" y="20002"/>
                  <a:pt x="31433" y="16192"/>
                  <a:pt x="30480" y="10477"/>
                </a:cubicBezTo>
                <a:lnTo>
                  <a:pt x="29528" y="2857"/>
                </a:lnTo>
                <a:cubicBezTo>
                  <a:pt x="28575" y="-952"/>
                  <a:pt x="22860" y="-952"/>
                  <a:pt x="21908" y="2857"/>
                </a:cubicBezTo>
                <a:lnTo>
                  <a:pt x="20955" y="10477"/>
                </a:lnTo>
                <a:cubicBezTo>
                  <a:pt x="20003" y="15240"/>
                  <a:pt x="16193" y="20002"/>
                  <a:pt x="10478" y="20955"/>
                </a:cubicBezTo>
                <a:lnTo>
                  <a:pt x="2858" y="21907"/>
                </a:lnTo>
                <a:cubicBezTo>
                  <a:pt x="-953" y="22860"/>
                  <a:pt x="-953" y="28575"/>
                  <a:pt x="2858" y="29527"/>
                </a:cubicBezTo>
                <a:lnTo>
                  <a:pt x="10478" y="30480"/>
                </a:lnTo>
                <a:cubicBezTo>
                  <a:pt x="15240" y="31432"/>
                  <a:pt x="20003" y="35242"/>
                  <a:pt x="20955" y="40957"/>
                </a:cubicBezTo>
                <a:lnTo>
                  <a:pt x="21908" y="48577"/>
                </a:lnTo>
                <a:cubicBezTo>
                  <a:pt x="22860" y="52388"/>
                  <a:pt x="28575" y="52388"/>
                  <a:pt x="29528" y="48577"/>
                </a:cubicBezTo>
                <a:lnTo>
                  <a:pt x="30480" y="40957"/>
                </a:lnTo>
                <a:cubicBezTo>
                  <a:pt x="31433" y="36195"/>
                  <a:pt x="35243" y="31432"/>
                  <a:pt x="40958" y="30480"/>
                </a:cubicBezTo>
                <a:lnTo>
                  <a:pt x="48578" y="29527"/>
                </a:lnTo>
                <a:cubicBezTo>
                  <a:pt x="53340" y="28575"/>
                  <a:pt x="53340" y="21907"/>
                  <a:pt x="48578" y="21907"/>
                </a:cubicBezTo>
                <a:close/>
              </a:path>
            </a:pathLst>
          </a:custGeom>
          <a:solidFill>
            <a:schemeClr val="bg1"/>
          </a:solidFill>
          <a:ln w="9525" cap="flat">
            <a:noFill/>
            <a:prstDash val="solid"/>
            <a:miter/>
          </a:ln>
        </p:spPr>
        <p:txBody>
          <a:bodyPr rtlCol="0" anchor="ctr"/>
          <a:lstStyle/>
          <a:p>
            <a:endParaRPr lang="zh-CN" altLang="en-US"/>
          </a:p>
        </p:txBody>
      </p:sp>
      <p:grpSp>
        <p:nvGrpSpPr>
          <p:cNvPr id="31" name="组合 30">
            <a:extLst>
              <a:ext uri="{FF2B5EF4-FFF2-40B4-BE49-F238E27FC236}">
                <a16:creationId xmlns:a16="http://schemas.microsoft.com/office/drawing/2014/main" id="{34625F2D-7ECA-4485-8797-AF746AB7B4F1}"/>
              </a:ext>
            </a:extLst>
          </p:cNvPr>
          <p:cNvGrpSpPr/>
          <p:nvPr userDrawn="1"/>
        </p:nvGrpSpPr>
        <p:grpSpPr>
          <a:xfrm>
            <a:off x="7909310" y="3154786"/>
            <a:ext cx="1580265" cy="1581183"/>
            <a:chOff x="7656331" y="2872769"/>
            <a:chExt cx="1580265" cy="1581183"/>
          </a:xfrm>
          <a:effectLst>
            <a:glow rad="101600">
              <a:schemeClr val="accent2">
                <a:lumMod val="60000"/>
                <a:lumOff val="40000"/>
                <a:alpha val="28000"/>
              </a:schemeClr>
            </a:glow>
          </a:effectLst>
        </p:grpSpPr>
        <p:sp>
          <p:nvSpPr>
            <p:cNvPr id="32" name="任意多边形: 形状 31">
              <a:extLst>
                <a:ext uri="{FF2B5EF4-FFF2-40B4-BE49-F238E27FC236}">
                  <a16:creationId xmlns:a16="http://schemas.microsoft.com/office/drawing/2014/main" id="{1B3D9EBB-5995-4785-8362-8C78473BF864}"/>
                </a:ext>
              </a:extLst>
            </p:cNvPr>
            <p:cNvSpPr/>
            <p:nvPr/>
          </p:nvSpPr>
          <p:spPr>
            <a:xfrm>
              <a:off x="7656331" y="2872769"/>
              <a:ext cx="1580063" cy="1580063"/>
            </a:xfrm>
            <a:custGeom>
              <a:avLst/>
              <a:gdLst>
                <a:gd name="connsiteX0" fmla="*/ 889635 w 885825"/>
                <a:gd name="connsiteY0" fmla="*/ 444818 h 885825"/>
                <a:gd name="connsiteX1" fmla="*/ 444818 w 885825"/>
                <a:gd name="connsiteY1" fmla="*/ 889635 h 885825"/>
                <a:gd name="connsiteX2" fmla="*/ 0 w 885825"/>
                <a:gd name="connsiteY2" fmla="*/ 444818 h 885825"/>
                <a:gd name="connsiteX3" fmla="*/ 444818 w 885825"/>
                <a:gd name="connsiteY3" fmla="*/ 0 h 885825"/>
                <a:gd name="connsiteX4" fmla="*/ 889635 w 885825"/>
                <a:gd name="connsiteY4" fmla="*/ 444818 h 885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885825">
                  <a:moveTo>
                    <a:pt x="889635" y="444818"/>
                  </a:moveTo>
                  <a:cubicBezTo>
                    <a:pt x="889635" y="690483"/>
                    <a:pt x="690483" y="889635"/>
                    <a:pt x="444818" y="889635"/>
                  </a:cubicBezTo>
                  <a:cubicBezTo>
                    <a:pt x="199152" y="889635"/>
                    <a:pt x="0" y="690484"/>
                    <a:pt x="0" y="444818"/>
                  </a:cubicBezTo>
                  <a:cubicBezTo>
                    <a:pt x="0" y="199152"/>
                    <a:pt x="199152" y="0"/>
                    <a:pt x="444818" y="0"/>
                  </a:cubicBezTo>
                  <a:cubicBezTo>
                    <a:pt x="690483" y="0"/>
                    <a:pt x="889635" y="199152"/>
                    <a:pt x="889635" y="444818"/>
                  </a:cubicBezTo>
                  <a:close/>
                </a:path>
              </a:pathLst>
            </a:custGeom>
            <a:gradFill flip="none" rotWithShape="1">
              <a:gsLst>
                <a:gs pos="100000">
                  <a:srgbClr val="EA972E"/>
                </a:gs>
                <a:gs pos="49000">
                  <a:srgbClr val="D9250F"/>
                </a:gs>
              </a:gsLst>
              <a:lin ang="10800000" scaled="1"/>
              <a:tileRect/>
            </a:gradFill>
            <a:ln w="9525" cap="flat">
              <a:noFill/>
              <a:prstDash val="solid"/>
              <a:miter/>
            </a:ln>
          </p:spPr>
          <p:txBody>
            <a:bodyPr rtlCol="0" anchor="ctr"/>
            <a:lstStyle/>
            <a:p>
              <a:endParaRPr lang="zh-CN" altLang="en-US"/>
            </a:p>
          </p:txBody>
        </p:sp>
        <p:sp>
          <p:nvSpPr>
            <p:cNvPr id="33" name="任意多边形: 形状 32">
              <a:extLst>
                <a:ext uri="{FF2B5EF4-FFF2-40B4-BE49-F238E27FC236}">
                  <a16:creationId xmlns:a16="http://schemas.microsoft.com/office/drawing/2014/main" id="{D23FCDA9-5D75-46C4-A184-D4428ABE0172}"/>
                </a:ext>
              </a:extLst>
            </p:cNvPr>
            <p:cNvSpPr/>
            <p:nvPr/>
          </p:nvSpPr>
          <p:spPr>
            <a:xfrm>
              <a:off x="7656331" y="2872769"/>
              <a:ext cx="1580063" cy="1410164"/>
            </a:xfrm>
            <a:custGeom>
              <a:avLst/>
              <a:gdLst>
                <a:gd name="connsiteX0" fmla="*/ 444818 w 885825"/>
                <a:gd name="connsiteY0" fmla="*/ 0 h 790575"/>
                <a:gd name="connsiteX1" fmla="*/ 344805 w 885825"/>
                <a:gd name="connsiteY1" fmla="*/ 11430 h 790575"/>
                <a:gd name="connsiteX2" fmla="*/ 293370 w 885825"/>
                <a:gd name="connsiteY2" fmla="*/ 143827 h 790575"/>
                <a:gd name="connsiteX3" fmla="*/ 378143 w 885825"/>
                <a:gd name="connsiteY3" fmla="*/ 212408 h 790575"/>
                <a:gd name="connsiteX4" fmla="*/ 481965 w 885825"/>
                <a:gd name="connsiteY4" fmla="*/ 255270 h 790575"/>
                <a:gd name="connsiteX5" fmla="*/ 506730 w 885825"/>
                <a:gd name="connsiteY5" fmla="*/ 436245 h 790575"/>
                <a:gd name="connsiteX6" fmla="*/ 299085 w 885825"/>
                <a:gd name="connsiteY6" fmla="*/ 485775 h 790575"/>
                <a:gd name="connsiteX7" fmla="*/ 80010 w 885825"/>
                <a:gd name="connsiteY7" fmla="*/ 434340 h 790575"/>
                <a:gd name="connsiteX8" fmla="*/ 0 w 885825"/>
                <a:gd name="connsiteY8" fmla="*/ 452438 h 790575"/>
                <a:gd name="connsiteX9" fmla="*/ 171450 w 885825"/>
                <a:gd name="connsiteY9" fmla="*/ 796290 h 790575"/>
                <a:gd name="connsiteX10" fmla="*/ 357188 w 885825"/>
                <a:gd name="connsiteY10" fmla="*/ 746760 h 790575"/>
                <a:gd name="connsiteX11" fmla="*/ 615315 w 885825"/>
                <a:gd name="connsiteY11" fmla="*/ 671513 h 790575"/>
                <a:gd name="connsiteX12" fmla="*/ 793433 w 885825"/>
                <a:gd name="connsiteY12" fmla="*/ 721043 h 790575"/>
                <a:gd name="connsiteX13" fmla="*/ 888683 w 885825"/>
                <a:gd name="connsiteY13" fmla="*/ 446722 h 790575"/>
                <a:gd name="connsiteX14" fmla="*/ 444818 w 885825"/>
                <a:gd name="connsiteY14" fmla="*/ 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5825" h="790575">
                  <a:moveTo>
                    <a:pt x="444818" y="0"/>
                  </a:moveTo>
                  <a:cubicBezTo>
                    <a:pt x="410528" y="0"/>
                    <a:pt x="376238" y="3810"/>
                    <a:pt x="344805" y="11430"/>
                  </a:cubicBezTo>
                  <a:cubicBezTo>
                    <a:pt x="306705" y="48577"/>
                    <a:pt x="276225" y="96202"/>
                    <a:pt x="293370" y="143827"/>
                  </a:cubicBezTo>
                  <a:cubicBezTo>
                    <a:pt x="306705" y="179070"/>
                    <a:pt x="342900" y="200025"/>
                    <a:pt x="378143" y="212408"/>
                  </a:cubicBezTo>
                  <a:cubicBezTo>
                    <a:pt x="413385" y="224790"/>
                    <a:pt x="451485" y="232410"/>
                    <a:pt x="481965" y="255270"/>
                  </a:cubicBezTo>
                  <a:cubicBezTo>
                    <a:pt x="536258" y="295275"/>
                    <a:pt x="548640" y="382905"/>
                    <a:pt x="506730" y="436245"/>
                  </a:cubicBezTo>
                  <a:cubicBezTo>
                    <a:pt x="460058" y="495300"/>
                    <a:pt x="372428" y="501967"/>
                    <a:pt x="299085" y="485775"/>
                  </a:cubicBezTo>
                  <a:cubicBezTo>
                    <a:pt x="225743" y="469583"/>
                    <a:pt x="155258" y="437197"/>
                    <a:pt x="80010" y="434340"/>
                  </a:cubicBezTo>
                  <a:cubicBezTo>
                    <a:pt x="52388" y="433388"/>
                    <a:pt x="22860" y="438150"/>
                    <a:pt x="0" y="452438"/>
                  </a:cubicBezTo>
                  <a:cubicBezTo>
                    <a:pt x="1905" y="592455"/>
                    <a:pt x="68580" y="716280"/>
                    <a:pt x="171450" y="796290"/>
                  </a:cubicBezTo>
                  <a:cubicBezTo>
                    <a:pt x="234315" y="795337"/>
                    <a:pt x="299085" y="772477"/>
                    <a:pt x="357188" y="746760"/>
                  </a:cubicBezTo>
                  <a:cubicBezTo>
                    <a:pt x="440055" y="710565"/>
                    <a:pt x="524828" y="667702"/>
                    <a:pt x="615315" y="671513"/>
                  </a:cubicBezTo>
                  <a:cubicBezTo>
                    <a:pt x="676275" y="674370"/>
                    <a:pt x="735330" y="697230"/>
                    <a:pt x="793433" y="721043"/>
                  </a:cubicBezTo>
                  <a:cubicBezTo>
                    <a:pt x="852488" y="645795"/>
                    <a:pt x="888683" y="550545"/>
                    <a:pt x="888683" y="446722"/>
                  </a:cubicBezTo>
                  <a:cubicBezTo>
                    <a:pt x="889635" y="199072"/>
                    <a:pt x="690563" y="0"/>
                    <a:pt x="444818" y="0"/>
                  </a:cubicBezTo>
                  <a:close/>
                </a:path>
              </a:pathLst>
            </a:custGeom>
            <a:gradFill>
              <a:gsLst>
                <a:gs pos="79000">
                  <a:srgbClr val="E87F6F"/>
                </a:gs>
                <a:gs pos="13000">
                  <a:srgbClr val="D9250F"/>
                </a:gs>
              </a:gsLst>
              <a:lin ang="10800000" scaled="1"/>
            </a:gradFill>
            <a:ln w="9525" cap="flat">
              <a:noFill/>
              <a:prstDash val="solid"/>
              <a:miter/>
            </a:ln>
          </p:spPr>
          <p:txBody>
            <a:bodyPr rtlCol="0" anchor="ctr"/>
            <a:lstStyle/>
            <a:p>
              <a:endParaRPr lang="zh-CN" altLang="en-US"/>
            </a:p>
          </p:txBody>
        </p:sp>
        <p:sp>
          <p:nvSpPr>
            <p:cNvPr id="34" name="任意多边形: 形状 33">
              <a:extLst>
                <a:ext uri="{FF2B5EF4-FFF2-40B4-BE49-F238E27FC236}">
                  <a16:creationId xmlns:a16="http://schemas.microsoft.com/office/drawing/2014/main" id="{81DC9662-5FED-49FA-99E9-E26F8197F454}"/>
                </a:ext>
              </a:extLst>
            </p:cNvPr>
            <p:cNvSpPr/>
            <p:nvPr/>
          </p:nvSpPr>
          <p:spPr>
            <a:xfrm>
              <a:off x="8658938" y="2923739"/>
              <a:ext cx="577658" cy="1002405"/>
            </a:xfrm>
            <a:custGeom>
              <a:avLst/>
              <a:gdLst>
                <a:gd name="connsiteX0" fmla="*/ 37987 w 323850"/>
                <a:gd name="connsiteY0" fmla="*/ 0 h 561975"/>
                <a:gd name="connsiteX1" fmla="*/ 4649 w 323850"/>
                <a:gd name="connsiteY1" fmla="*/ 44767 h 561975"/>
                <a:gd name="connsiteX2" fmla="*/ 17032 w 323850"/>
                <a:gd name="connsiteY2" fmla="*/ 140017 h 561975"/>
                <a:gd name="connsiteX3" fmla="*/ 64657 w 323850"/>
                <a:gd name="connsiteY3" fmla="*/ 226695 h 561975"/>
                <a:gd name="connsiteX4" fmla="*/ 75134 w 323850"/>
                <a:gd name="connsiteY4" fmla="*/ 375285 h 561975"/>
                <a:gd name="connsiteX5" fmla="*/ 45607 w 323850"/>
                <a:gd name="connsiteY5" fmla="*/ 462915 h 561975"/>
                <a:gd name="connsiteX6" fmla="*/ 64657 w 323850"/>
                <a:gd name="connsiteY6" fmla="*/ 548640 h 561975"/>
                <a:gd name="connsiteX7" fmla="*/ 166574 w 323850"/>
                <a:gd name="connsiteY7" fmla="*/ 559118 h 561975"/>
                <a:gd name="connsiteX8" fmla="*/ 270397 w 323850"/>
                <a:gd name="connsiteY8" fmla="*/ 534352 h 561975"/>
                <a:gd name="connsiteX9" fmla="*/ 309449 w 323850"/>
                <a:gd name="connsiteY9" fmla="*/ 543877 h 561975"/>
                <a:gd name="connsiteX10" fmla="*/ 328499 w 323850"/>
                <a:gd name="connsiteY10" fmla="*/ 416242 h 561975"/>
                <a:gd name="connsiteX11" fmla="*/ 37987 w 323850"/>
                <a:gd name="connsiteY11" fmla="*/ 0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3850" h="561975">
                  <a:moveTo>
                    <a:pt x="37987" y="0"/>
                  </a:moveTo>
                  <a:cubicBezTo>
                    <a:pt x="22747" y="11430"/>
                    <a:pt x="10364" y="26670"/>
                    <a:pt x="4649" y="44767"/>
                  </a:cubicBezTo>
                  <a:cubicBezTo>
                    <a:pt x="-5828" y="76200"/>
                    <a:pt x="2744" y="110490"/>
                    <a:pt x="17032" y="140017"/>
                  </a:cubicBezTo>
                  <a:cubicBezTo>
                    <a:pt x="31319" y="169545"/>
                    <a:pt x="51322" y="196215"/>
                    <a:pt x="64657" y="226695"/>
                  </a:cubicBezTo>
                  <a:cubicBezTo>
                    <a:pt x="84659" y="273367"/>
                    <a:pt x="88469" y="326708"/>
                    <a:pt x="75134" y="375285"/>
                  </a:cubicBezTo>
                  <a:cubicBezTo>
                    <a:pt x="66562" y="404813"/>
                    <a:pt x="52274" y="432435"/>
                    <a:pt x="45607" y="462915"/>
                  </a:cubicBezTo>
                  <a:cubicBezTo>
                    <a:pt x="38939" y="493395"/>
                    <a:pt x="42749" y="527685"/>
                    <a:pt x="64657" y="548640"/>
                  </a:cubicBezTo>
                  <a:cubicBezTo>
                    <a:pt x="90374" y="573405"/>
                    <a:pt x="132284" y="569595"/>
                    <a:pt x="166574" y="559118"/>
                  </a:cubicBezTo>
                  <a:cubicBezTo>
                    <a:pt x="200864" y="548640"/>
                    <a:pt x="234202" y="532447"/>
                    <a:pt x="270397" y="534352"/>
                  </a:cubicBezTo>
                  <a:cubicBezTo>
                    <a:pt x="283732" y="535305"/>
                    <a:pt x="297067" y="539115"/>
                    <a:pt x="309449" y="543877"/>
                  </a:cubicBezTo>
                  <a:cubicBezTo>
                    <a:pt x="321832" y="503872"/>
                    <a:pt x="328499" y="461010"/>
                    <a:pt x="328499" y="416242"/>
                  </a:cubicBezTo>
                  <a:cubicBezTo>
                    <a:pt x="327547" y="225742"/>
                    <a:pt x="206579" y="62865"/>
                    <a:pt x="37987" y="0"/>
                  </a:cubicBezTo>
                  <a:close/>
                </a:path>
              </a:pathLst>
            </a:custGeom>
            <a:gradFill>
              <a:gsLst>
                <a:gs pos="79000">
                  <a:srgbClr val="E87F6F"/>
                </a:gs>
                <a:gs pos="13000">
                  <a:srgbClr val="D9250F"/>
                </a:gs>
              </a:gsLst>
              <a:lin ang="10800000" scaled="1"/>
            </a:gradFill>
            <a:ln w="9525" cap="flat">
              <a:noFill/>
              <a:prstDash val="solid"/>
              <a:miter/>
            </a:ln>
          </p:spPr>
          <p:txBody>
            <a:bodyPr rtlCol="0" anchor="ctr"/>
            <a:lstStyle/>
            <a:p>
              <a:endParaRPr lang="zh-CN" altLang="en-US"/>
            </a:p>
          </p:txBody>
        </p:sp>
        <p:sp>
          <p:nvSpPr>
            <p:cNvPr id="35" name="任意多边形: 形状 34">
              <a:extLst>
                <a:ext uri="{FF2B5EF4-FFF2-40B4-BE49-F238E27FC236}">
                  <a16:creationId xmlns:a16="http://schemas.microsoft.com/office/drawing/2014/main" id="{80565C9B-5A66-4C18-BA21-8EA953916958}"/>
                </a:ext>
              </a:extLst>
            </p:cNvPr>
            <p:cNvSpPr/>
            <p:nvPr/>
          </p:nvSpPr>
          <p:spPr>
            <a:xfrm>
              <a:off x="7666525" y="3775563"/>
              <a:ext cx="526688" cy="458728"/>
            </a:xfrm>
            <a:custGeom>
              <a:avLst/>
              <a:gdLst>
                <a:gd name="connsiteX0" fmla="*/ 276225 w 295275"/>
                <a:gd name="connsiteY0" fmla="*/ 98707 h 257175"/>
                <a:gd name="connsiteX1" fmla="*/ 276225 w 295275"/>
                <a:gd name="connsiteY1" fmla="*/ 98707 h 257175"/>
                <a:gd name="connsiteX2" fmla="*/ 200025 w 295275"/>
                <a:gd name="connsiteY2" fmla="*/ 78705 h 257175"/>
                <a:gd name="connsiteX3" fmla="*/ 80963 w 295275"/>
                <a:gd name="connsiteY3" fmla="*/ 17745 h 257175"/>
                <a:gd name="connsiteX4" fmla="*/ 0 w 295275"/>
                <a:gd name="connsiteY4" fmla="*/ 600 h 257175"/>
                <a:gd name="connsiteX5" fmla="*/ 138113 w 295275"/>
                <a:gd name="connsiteY5" fmla="*/ 266347 h 257175"/>
                <a:gd name="connsiteX6" fmla="*/ 155258 w 295275"/>
                <a:gd name="connsiteY6" fmla="*/ 236820 h 257175"/>
                <a:gd name="connsiteX7" fmla="*/ 200025 w 295275"/>
                <a:gd name="connsiteY7" fmla="*/ 209197 h 257175"/>
                <a:gd name="connsiteX8" fmla="*/ 274320 w 295275"/>
                <a:gd name="connsiteY8" fmla="*/ 177765 h 257175"/>
                <a:gd name="connsiteX9" fmla="*/ 276225 w 295275"/>
                <a:gd name="connsiteY9" fmla="*/ 9870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275" h="257175">
                  <a:moveTo>
                    <a:pt x="276225" y="98707"/>
                  </a:moveTo>
                  <a:cubicBezTo>
                    <a:pt x="275273" y="98707"/>
                    <a:pt x="275273" y="98707"/>
                    <a:pt x="276225" y="98707"/>
                  </a:cubicBezTo>
                  <a:cubicBezTo>
                    <a:pt x="251460" y="87277"/>
                    <a:pt x="224790" y="86325"/>
                    <a:pt x="200025" y="78705"/>
                  </a:cubicBezTo>
                  <a:cubicBezTo>
                    <a:pt x="157163" y="66322"/>
                    <a:pt x="120968" y="36795"/>
                    <a:pt x="80963" y="17745"/>
                  </a:cubicBezTo>
                  <a:cubicBezTo>
                    <a:pt x="56198" y="5362"/>
                    <a:pt x="26670" y="-2258"/>
                    <a:pt x="0" y="600"/>
                  </a:cubicBezTo>
                  <a:cubicBezTo>
                    <a:pt x="14287" y="105375"/>
                    <a:pt x="64770" y="197767"/>
                    <a:pt x="138113" y="266347"/>
                  </a:cubicBezTo>
                  <a:cubicBezTo>
                    <a:pt x="141923" y="254917"/>
                    <a:pt x="147638" y="245392"/>
                    <a:pt x="155258" y="236820"/>
                  </a:cubicBezTo>
                  <a:cubicBezTo>
                    <a:pt x="167640" y="223485"/>
                    <a:pt x="183833" y="216817"/>
                    <a:pt x="200025" y="209197"/>
                  </a:cubicBezTo>
                  <a:cubicBezTo>
                    <a:pt x="224790" y="198720"/>
                    <a:pt x="249555" y="188242"/>
                    <a:pt x="274320" y="177765"/>
                  </a:cubicBezTo>
                  <a:cubicBezTo>
                    <a:pt x="306705" y="162525"/>
                    <a:pt x="308610" y="113947"/>
                    <a:pt x="276225" y="98707"/>
                  </a:cubicBezTo>
                  <a:close/>
                </a:path>
              </a:pathLst>
            </a:custGeom>
            <a:gradFill flip="none" rotWithShape="1">
              <a:gsLst>
                <a:gs pos="82000">
                  <a:srgbClr val="F2BF82">
                    <a:alpha val="50000"/>
                  </a:srgbClr>
                </a:gs>
                <a:gs pos="0">
                  <a:srgbClr val="EA972E"/>
                </a:gs>
              </a:gsLst>
              <a:lin ang="18900000" scaled="1"/>
              <a:tileRect/>
            </a:gradFill>
            <a:ln w="9525" cap="flat">
              <a:noFill/>
              <a:prstDash val="solid"/>
              <a:miter/>
            </a:ln>
          </p:spPr>
          <p:txBody>
            <a:bodyPr rtlCol="0" anchor="ctr"/>
            <a:lstStyle/>
            <a:p>
              <a:endParaRPr lang="zh-CN" altLang="en-US"/>
            </a:p>
          </p:txBody>
        </p:sp>
        <p:sp>
          <p:nvSpPr>
            <p:cNvPr id="36" name="任意多边形: 形状 35">
              <a:extLst>
                <a:ext uri="{FF2B5EF4-FFF2-40B4-BE49-F238E27FC236}">
                  <a16:creationId xmlns:a16="http://schemas.microsoft.com/office/drawing/2014/main" id="{A6F0F520-8265-4418-9C80-883C0A1B23B8}"/>
                </a:ext>
              </a:extLst>
            </p:cNvPr>
            <p:cNvSpPr/>
            <p:nvPr/>
          </p:nvSpPr>
          <p:spPr>
            <a:xfrm>
              <a:off x="7680117" y="2984901"/>
              <a:ext cx="356789" cy="509698"/>
            </a:xfrm>
            <a:custGeom>
              <a:avLst/>
              <a:gdLst>
                <a:gd name="connsiteX0" fmla="*/ 0 w 200025"/>
                <a:gd name="connsiteY0" fmla="*/ 272415 h 285750"/>
                <a:gd name="connsiteX1" fmla="*/ 46673 w 200025"/>
                <a:gd name="connsiteY1" fmla="*/ 282893 h 285750"/>
                <a:gd name="connsiteX2" fmla="*/ 120015 w 200025"/>
                <a:gd name="connsiteY2" fmla="*/ 274320 h 285750"/>
                <a:gd name="connsiteX3" fmla="*/ 160020 w 200025"/>
                <a:gd name="connsiteY3" fmla="*/ 164783 h 285750"/>
                <a:gd name="connsiteX4" fmla="*/ 189548 w 200025"/>
                <a:gd name="connsiteY4" fmla="*/ 27623 h 285750"/>
                <a:gd name="connsiteX5" fmla="*/ 202883 w 200025"/>
                <a:gd name="connsiteY5" fmla="*/ 0 h 285750"/>
                <a:gd name="connsiteX6" fmla="*/ 0 w 200025"/>
                <a:gd name="connsiteY6" fmla="*/ 272415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25" h="285750">
                  <a:moveTo>
                    <a:pt x="0" y="272415"/>
                  </a:moveTo>
                  <a:cubicBezTo>
                    <a:pt x="15240" y="275273"/>
                    <a:pt x="30480" y="280035"/>
                    <a:pt x="46673" y="282893"/>
                  </a:cubicBezTo>
                  <a:cubicBezTo>
                    <a:pt x="71438" y="287655"/>
                    <a:pt x="99060" y="288608"/>
                    <a:pt x="120015" y="274320"/>
                  </a:cubicBezTo>
                  <a:cubicBezTo>
                    <a:pt x="154305" y="252413"/>
                    <a:pt x="157163" y="204788"/>
                    <a:pt x="160020" y="164783"/>
                  </a:cubicBezTo>
                  <a:cubicBezTo>
                    <a:pt x="163830" y="118110"/>
                    <a:pt x="171450" y="70485"/>
                    <a:pt x="189548" y="27623"/>
                  </a:cubicBezTo>
                  <a:cubicBezTo>
                    <a:pt x="193358" y="18098"/>
                    <a:pt x="198120" y="8573"/>
                    <a:pt x="202883" y="0"/>
                  </a:cubicBezTo>
                  <a:cubicBezTo>
                    <a:pt x="103823" y="60008"/>
                    <a:pt x="29528" y="157163"/>
                    <a:pt x="0" y="272415"/>
                  </a:cubicBezTo>
                  <a:close/>
                </a:path>
              </a:pathLst>
            </a:custGeom>
            <a:gradFill flip="none" rotWithShape="1">
              <a:gsLst>
                <a:gs pos="71000">
                  <a:srgbClr val="DA640C"/>
                </a:gs>
                <a:gs pos="0">
                  <a:srgbClr val="F2BF82"/>
                </a:gs>
              </a:gsLst>
              <a:lin ang="13500000" scaled="1"/>
              <a:tileRect/>
            </a:gradFill>
            <a:ln w="9525" cap="flat">
              <a:noFill/>
              <a:prstDash val="solid"/>
              <a:miter/>
            </a:ln>
          </p:spPr>
          <p:txBody>
            <a:bodyPr rtlCol="0" anchor="ctr"/>
            <a:lstStyle/>
            <a:p>
              <a:endParaRPr lang="zh-CN" altLang="en-US"/>
            </a:p>
          </p:txBody>
        </p:sp>
        <p:sp>
          <p:nvSpPr>
            <p:cNvPr id="37" name="任意多边形: 形状 36">
              <a:extLst>
                <a:ext uri="{FF2B5EF4-FFF2-40B4-BE49-F238E27FC236}">
                  <a16:creationId xmlns:a16="http://schemas.microsoft.com/office/drawing/2014/main" id="{5EC6DF50-D805-430F-9873-FA52C81630EF}"/>
                </a:ext>
              </a:extLst>
            </p:cNvPr>
            <p:cNvSpPr/>
            <p:nvPr/>
          </p:nvSpPr>
          <p:spPr>
            <a:xfrm>
              <a:off x="8408984" y="4250073"/>
              <a:ext cx="526688" cy="203879"/>
            </a:xfrm>
            <a:custGeom>
              <a:avLst/>
              <a:gdLst>
                <a:gd name="connsiteX0" fmla="*/ 0 w 295275"/>
                <a:gd name="connsiteY0" fmla="*/ 117481 h 114300"/>
                <a:gd name="connsiteX1" fmla="*/ 22860 w 295275"/>
                <a:gd name="connsiteY1" fmla="*/ 118433 h 114300"/>
                <a:gd name="connsiteX2" fmla="*/ 301943 w 295275"/>
                <a:gd name="connsiteY2" fmla="*/ 20326 h 114300"/>
                <a:gd name="connsiteX3" fmla="*/ 139065 w 295275"/>
                <a:gd name="connsiteY3" fmla="*/ 10801 h 114300"/>
                <a:gd name="connsiteX4" fmla="*/ 18098 w 295275"/>
                <a:gd name="connsiteY4" fmla="*/ 103194 h 114300"/>
                <a:gd name="connsiteX5" fmla="*/ 0 w 295275"/>
                <a:gd name="connsiteY5" fmla="*/ 117481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275" h="114300">
                  <a:moveTo>
                    <a:pt x="0" y="117481"/>
                  </a:moveTo>
                  <a:cubicBezTo>
                    <a:pt x="7620" y="117481"/>
                    <a:pt x="15240" y="118433"/>
                    <a:pt x="22860" y="118433"/>
                  </a:cubicBezTo>
                  <a:cubicBezTo>
                    <a:pt x="128588" y="118433"/>
                    <a:pt x="225743" y="81286"/>
                    <a:pt x="301943" y="20326"/>
                  </a:cubicBezTo>
                  <a:cubicBezTo>
                    <a:pt x="249555" y="1276"/>
                    <a:pt x="191453" y="-9202"/>
                    <a:pt x="139065" y="10801"/>
                  </a:cubicBezTo>
                  <a:cubicBezTo>
                    <a:pt x="91440" y="28898"/>
                    <a:pt x="56198" y="68904"/>
                    <a:pt x="18098" y="103194"/>
                  </a:cubicBezTo>
                  <a:cubicBezTo>
                    <a:pt x="12382" y="107004"/>
                    <a:pt x="5715" y="112719"/>
                    <a:pt x="0" y="117481"/>
                  </a:cubicBezTo>
                  <a:close/>
                </a:path>
              </a:pathLst>
            </a:custGeom>
            <a:gradFill flip="none" rotWithShape="1">
              <a:gsLst>
                <a:gs pos="78000">
                  <a:srgbClr val="E87F6F"/>
                </a:gs>
                <a:gs pos="13000">
                  <a:srgbClr val="D9250F"/>
                </a:gs>
              </a:gsLst>
              <a:lin ang="13500000" scaled="1"/>
              <a:tileRect/>
            </a:gradFill>
            <a:ln w="9525" cap="flat">
              <a:noFill/>
              <a:prstDash val="solid"/>
              <a:miter/>
            </a:ln>
          </p:spPr>
          <p:txBody>
            <a:bodyPr rtlCol="0" anchor="ctr"/>
            <a:lstStyle/>
            <a:p>
              <a:endParaRPr lang="zh-CN" altLang="en-US"/>
            </a:p>
          </p:txBody>
        </p:sp>
      </p:grpSp>
      <p:grpSp>
        <p:nvGrpSpPr>
          <p:cNvPr id="38" name="组合 37">
            <a:extLst>
              <a:ext uri="{FF2B5EF4-FFF2-40B4-BE49-F238E27FC236}">
                <a16:creationId xmlns:a16="http://schemas.microsoft.com/office/drawing/2014/main" id="{1997619F-40CE-46EC-B614-EF5CD9FE9A09}"/>
              </a:ext>
            </a:extLst>
          </p:cNvPr>
          <p:cNvGrpSpPr/>
          <p:nvPr userDrawn="1"/>
        </p:nvGrpSpPr>
        <p:grpSpPr>
          <a:xfrm>
            <a:off x="10971579" y="604631"/>
            <a:ext cx="826956" cy="828273"/>
            <a:chOff x="10971579" y="604631"/>
            <a:chExt cx="826956" cy="828273"/>
          </a:xfrm>
          <a:effectLst>
            <a:glow rad="101600">
              <a:schemeClr val="accent2">
                <a:lumMod val="60000"/>
                <a:lumOff val="40000"/>
                <a:alpha val="28000"/>
              </a:schemeClr>
            </a:glow>
          </a:effectLst>
        </p:grpSpPr>
        <p:sp>
          <p:nvSpPr>
            <p:cNvPr id="39" name="任意多边形: 形状 38">
              <a:extLst>
                <a:ext uri="{FF2B5EF4-FFF2-40B4-BE49-F238E27FC236}">
                  <a16:creationId xmlns:a16="http://schemas.microsoft.com/office/drawing/2014/main" id="{F1353A7F-9964-43C9-A276-06F5E162E2EE}"/>
                </a:ext>
              </a:extLst>
            </p:cNvPr>
            <p:cNvSpPr/>
            <p:nvPr/>
          </p:nvSpPr>
          <p:spPr>
            <a:xfrm>
              <a:off x="10971579" y="604631"/>
              <a:ext cx="817723" cy="817723"/>
            </a:xfrm>
            <a:custGeom>
              <a:avLst/>
              <a:gdLst>
                <a:gd name="connsiteX0" fmla="*/ 598170 w 590550"/>
                <a:gd name="connsiteY0" fmla="*/ 299085 h 590550"/>
                <a:gd name="connsiteX1" fmla="*/ 299085 w 590550"/>
                <a:gd name="connsiteY1" fmla="*/ 598170 h 590550"/>
                <a:gd name="connsiteX2" fmla="*/ 0 w 590550"/>
                <a:gd name="connsiteY2" fmla="*/ 299085 h 590550"/>
                <a:gd name="connsiteX3" fmla="*/ 299085 w 590550"/>
                <a:gd name="connsiteY3" fmla="*/ 0 h 590550"/>
                <a:gd name="connsiteX4" fmla="*/ 598170 w 590550"/>
                <a:gd name="connsiteY4" fmla="*/ 299085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 h="590550">
                  <a:moveTo>
                    <a:pt x="598170" y="299085"/>
                  </a:moveTo>
                  <a:cubicBezTo>
                    <a:pt x="598170" y="464265"/>
                    <a:pt x="464265" y="598170"/>
                    <a:pt x="299085" y="598170"/>
                  </a:cubicBezTo>
                  <a:cubicBezTo>
                    <a:pt x="133905" y="598170"/>
                    <a:pt x="0" y="464265"/>
                    <a:pt x="0" y="299085"/>
                  </a:cubicBezTo>
                  <a:cubicBezTo>
                    <a:pt x="0" y="133905"/>
                    <a:pt x="133905" y="0"/>
                    <a:pt x="299085" y="0"/>
                  </a:cubicBezTo>
                  <a:cubicBezTo>
                    <a:pt x="464265" y="0"/>
                    <a:pt x="598170" y="133905"/>
                    <a:pt x="598170" y="299085"/>
                  </a:cubicBezTo>
                  <a:close/>
                </a:path>
              </a:pathLst>
            </a:custGeom>
            <a:gradFill flip="none" rotWithShape="1">
              <a:gsLst>
                <a:gs pos="88000">
                  <a:schemeClr val="accent6"/>
                </a:gs>
                <a:gs pos="24000">
                  <a:schemeClr val="accent2"/>
                </a:gs>
              </a:gsLst>
              <a:lin ang="18900000" scaled="1"/>
              <a:tileRect/>
            </a:gradFill>
            <a:ln w="9525" cap="flat">
              <a:noFill/>
              <a:prstDash val="solid"/>
              <a:miter/>
            </a:ln>
          </p:spPr>
          <p:txBody>
            <a:bodyPr rtlCol="0" anchor="ctr"/>
            <a:lstStyle/>
            <a:p>
              <a:endParaRPr lang="zh-CN" altLang="en-US"/>
            </a:p>
          </p:txBody>
        </p:sp>
        <p:sp>
          <p:nvSpPr>
            <p:cNvPr id="40" name="任意多边形: 形状 39">
              <a:extLst>
                <a:ext uri="{FF2B5EF4-FFF2-40B4-BE49-F238E27FC236}">
                  <a16:creationId xmlns:a16="http://schemas.microsoft.com/office/drawing/2014/main" id="{4C448F8A-87AF-4ED5-9DE2-8C635711D3C1}"/>
                </a:ext>
              </a:extLst>
            </p:cNvPr>
            <p:cNvSpPr/>
            <p:nvPr/>
          </p:nvSpPr>
          <p:spPr>
            <a:xfrm>
              <a:off x="10971579" y="665300"/>
              <a:ext cx="826956" cy="767604"/>
            </a:xfrm>
            <a:custGeom>
              <a:avLst/>
              <a:gdLst>
                <a:gd name="connsiteX0" fmla="*/ 156949 w 826956"/>
                <a:gd name="connsiteY0" fmla="*/ 679237 h 767604"/>
                <a:gd name="connsiteX1" fmla="*/ 648902 w 826956"/>
                <a:gd name="connsiteY1" fmla="*/ 693746 h 767604"/>
                <a:gd name="connsiteX2" fmla="*/ 412817 w 826956"/>
                <a:gd name="connsiteY2" fmla="*/ 767604 h 767604"/>
                <a:gd name="connsiteX3" fmla="*/ 156949 w 826956"/>
                <a:gd name="connsiteY3" fmla="*/ 679237 h 767604"/>
                <a:gd name="connsiteX4" fmla="*/ 52756 w 826956"/>
                <a:gd name="connsiteY4" fmla="*/ 555261 h 767604"/>
                <a:gd name="connsiteX5" fmla="*/ 772879 w 826956"/>
                <a:gd name="connsiteY5" fmla="*/ 560537 h 767604"/>
                <a:gd name="connsiteX6" fmla="*/ 742545 w 826956"/>
                <a:gd name="connsiteY6" fmla="*/ 605379 h 767604"/>
                <a:gd name="connsiteX7" fmla="*/ 85729 w 826956"/>
                <a:gd name="connsiteY7" fmla="*/ 605379 h 767604"/>
                <a:gd name="connsiteX8" fmla="*/ 52756 w 826956"/>
                <a:gd name="connsiteY8" fmla="*/ 555261 h 767604"/>
                <a:gd name="connsiteX9" fmla="*/ 826955 w 826956"/>
                <a:gd name="connsiteY9" fmla="*/ 365337 h 767604"/>
                <a:gd name="connsiteX10" fmla="*/ 803214 w 826956"/>
                <a:gd name="connsiteY10" fmla="*/ 493272 h 767604"/>
                <a:gd name="connsiteX11" fmla="*/ 11869 w 826956"/>
                <a:gd name="connsiteY11" fmla="*/ 455023 h 767604"/>
                <a:gd name="connsiteX12" fmla="*/ 3956 w 826956"/>
                <a:gd name="connsiteY12" fmla="*/ 416775 h 767604"/>
                <a:gd name="connsiteX13" fmla="*/ 6595 w 826956"/>
                <a:gd name="connsiteY13" fmla="*/ 280926 h 767604"/>
                <a:gd name="connsiteX14" fmla="*/ 6595 w 826956"/>
                <a:gd name="connsiteY14" fmla="*/ 282246 h 767604"/>
                <a:gd name="connsiteX15" fmla="*/ 820361 w 826956"/>
                <a:gd name="connsiteY15" fmla="*/ 282246 h 767604"/>
                <a:gd name="connsiteX16" fmla="*/ 826956 w 826956"/>
                <a:gd name="connsiteY16" fmla="*/ 333682 h 767604"/>
                <a:gd name="connsiteX17" fmla="*/ 0 w 826956"/>
                <a:gd name="connsiteY17" fmla="*/ 350828 h 767604"/>
                <a:gd name="connsiteX18" fmla="*/ 6595 w 826956"/>
                <a:gd name="connsiteY18" fmla="*/ 280926 h 767604"/>
                <a:gd name="connsiteX19" fmla="*/ 778156 w 826956"/>
                <a:gd name="connsiteY19" fmla="*/ 155631 h 767604"/>
                <a:gd name="connsiteX20" fmla="*/ 804534 w 826956"/>
                <a:gd name="connsiteY20" fmla="*/ 214982 h 767604"/>
                <a:gd name="connsiteX21" fmla="*/ 23740 w 826956"/>
                <a:gd name="connsiteY21" fmla="*/ 214982 h 767604"/>
                <a:gd name="connsiteX22" fmla="*/ 27696 w 826956"/>
                <a:gd name="connsiteY22" fmla="*/ 205749 h 767604"/>
                <a:gd name="connsiteX23" fmla="*/ 627799 w 826956"/>
                <a:gd name="connsiteY23" fmla="*/ 0 h 767604"/>
                <a:gd name="connsiteX24" fmla="*/ 718804 w 826956"/>
                <a:gd name="connsiteY24" fmla="*/ 75178 h 767604"/>
                <a:gd name="connsiteX25" fmla="*/ 47479 w 826956"/>
                <a:gd name="connsiteY25" fmla="*/ 158269 h 767604"/>
                <a:gd name="connsiteX26" fmla="*/ 137165 w 826956"/>
                <a:gd name="connsiteY26" fmla="*/ 44843 h 76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6956" h="767604">
                  <a:moveTo>
                    <a:pt x="156949" y="679237"/>
                  </a:moveTo>
                  <a:lnTo>
                    <a:pt x="648902" y="693746"/>
                  </a:lnTo>
                  <a:cubicBezTo>
                    <a:pt x="581637" y="739906"/>
                    <a:pt x="501185" y="767604"/>
                    <a:pt x="412817" y="767604"/>
                  </a:cubicBezTo>
                  <a:cubicBezTo>
                    <a:pt x="316538" y="767604"/>
                    <a:pt x="226852" y="734631"/>
                    <a:pt x="156949" y="679237"/>
                  </a:cubicBezTo>
                  <a:close/>
                  <a:moveTo>
                    <a:pt x="52756" y="555261"/>
                  </a:moveTo>
                  <a:lnTo>
                    <a:pt x="772879" y="560537"/>
                  </a:lnTo>
                  <a:cubicBezTo>
                    <a:pt x="763648" y="576363"/>
                    <a:pt x="753095" y="590872"/>
                    <a:pt x="742545" y="605379"/>
                  </a:cubicBezTo>
                  <a:lnTo>
                    <a:pt x="85729" y="605379"/>
                  </a:lnTo>
                  <a:cubicBezTo>
                    <a:pt x="72540" y="589552"/>
                    <a:pt x="61988" y="573726"/>
                    <a:pt x="52756" y="555261"/>
                  </a:cubicBezTo>
                  <a:close/>
                  <a:moveTo>
                    <a:pt x="826955" y="365337"/>
                  </a:moveTo>
                  <a:cubicBezTo>
                    <a:pt x="825635" y="410180"/>
                    <a:pt x="817722" y="452385"/>
                    <a:pt x="803214" y="493272"/>
                  </a:cubicBezTo>
                  <a:lnTo>
                    <a:pt x="11869" y="455023"/>
                  </a:lnTo>
                  <a:cubicBezTo>
                    <a:pt x="9232" y="443153"/>
                    <a:pt x="6594" y="429964"/>
                    <a:pt x="3956" y="416775"/>
                  </a:cubicBezTo>
                  <a:close/>
                  <a:moveTo>
                    <a:pt x="6595" y="280926"/>
                  </a:moveTo>
                  <a:lnTo>
                    <a:pt x="6595" y="282246"/>
                  </a:lnTo>
                  <a:lnTo>
                    <a:pt x="820361" y="282246"/>
                  </a:lnTo>
                  <a:cubicBezTo>
                    <a:pt x="824317" y="298072"/>
                    <a:pt x="825636" y="316537"/>
                    <a:pt x="826956" y="333682"/>
                  </a:cubicBezTo>
                  <a:lnTo>
                    <a:pt x="0" y="350828"/>
                  </a:lnTo>
                  <a:cubicBezTo>
                    <a:pt x="0" y="327088"/>
                    <a:pt x="2638" y="303348"/>
                    <a:pt x="6595" y="280926"/>
                  </a:cubicBezTo>
                  <a:close/>
                  <a:moveTo>
                    <a:pt x="778156" y="155631"/>
                  </a:moveTo>
                  <a:cubicBezTo>
                    <a:pt x="788707" y="174096"/>
                    <a:pt x="796620" y="193878"/>
                    <a:pt x="804534" y="214982"/>
                  </a:cubicBezTo>
                  <a:lnTo>
                    <a:pt x="23740" y="214982"/>
                  </a:lnTo>
                  <a:cubicBezTo>
                    <a:pt x="23740" y="212344"/>
                    <a:pt x="25058" y="208387"/>
                    <a:pt x="27696" y="205749"/>
                  </a:cubicBezTo>
                  <a:close/>
                  <a:moveTo>
                    <a:pt x="627799" y="0"/>
                  </a:moveTo>
                  <a:cubicBezTo>
                    <a:pt x="662090" y="21103"/>
                    <a:pt x="692426" y="46162"/>
                    <a:pt x="718804" y="75178"/>
                  </a:cubicBezTo>
                  <a:lnTo>
                    <a:pt x="47479" y="158269"/>
                  </a:lnTo>
                  <a:cubicBezTo>
                    <a:pt x="71219" y="114746"/>
                    <a:pt x="101555" y="76497"/>
                    <a:pt x="137165" y="44843"/>
                  </a:cubicBezTo>
                  <a:close/>
                </a:path>
              </a:pathLst>
            </a:custGeom>
            <a:gradFill flip="none" rotWithShape="1">
              <a:gsLst>
                <a:gs pos="85000">
                  <a:schemeClr val="accent2">
                    <a:lumMod val="60000"/>
                    <a:lumOff val="40000"/>
                    <a:alpha val="20000"/>
                  </a:schemeClr>
                </a:gs>
                <a:gs pos="24000">
                  <a:schemeClr val="accent6">
                    <a:lumMod val="20000"/>
                    <a:lumOff val="80000"/>
                    <a:alpha val="50000"/>
                  </a:schemeClr>
                </a:gs>
              </a:gsLst>
              <a:lin ang="8100000" scaled="1"/>
              <a:tileRect/>
            </a:gradFill>
            <a:ln w="9525" cap="flat">
              <a:noFill/>
              <a:prstDash val="solid"/>
              <a:miter/>
            </a:ln>
          </p:spPr>
          <p:txBody>
            <a:bodyPr rtlCol="0" anchor="ctr"/>
            <a:lstStyle/>
            <a:p>
              <a:endParaRPr lang="zh-CN" altLang="en-US"/>
            </a:p>
          </p:txBody>
        </p:sp>
      </p:grpSp>
      <p:sp>
        <p:nvSpPr>
          <p:cNvPr id="81" name="任意多边形: 形状 80">
            <a:extLst>
              <a:ext uri="{FF2B5EF4-FFF2-40B4-BE49-F238E27FC236}">
                <a16:creationId xmlns:a16="http://schemas.microsoft.com/office/drawing/2014/main" id="{8DDCFAEF-E0E7-45E4-98E7-F7DE52416C61}"/>
              </a:ext>
            </a:extLst>
          </p:cNvPr>
          <p:cNvSpPr/>
          <p:nvPr userDrawn="1"/>
        </p:nvSpPr>
        <p:spPr>
          <a:xfrm>
            <a:off x="10383055" y="5088584"/>
            <a:ext cx="1172781" cy="1172780"/>
          </a:xfrm>
          <a:custGeom>
            <a:avLst/>
            <a:gdLst>
              <a:gd name="connsiteX0" fmla="*/ 906364 w 1172780"/>
              <a:gd name="connsiteY0" fmla="*/ 315645 h 1172780"/>
              <a:gd name="connsiteX1" fmla="*/ 865794 w 1172780"/>
              <a:gd name="connsiteY1" fmla="*/ 906364 h 1172780"/>
              <a:gd name="connsiteX2" fmla="*/ 275075 w 1172780"/>
              <a:gd name="connsiteY2" fmla="*/ 865794 h 1172780"/>
              <a:gd name="connsiteX3" fmla="*/ 315645 w 1172780"/>
              <a:gd name="connsiteY3" fmla="*/ 275074 h 1172780"/>
              <a:gd name="connsiteX4" fmla="*/ 906364 w 1172780"/>
              <a:gd name="connsiteY4" fmla="*/ 315645 h 117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780" h="1172780">
                <a:moveTo>
                  <a:pt x="906364" y="315645"/>
                </a:moveTo>
                <a:cubicBezTo>
                  <a:pt x="1058284" y="489971"/>
                  <a:pt x="1040120" y="754445"/>
                  <a:pt x="865794" y="906364"/>
                </a:cubicBezTo>
                <a:cubicBezTo>
                  <a:pt x="691468" y="1058283"/>
                  <a:pt x="426994" y="1040119"/>
                  <a:pt x="275075" y="865794"/>
                </a:cubicBezTo>
                <a:cubicBezTo>
                  <a:pt x="123155" y="691468"/>
                  <a:pt x="141319" y="426994"/>
                  <a:pt x="315645" y="275074"/>
                </a:cubicBezTo>
                <a:cubicBezTo>
                  <a:pt x="489971" y="123155"/>
                  <a:pt x="754445" y="141319"/>
                  <a:pt x="906364" y="315645"/>
                </a:cubicBezTo>
                <a:close/>
              </a:path>
            </a:pathLst>
          </a:custGeom>
          <a:gradFill>
            <a:gsLst>
              <a:gs pos="88000">
                <a:schemeClr val="accent1">
                  <a:lumMod val="75000"/>
                </a:schemeClr>
              </a:gs>
              <a:gs pos="0">
                <a:schemeClr val="accent2">
                  <a:lumMod val="75000"/>
                </a:schemeClr>
              </a:gs>
            </a:gsLst>
            <a:lin ang="5400000" scaled="1"/>
          </a:gradFill>
          <a:ln w="11657" cap="flat">
            <a:noFill/>
            <a:prstDash val="solid"/>
            <a:miter/>
          </a:ln>
        </p:spPr>
        <p:txBody>
          <a:bodyPr rtlCol="0" anchor="ctr"/>
          <a:lstStyle/>
          <a:p>
            <a:endParaRPr lang="zh-CN" altLang="en-US"/>
          </a:p>
        </p:txBody>
      </p:sp>
      <p:grpSp>
        <p:nvGrpSpPr>
          <p:cNvPr id="82" name="组合 81">
            <a:extLst>
              <a:ext uri="{FF2B5EF4-FFF2-40B4-BE49-F238E27FC236}">
                <a16:creationId xmlns:a16="http://schemas.microsoft.com/office/drawing/2014/main" id="{8AF098EC-F00B-48D0-A9BF-C9A8A55E9CA6}"/>
              </a:ext>
            </a:extLst>
          </p:cNvPr>
          <p:cNvGrpSpPr/>
          <p:nvPr userDrawn="1"/>
        </p:nvGrpSpPr>
        <p:grpSpPr>
          <a:xfrm>
            <a:off x="10185312" y="5260867"/>
            <a:ext cx="1560970" cy="832791"/>
            <a:chOff x="10185312" y="5260867"/>
            <a:chExt cx="1560970" cy="832791"/>
          </a:xfrm>
          <a:effectLst>
            <a:glow rad="101600">
              <a:schemeClr val="accent2">
                <a:lumMod val="60000"/>
                <a:lumOff val="40000"/>
                <a:alpha val="28000"/>
              </a:schemeClr>
            </a:glow>
          </a:effectLst>
        </p:grpSpPr>
        <p:sp>
          <p:nvSpPr>
            <p:cNvPr id="83" name="任意多边形: 形状 82">
              <a:extLst>
                <a:ext uri="{FF2B5EF4-FFF2-40B4-BE49-F238E27FC236}">
                  <a16:creationId xmlns:a16="http://schemas.microsoft.com/office/drawing/2014/main" id="{8F2A17AF-1B10-4FD4-970E-9DC75B8D998B}"/>
                </a:ext>
              </a:extLst>
            </p:cNvPr>
            <p:cNvSpPr/>
            <p:nvPr/>
          </p:nvSpPr>
          <p:spPr>
            <a:xfrm>
              <a:off x="10609190" y="5260984"/>
              <a:ext cx="774035" cy="832674"/>
            </a:xfrm>
            <a:custGeom>
              <a:avLst/>
              <a:gdLst>
                <a:gd name="connsiteX0" fmla="*/ 778726 w 774035"/>
                <a:gd name="connsiteY0" fmla="*/ 479473 h 832674"/>
                <a:gd name="connsiteX1" fmla="*/ 424547 w 774035"/>
                <a:gd name="connsiteY1" fmla="*/ 4497 h 832674"/>
                <a:gd name="connsiteX2" fmla="*/ 39875 w 774035"/>
                <a:gd name="connsiteY2" fmla="*/ 154613 h 832674"/>
                <a:gd name="connsiteX3" fmla="*/ 55121 w 774035"/>
                <a:gd name="connsiteY3" fmla="*/ 214425 h 832674"/>
                <a:gd name="connsiteX4" fmla="*/ 123142 w 774035"/>
                <a:gd name="connsiteY4" fmla="*/ 266027 h 832674"/>
                <a:gd name="connsiteX5" fmla="*/ 372944 w 774035"/>
                <a:gd name="connsiteY5" fmla="*/ 294174 h 832674"/>
                <a:gd name="connsiteX6" fmla="*/ 565280 w 774035"/>
                <a:gd name="connsiteY6" fmla="*/ 377442 h 832674"/>
                <a:gd name="connsiteX7" fmla="*/ 650893 w 774035"/>
                <a:gd name="connsiteY7" fmla="*/ 565086 h 832674"/>
                <a:gd name="connsiteX8" fmla="*/ 542997 w 774035"/>
                <a:gd name="connsiteY8" fmla="*/ 736312 h 832674"/>
                <a:gd name="connsiteX9" fmla="*/ 431583 w 774035"/>
                <a:gd name="connsiteY9" fmla="*/ 753904 h 832674"/>
                <a:gd name="connsiteX10" fmla="*/ 31665 w 774035"/>
                <a:gd name="connsiteY10" fmla="*/ 627244 h 832674"/>
                <a:gd name="connsiteX11" fmla="*/ 0 w 774035"/>
                <a:gd name="connsiteY11" fmla="*/ 622553 h 832674"/>
                <a:gd name="connsiteX12" fmla="*/ 304923 w 774035"/>
                <a:gd name="connsiteY12" fmla="*/ 833653 h 832674"/>
                <a:gd name="connsiteX13" fmla="*/ 778726 w 774035"/>
                <a:gd name="connsiteY13" fmla="*/ 479473 h 83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4035" h="832674">
                  <a:moveTo>
                    <a:pt x="778726" y="479473"/>
                  </a:moveTo>
                  <a:cubicBezTo>
                    <a:pt x="811564" y="250781"/>
                    <a:pt x="653239" y="38508"/>
                    <a:pt x="424547" y="4497"/>
                  </a:cubicBezTo>
                  <a:cubicBezTo>
                    <a:pt x="273258" y="-17785"/>
                    <a:pt x="130179" y="44372"/>
                    <a:pt x="39875" y="154613"/>
                  </a:cubicBezTo>
                  <a:cubicBezTo>
                    <a:pt x="39875" y="175723"/>
                    <a:pt x="43393" y="196833"/>
                    <a:pt x="55121" y="214425"/>
                  </a:cubicBezTo>
                  <a:cubicBezTo>
                    <a:pt x="70367" y="239053"/>
                    <a:pt x="96168" y="255472"/>
                    <a:pt x="123142" y="266027"/>
                  </a:cubicBezTo>
                  <a:cubicBezTo>
                    <a:pt x="201718" y="296520"/>
                    <a:pt x="289677" y="283619"/>
                    <a:pt x="372944" y="294174"/>
                  </a:cubicBezTo>
                  <a:cubicBezTo>
                    <a:pt x="443311" y="303556"/>
                    <a:pt x="512505" y="329358"/>
                    <a:pt x="565280" y="377442"/>
                  </a:cubicBezTo>
                  <a:cubicBezTo>
                    <a:pt x="618055" y="424353"/>
                    <a:pt x="653239" y="494720"/>
                    <a:pt x="650893" y="565086"/>
                  </a:cubicBezTo>
                  <a:cubicBezTo>
                    <a:pt x="648548" y="636626"/>
                    <a:pt x="607500" y="706993"/>
                    <a:pt x="542997" y="736312"/>
                  </a:cubicBezTo>
                  <a:cubicBezTo>
                    <a:pt x="507814" y="751558"/>
                    <a:pt x="469112" y="756250"/>
                    <a:pt x="431583" y="753904"/>
                  </a:cubicBezTo>
                  <a:cubicBezTo>
                    <a:pt x="290850" y="744522"/>
                    <a:pt x="168880" y="656563"/>
                    <a:pt x="31665" y="627244"/>
                  </a:cubicBezTo>
                  <a:cubicBezTo>
                    <a:pt x="21110" y="624898"/>
                    <a:pt x="10555" y="623725"/>
                    <a:pt x="0" y="622553"/>
                  </a:cubicBezTo>
                  <a:cubicBezTo>
                    <a:pt x="60985" y="732794"/>
                    <a:pt x="171226" y="813716"/>
                    <a:pt x="304923" y="833653"/>
                  </a:cubicBezTo>
                  <a:cubicBezTo>
                    <a:pt x="532442" y="866491"/>
                    <a:pt x="745888" y="708166"/>
                    <a:pt x="778726" y="479473"/>
                  </a:cubicBezTo>
                  <a:close/>
                </a:path>
              </a:pathLst>
            </a:custGeom>
            <a:gradFill>
              <a:gsLst>
                <a:gs pos="88000">
                  <a:schemeClr val="accent2">
                    <a:lumMod val="75000"/>
                  </a:schemeClr>
                </a:gs>
                <a:gs pos="0">
                  <a:schemeClr val="accent2"/>
                </a:gs>
              </a:gsLst>
              <a:lin ang="5400000" scaled="1"/>
            </a:gradFill>
            <a:ln w="11657" cap="flat">
              <a:noFill/>
              <a:prstDash val="solid"/>
              <a:miter/>
            </a:ln>
          </p:spPr>
          <p:txBody>
            <a:bodyPr rtlCol="0" anchor="ctr"/>
            <a:lstStyle/>
            <a:p>
              <a:endParaRPr lang="zh-CN" altLang="en-US"/>
            </a:p>
          </p:txBody>
        </p:sp>
        <p:sp>
          <p:nvSpPr>
            <p:cNvPr id="84" name="任意多边形: 形状 83">
              <a:extLst>
                <a:ext uri="{FF2B5EF4-FFF2-40B4-BE49-F238E27FC236}">
                  <a16:creationId xmlns:a16="http://schemas.microsoft.com/office/drawing/2014/main" id="{74E2CAA3-03D5-4884-AC09-703F4738B808}"/>
                </a:ext>
              </a:extLst>
            </p:cNvPr>
            <p:cNvSpPr/>
            <p:nvPr/>
          </p:nvSpPr>
          <p:spPr>
            <a:xfrm>
              <a:off x="10742003" y="5260867"/>
              <a:ext cx="633302" cy="316651"/>
            </a:xfrm>
            <a:custGeom>
              <a:avLst/>
              <a:gdLst>
                <a:gd name="connsiteX0" fmla="*/ 292022 w 633301"/>
                <a:gd name="connsiteY0" fmla="*/ 4325 h 316650"/>
                <a:gd name="connsiteX1" fmla="*/ 0 w 633301"/>
                <a:gd name="connsiteY1" fmla="*/ 70001 h 316650"/>
                <a:gd name="connsiteX2" fmla="*/ 34011 w 633301"/>
                <a:gd name="connsiteY2" fmla="*/ 123949 h 316650"/>
                <a:gd name="connsiteX3" fmla="*/ 194682 w 633301"/>
                <a:gd name="connsiteY3" fmla="*/ 208389 h 316650"/>
                <a:gd name="connsiteX4" fmla="*/ 299059 w 633301"/>
                <a:gd name="connsiteY4" fmla="*/ 188452 h 316650"/>
                <a:gd name="connsiteX5" fmla="*/ 627438 w 633301"/>
                <a:gd name="connsiteY5" fmla="*/ 303384 h 316650"/>
                <a:gd name="connsiteX6" fmla="*/ 641511 w 633301"/>
                <a:gd name="connsiteY6" fmla="*/ 326840 h 316650"/>
                <a:gd name="connsiteX7" fmla="*/ 292022 w 633301"/>
                <a:gd name="connsiteY7" fmla="*/ 4325 h 31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301" h="316650">
                  <a:moveTo>
                    <a:pt x="292022" y="4325"/>
                  </a:moveTo>
                  <a:cubicBezTo>
                    <a:pt x="186472" y="-10921"/>
                    <a:pt x="83267" y="14880"/>
                    <a:pt x="0" y="70001"/>
                  </a:cubicBezTo>
                  <a:cubicBezTo>
                    <a:pt x="9382" y="88766"/>
                    <a:pt x="21110" y="107530"/>
                    <a:pt x="34011" y="123949"/>
                  </a:cubicBezTo>
                  <a:cubicBezTo>
                    <a:pt x="72712" y="173206"/>
                    <a:pt x="132524" y="209562"/>
                    <a:pt x="194682" y="208389"/>
                  </a:cubicBezTo>
                  <a:cubicBezTo>
                    <a:pt x="229865" y="208389"/>
                    <a:pt x="263876" y="196661"/>
                    <a:pt x="299059" y="188452"/>
                  </a:cubicBezTo>
                  <a:cubicBezTo>
                    <a:pt x="419855" y="162651"/>
                    <a:pt x="560589" y="200180"/>
                    <a:pt x="627438" y="303384"/>
                  </a:cubicBezTo>
                  <a:cubicBezTo>
                    <a:pt x="632129" y="310421"/>
                    <a:pt x="636820" y="318631"/>
                    <a:pt x="641511" y="326840"/>
                  </a:cubicBezTo>
                  <a:cubicBezTo>
                    <a:pt x="603982" y="162651"/>
                    <a:pt x="469112" y="30127"/>
                    <a:pt x="292022" y="4325"/>
                  </a:cubicBezTo>
                  <a:close/>
                </a:path>
              </a:pathLst>
            </a:custGeom>
            <a:gradFill>
              <a:gsLst>
                <a:gs pos="56000">
                  <a:schemeClr val="accent2">
                    <a:lumMod val="75000"/>
                  </a:schemeClr>
                </a:gs>
                <a:gs pos="0">
                  <a:schemeClr val="accent2"/>
                </a:gs>
              </a:gsLst>
              <a:lin ang="5400000" scaled="1"/>
            </a:gradFill>
            <a:ln w="11657" cap="flat">
              <a:noFill/>
              <a:prstDash val="solid"/>
              <a:miter/>
            </a:ln>
          </p:spPr>
          <p:txBody>
            <a:bodyPr rtlCol="0" anchor="ctr"/>
            <a:lstStyle/>
            <a:p>
              <a:endParaRPr lang="zh-CN" altLang="en-US"/>
            </a:p>
          </p:txBody>
        </p:sp>
        <p:sp>
          <p:nvSpPr>
            <p:cNvPr id="85" name="任意多边形: 形状 84">
              <a:extLst>
                <a:ext uri="{FF2B5EF4-FFF2-40B4-BE49-F238E27FC236}">
                  <a16:creationId xmlns:a16="http://schemas.microsoft.com/office/drawing/2014/main" id="{22A9A807-3E7D-453F-AC82-FFF99E2D3B74}"/>
                </a:ext>
              </a:extLst>
            </p:cNvPr>
            <p:cNvSpPr/>
            <p:nvPr/>
          </p:nvSpPr>
          <p:spPr>
            <a:xfrm>
              <a:off x="10185312" y="5495346"/>
              <a:ext cx="1559798" cy="422201"/>
            </a:xfrm>
            <a:custGeom>
              <a:avLst/>
              <a:gdLst>
                <a:gd name="connsiteX0" fmla="*/ 1250688 w 1559798"/>
                <a:gd name="connsiteY0" fmla="*/ 132524 h 422200"/>
                <a:gd name="connsiteX1" fmla="*/ 1201432 w 1559798"/>
                <a:gd name="connsiteY1" fmla="*/ 114932 h 422200"/>
                <a:gd name="connsiteX2" fmla="*/ 1204950 w 1559798"/>
                <a:gd name="connsiteY2" fmla="*/ 228692 h 422200"/>
                <a:gd name="connsiteX3" fmla="*/ 1335129 w 1559798"/>
                <a:gd name="connsiteY3" fmla="*/ 294368 h 422200"/>
                <a:gd name="connsiteX4" fmla="*/ 1167421 w 1559798"/>
                <a:gd name="connsiteY4" fmla="*/ 321342 h 422200"/>
                <a:gd name="connsiteX5" fmla="*/ 772194 w 1559798"/>
                <a:gd name="connsiteY5" fmla="*/ 296713 h 422200"/>
                <a:gd name="connsiteX6" fmla="*/ 386349 w 1559798"/>
                <a:gd name="connsiteY6" fmla="*/ 207582 h 422200"/>
                <a:gd name="connsiteX7" fmla="*/ 233888 w 1559798"/>
                <a:gd name="connsiteY7" fmla="*/ 133697 h 422200"/>
                <a:gd name="connsiteX8" fmla="*/ 378140 w 1559798"/>
                <a:gd name="connsiteY8" fmla="*/ 107896 h 422200"/>
                <a:gd name="connsiteX9" fmla="*/ 413323 w 1559798"/>
                <a:gd name="connsiteY9" fmla="*/ 0 h 422200"/>
                <a:gd name="connsiteX10" fmla="*/ 361721 w 1559798"/>
                <a:gd name="connsiteY10" fmla="*/ 2346 h 422200"/>
                <a:gd name="connsiteX11" fmla="*/ 504 w 1559798"/>
                <a:gd name="connsiteY11" fmla="*/ 100859 h 422200"/>
                <a:gd name="connsiteX12" fmla="*/ 317155 w 1559798"/>
                <a:gd name="connsiteY12" fmla="*/ 297886 h 422200"/>
                <a:gd name="connsiteX13" fmla="*/ 755775 w 1559798"/>
                <a:gd name="connsiteY13" fmla="*/ 403436 h 422200"/>
                <a:gd name="connsiteX14" fmla="*/ 1206123 w 1559798"/>
                <a:gd name="connsiteY14" fmla="*/ 428065 h 422200"/>
                <a:gd name="connsiteX15" fmla="*/ 1566166 w 1559798"/>
                <a:gd name="connsiteY15" fmla="*/ 330724 h 422200"/>
                <a:gd name="connsiteX16" fmla="*/ 1250688 w 1559798"/>
                <a:gd name="connsiteY16" fmla="*/ 132524 h 42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59798" h="422200">
                  <a:moveTo>
                    <a:pt x="1250688" y="132524"/>
                  </a:moveTo>
                  <a:cubicBezTo>
                    <a:pt x="1235442" y="126660"/>
                    <a:pt x="1219023" y="120796"/>
                    <a:pt x="1201432" y="114932"/>
                  </a:cubicBezTo>
                  <a:cubicBezTo>
                    <a:pt x="1207296" y="151289"/>
                    <a:pt x="1208468" y="189990"/>
                    <a:pt x="1204950" y="228692"/>
                  </a:cubicBezTo>
                  <a:cubicBezTo>
                    <a:pt x="1280008" y="256839"/>
                    <a:pt x="1318710" y="280295"/>
                    <a:pt x="1335129" y="294368"/>
                  </a:cubicBezTo>
                  <a:cubicBezTo>
                    <a:pt x="1312846" y="303750"/>
                    <a:pt x="1263589" y="317823"/>
                    <a:pt x="1167421" y="321342"/>
                  </a:cubicBezTo>
                  <a:cubicBezTo>
                    <a:pt x="1056007" y="327206"/>
                    <a:pt x="915273" y="317823"/>
                    <a:pt x="772194" y="296713"/>
                  </a:cubicBezTo>
                  <a:cubicBezTo>
                    <a:pt x="627942" y="275603"/>
                    <a:pt x="490727" y="243938"/>
                    <a:pt x="386349" y="207582"/>
                  </a:cubicBezTo>
                  <a:cubicBezTo>
                    <a:pt x="296045" y="175917"/>
                    <a:pt x="251479" y="148943"/>
                    <a:pt x="233888" y="133697"/>
                  </a:cubicBezTo>
                  <a:cubicBezTo>
                    <a:pt x="253825" y="124315"/>
                    <a:pt x="297218" y="112587"/>
                    <a:pt x="378140" y="107896"/>
                  </a:cubicBezTo>
                  <a:cubicBezTo>
                    <a:pt x="385176" y="69194"/>
                    <a:pt x="396904" y="32838"/>
                    <a:pt x="413323" y="0"/>
                  </a:cubicBezTo>
                  <a:cubicBezTo>
                    <a:pt x="395731" y="0"/>
                    <a:pt x="378140" y="1173"/>
                    <a:pt x="361721" y="2346"/>
                  </a:cubicBezTo>
                  <a:cubicBezTo>
                    <a:pt x="263207" y="9382"/>
                    <a:pt x="13405" y="11728"/>
                    <a:pt x="504" y="100859"/>
                  </a:cubicBezTo>
                  <a:cubicBezTo>
                    <a:pt x="-12396" y="188818"/>
                    <a:pt x="225678" y="262703"/>
                    <a:pt x="317155" y="297886"/>
                  </a:cubicBezTo>
                  <a:cubicBezTo>
                    <a:pt x="433260" y="341279"/>
                    <a:pt x="588067" y="378808"/>
                    <a:pt x="755775" y="403436"/>
                  </a:cubicBezTo>
                  <a:cubicBezTo>
                    <a:pt x="923483" y="428065"/>
                    <a:pt x="1082981" y="436274"/>
                    <a:pt x="1206123" y="428065"/>
                  </a:cubicBezTo>
                  <a:cubicBezTo>
                    <a:pt x="1303464" y="421028"/>
                    <a:pt x="1553266" y="418683"/>
                    <a:pt x="1566166" y="330724"/>
                  </a:cubicBezTo>
                  <a:cubicBezTo>
                    <a:pt x="1580240" y="240420"/>
                    <a:pt x="1342165" y="167708"/>
                    <a:pt x="1250688" y="132524"/>
                  </a:cubicBezTo>
                  <a:close/>
                </a:path>
              </a:pathLst>
            </a:custGeom>
            <a:gradFill flip="none" rotWithShape="1">
              <a:gsLst>
                <a:gs pos="100000">
                  <a:schemeClr val="bg1">
                    <a:alpha val="50000"/>
                  </a:schemeClr>
                </a:gs>
                <a:gs pos="0">
                  <a:schemeClr val="bg1">
                    <a:alpha val="50000"/>
                  </a:schemeClr>
                </a:gs>
              </a:gsLst>
              <a:lin ang="16200000" scaled="1"/>
              <a:tileRect/>
            </a:gradFill>
            <a:ln w="11657" cap="flat">
              <a:noFill/>
              <a:prstDash val="solid"/>
              <a:miter/>
            </a:ln>
          </p:spPr>
          <p:txBody>
            <a:bodyPr rtlCol="0" anchor="ctr"/>
            <a:lstStyle/>
            <a:p>
              <a:endParaRPr lang="zh-CN" altLang="en-US"/>
            </a:p>
          </p:txBody>
        </p:sp>
        <p:sp>
          <p:nvSpPr>
            <p:cNvPr id="86" name="任意多边形: 形状 85">
              <a:extLst>
                <a:ext uri="{FF2B5EF4-FFF2-40B4-BE49-F238E27FC236}">
                  <a16:creationId xmlns:a16="http://schemas.microsoft.com/office/drawing/2014/main" id="{10DAFBF8-FD7E-4B07-A2D6-B5174CD5EE7D}"/>
                </a:ext>
              </a:extLst>
            </p:cNvPr>
            <p:cNvSpPr/>
            <p:nvPr/>
          </p:nvSpPr>
          <p:spPr>
            <a:xfrm>
              <a:off x="10186484" y="5552812"/>
              <a:ext cx="1559798" cy="363562"/>
            </a:xfrm>
            <a:custGeom>
              <a:avLst/>
              <a:gdLst>
                <a:gd name="connsiteX0" fmla="*/ 1548575 w 1559798"/>
                <a:gd name="connsiteY0" fmla="*/ 222828 h 363561"/>
                <a:gd name="connsiteX1" fmla="*/ 1548575 w 1559798"/>
                <a:gd name="connsiteY1" fmla="*/ 227519 h 363561"/>
                <a:gd name="connsiteX2" fmla="*/ 1200259 w 1559798"/>
                <a:gd name="connsiteY2" fmla="*/ 322515 h 363561"/>
                <a:gd name="connsiteX3" fmla="*/ 762812 w 1559798"/>
                <a:gd name="connsiteY3" fmla="*/ 299059 h 363561"/>
                <a:gd name="connsiteX4" fmla="*/ 337092 w 1559798"/>
                <a:gd name="connsiteY4" fmla="*/ 195854 h 363561"/>
                <a:gd name="connsiteX5" fmla="*/ 29824 w 1559798"/>
                <a:gd name="connsiteY5" fmla="*/ 4691 h 363561"/>
                <a:gd name="connsiteX6" fmla="*/ 30997 w 1559798"/>
                <a:gd name="connsiteY6" fmla="*/ 0 h 363561"/>
                <a:gd name="connsiteX7" fmla="*/ 504 w 1559798"/>
                <a:gd name="connsiteY7" fmla="*/ 42220 h 363561"/>
                <a:gd name="connsiteX8" fmla="*/ 317155 w 1559798"/>
                <a:gd name="connsiteY8" fmla="*/ 239247 h 363561"/>
                <a:gd name="connsiteX9" fmla="*/ 755775 w 1559798"/>
                <a:gd name="connsiteY9" fmla="*/ 344797 h 363561"/>
                <a:gd name="connsiteX10" fmla="*/ 1206123 w 1559798"/>
                <a:gd name="connsiteY10" fmla="*/ 369426 h 363561"/>
                <a:gd name="connsiteX11" fmla="*/ 1566167 w 1559798"/>
                <a:gd name="connsiteY11" fmla="*/ 272085 h 363561"/>
                <a:gd name="connsiteX12" fmla="*/ 1548575 w 1559798"/>
                <a:gd name="connsiteY12" fmla="*/ 222828 h 36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9798" h="363561">
                  <a:moveTo>
                    <a:pt x="1548575" y="222828"/>
                  </a:moveTo>
                  <a:cubicBezTo>
                    <a:pt x="1548575" y="224001"/>
                    <a:pt x="1548575" y="225174"/>
                    <a:pt x="1548575" y="227519"/>
                  </a:cubicBezTo>
                  <a:cubicBezTo>
                    <a:pt x="1535674" y="313132"/>
                    <a:pt x="1295254" y="315478"/>
                    <a:pt x="1200259" y="322515"/>
                  </a:cubicBezTo>
                  <a:cubicBezTo>
                    <a:pt x="1080635" y="330724"/>
                    <a:pt x="925828" y="322515"/>
                    <a:pt x="762812" y="299059"/>
                  </a:cubicBezTo>
                  <a:cubicBezTo>
                    <a:pt x="600968" y="275603"/>
                    <a:pt x="449679" y="239247"/>
                    <a:pt x="337092" y="195854"/>
                  </a:cubicBezTo>
                  <a:cubicBezTo>
                    <a:pt x="247961" y="161844"/>
                    <a:pt x="18096" y="90304"/>
                    <a:pt x="29824" y="4691"/>
                  </a:cubicBezTo>
                  <a:cubicBezTo>
                    <a:pt x="29824" y="3518"/>
                    <a:pt x="30997" y="2346"/>
                    <a:pt x="30997" y="0"/>
                  </a:cubicBezTo>
                  <a:cubicBezTo>
                    <a:pt x="14578" y="11728"/>
                    <a:pt x="2850" y="24628"/>
                    <a:pt x="504" y="42220"/>
                  </a:cubicBezTo>
                  <a:cubicBezTo>
                    <a:pt x="-12396" y="130179"/>
                    <a:pt x="225678" y="204064"/>
                    <a:pt x="317155" y="239247"/>
                  </a:cubicBezTo>
                  <a:cubicBezTo>
                    <a:pt x="433260" y="282640"/>
                    <a:pt x="588067" y="320169"/>
                    <a:pt x="755775" y="344797"/>
                  </a:cubicBezTo>
                  <a:cubicBezTo>
                    <a:pt x="923483" y="369426"/>
                    <a:pt x="1082981" y="377635"/>
                    <a:pt x="1206123" y="369426"/>
                  </a:cubicBezTo>
                  <a:cubicBezTo>
                    <a:pt x="1303464" y="362389"/>
                    <a:pt x="1553266" y="360044"/>
                    <a:pt x="1566167" y="272085"/>
                  </a:cubicBezTo>
                  <a:cubicBezTo>
                    <a:pt x="1568512" y="254493"/>
                    <a:pt x="1561475" y="238074"/>
                    <a:pt x="1548575" y="222828"/>
                  </a:cubicBezTo>
                  <a:close/>
                </a:path>
              </a:pathLst>
            </a:custGeom>
            <a:gradFill>
              <a:gsLst>
                <a:gs pos="100000">
                  <a:schemeClr val="bg1">
                    <a:alpha val="50000"/>
                  </a:schemeClr>
                </a:gs>
                <a:gs pos="0">
                  <a:schemeClr val="bg1">
                    <a:alpha val="50000"/>
                  </a:schemeClr>
                </a:gs>
              </a:gsLst>
              <a:lin ang="16200000" scaled="1"/>
            </a:gradFill>
            <a:ln w="11657" cap="flat">
              <a:noFill/>
              <a:prstDash val="solid"/>
              <a:miter/>
            </a:ln>
          </p:spPr>
          <p:txBody>
            <a:bodyPr rtlCol="0" anchor="ctr"/>
            <a:lstStyle/>
            <a:p>
              <a:endParaRPr lang="zh-CN" altLang="en-US"/>
            </a:p>
          </p:txBody>
        </p:sp>
      </p:grpSp>
      <p:sp>
        <p:nvSpPr>
          <p:cNvPr id="87" name="任意多边形: 形状 86">
            <a:extLst>
              <a:ext uri="{FF2B5EF4-FFF2-40B4-BE49-F238E27FC236}">
                <a16:creationId xmlns:a16="http://schemas.microsoft.com/office/drawing/2014/main" id="{5200358E-11FC-4D88-8E9D-24FE1B457928}"/>
              </a:ext>
            </a:extLst>
          </p:cNvPr>
          <p:cNvSpPr/>
          <p:nvPr userDrawn="1"/>
        </p:nvSpPr>
        <p:spPr>
          <a:xfrm>
            <a:off x="7090192" y="3093283"/>
            <a:ext cx="124372" cy="124371"/>
          </a:xfrm>
          <a:custGeom>
            <a:avLst/>
            <a:gdLst>
              <a:gd name="connsiteX0" fmla="*/ 82153 w 85725"/>
              <a:gd name="connsiteY0" fmla="*/ 37386 h 85725"/>
              <a:gd name="connsiteX1" fmla="*/ 68818 w 85725"/>
              <a:gd name="connsiteY1" fmla="*/ 35481 h 85725"/>
              <a:gd name="connsiteX2" fmla="*/ 51673 w 85725"/>
              <a:gd name="connsiteY2" fmla="*/ 18336 h 85725"/>
              <a:gd name="connsiteX3" fmla="*/ 49768 w 85725"/>
              <a:gd name="connsiteY3" fmla="*/ 5001 h 85725"/>
              <a:gd name="connsiteX4" fmla="*/ 37386 w 85725"/>
              <a:gd name="connsiteY4" fmla="*/ 5001 h 85725"/>
              <a:gd name="connsiteX5" fmla="*/ 35481 w 85725"/>
              <a:gd name="connsiteY5" fmla="*/ 18336 h 85725"/>
              <a:gd name="connsiteX6" fmla="*/ 18336 w 85725"/>
              <a:gd name="connsiteY6" fmla="*/ 35481 h 85725"/>
              <a:gd name="connsiteX7" fmla="*/ 5001 w 85725"/>
              <a:gd name="connsiteY7" fmla="*/ 37386 h 85725"/>
              <a:gd name="connsiteX8" fmla="*/ 5001 w 85725"/>
              <a:gd name="connsiteY8" fmla="*/ 49768 h 85725"/>
              <a:gd name="connsiteX9" fmla="*/ 18336 w 85725"/>
              <a:gd name="connsiteY9" fmla="*/ 51673 h 85725"/>
              <a:gd name="connsiteX10" fmla="*/ 35481 w 85725"/>
              <a:gd name="connsiteY10" fmla="*/ 68818 h 85725"/>
              <a:gd name="connsiteX11" fmla="*/ 37386 w 85725"/>
              <a:gd name="connsiteY11" fmla="*/ 82153 h 85725"/>
              <a:gd name="connsiteX12" fmla="*/ 49768 w 85725"/>
              <a:gd name="connsiteY12" fmla="*/ 82153 h 85725"/>
              <a:gd name="connsiteX13" fmla="*/ 51673 w 85725"/>
              <a:gd name="connsiteY13" fmla="*/ 68818 h 85725"/>
              <a:gd name="connsiteX14" fmla="*/ 68818 w 85725"/>
              <a:gd name="connsiteY14" fmla="*/ 51673 h 85725"/>
              <a:gd name="connsiteX15" fmla="*/ 82153 w 85725"/>
              <a:gd name="connsiteY15" fmla="*/ 49768 h 85725"/>
              <a:gd name="connsiteX16" fmla="*/ 82153 w 85725"/>
              <a:gd name="connsiteY16" fmla="*/ 3738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725" h="85725">
                <a:moveTo>
                  <a:pt x="82153" y="37386"/>
                </a:moveTo>
                <a:lnTo>
                  <a:pt x="68818" y="35481"/>
                </a:lnTo>
                <a:cubicBezTo>
                  <a:pt x="60246" y="34528"/>
                  <a:pt x="52626" y="26908"/>
                  <a:pt x="51673" y="18336"/>
                </a:cubicBezTo>
                <a:lnTo>
                  <a:pt x="49768" y="5001"/>
                </a:lnTo>
                <a:cubicBezTo>
                  <a:pt x="48816" y="-1667"/>
                  <a:pt x="38338" y="-1667"/>
                  <a:pt x="37386" y="5001"/>
                </a:cubicBezTo>
                <a:lnTo>
                  <a:pt x="35481" y="18336"/>
                </a:lnTo>
                <a:cubicBezTo>
                  <a:pt x="34528" y="26908"/>
                  <a:pt x="26908" y="34528"/>
                  <a:pt x="18336" y="35481"/>
                </a:cubicBezTo>
                <a:lnTo>
                  <a:pt x="5001" y="37386"/>
                </a:lnTo>
                <a:cubicBezTo>
                  <a:pt x="-1667" y="38338"/>
                  <a:pt x="-1667" y="48816"/>
                  <a:pt x="5001" y="49768"/>
                </a:cubicBezTo>
                <a:lnTo>
                  <a:pt x="18336" y="51673"/>
                </a:lnTo>
                <a:cubicBezTo>
                  <a:pt x="26908" y="52626"/>
                  <a:pt x="34528" y="60246"/>
                  <a:pt x="35481" y="68818"/>
                </a:cubicBezTo>
                <a:lnTo>
                  <a:pt x="37386" y="82153"/>
                </a:lnTo>
                <a:cubicBezTo>
                  <a:pt x="38338" y="88821"/>
                  <a:pt x="48816" y="88821"/>
                  <a:pt x="49768" y="82153"/>
                </a:cubicBezTo>
                <a:lnTo>
                  <a:pt x="51673" y="68818"/>
                </a:lnTo>
                <a:cubicBezTo>
                  <a:pt x="52626" y="60246"/>
                  <a:pt x="60246" y="52626"/>
                  <a:pt x="68818" y="51673"/>
                </a:cubicBezTo>
                <a:lnTo>
                  <a:pt x="82153" y="49768"/>
                </a:lnTo>
                <a:cubicBezTo>
                  <a:pt x="88821" y="48816"/>
                  <a:pt x="88821" y="38338"/>
                  <a:pt x="82153" y="37386"/>
                </a:cubicBezTo>
                <a:close/>
              </a:path>
            </a:pathLst>
          </a:custGeom>
          <a:solidFill>
            <a:schemeClr val="accent2">
              <a:lumMod val="60000"/>
              <a:lumOff val="40000"/>
            </a:schemeClr>
          </a:solidFill>
          <a:ln w="9525" cap="flat">
            <a:noFill/>
            <a:prstDash val="solid"/>
            <a:miter/>
          </a:ln>
        </p:spPr>
        <p:txBody>
          <a:bodyPr rtlCol="0" anchor="ctr"/>
          <a:lstStyle/>
          <a:p>
            <a:endParaRPr lang="zh-CN" altLang="en-US"/>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AE8A6DD-66A4-4BA0-B9E7-178049A7746E}"/>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2F3977C5-3EBC-49A0-A9ED-CEC9E9F8A0D8}"/>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7CBF6BB0-EB17-4945-871B-ED91BAC39A75}"/>
              </a:ext>
            </a:extLst>
          </p:cNvPr>
          <p:cNvSpPr>
            <a:spLocks noGrp="1"/>
          </p:cNvSpPr>
          <p:nvPr>
            <p:ph type="dt" sz="half" idx="10"/>
          </p:nvPr>
        </p:nvSpPr>
        <p:spPr/>
        <p:txBody>
          <a:bodyPr/>
          <a:lstStyle/>
          <a:p>
            <a:fld id="{6C8BB3D0-EB09-4CAF-86D6-F879D74327B0}" type="datetimeFigureOut">
              <a:rPr lang="zh-CN" altLang="en-US" smtClean="0"/>
              <a:t>2020/9/26</a:t>
            </a:fld>
            <a:endParaRPr lang="zh-CN" altLang="en-US"/>
          </a:p>
        </p:txBody>
      </p:sp>
      <p:sp>
        <p:nvSpPr>
          <p:cNvPr id="5" name="页脚占位符 4">
            <a:extLst>
              <a:ext uri="{FF2B5EF4-FFF2-40B4-BE49-F238E27FC236}">
                <a16:creationId xmlns:a16="http://schemas.microsoft.com/office/drawing/2014/main" id="{C43238F2-31DA-4777-8C88-6BEE0F1BE49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7B9B461-302B-4945-B866-1C255EC5B353}"/>
              </a:ext>
            </a:extLst>
          </p:cNvPr>
          <p:cNvSpPr>
            <a:spLocks noGrp="1"/>
          </p:cNvSpPr>
          <p:nvPr>
            <p:ph type="sldNum" sz="quarter" idx="12"/>
          </p:nvPr>
        </p:nvSpPr>
        <p:spPr/>
        <p:txBody>
          <a:bodyPr/>
          <a:lstStyle/>
          <a:p>
            <a:fld id="{CFBB4B77-E723-4D1C-B644-F02E0DA07C07}" type="slidenum">
              <a:rPr lang="zh-CN" altLang="en-US" smtClean="0"/>
              <a:t>‹#›</a:t>
            </a:fld>
            <a:endParaRPr lang="zh-CN" altLang="en-US"/>
          </a:p>
        </p:txBody>
      </p:sp>
    </p:spTree>
    <p:extLst>
      <p:ext uri="{BB962C8B-B14F-4D97-AF65-F5344CB8AC3E}">
        <p14:creationId xmlns:p14="http://schemas.microsoft.com/office/powerpoint/2010/main" val="2204793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8.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0.svg"/><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8.xml"/></Relationships>
</file>

<file path=ppt/slides/_rels/slide1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Layout" Target="../slideLayouts/slideLayout4.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34.xml"/><Relationship Id="rId5" Type="http://schemas.openxmlformats.org/officeDocument/2006/relationships/image" Target="../media/image12.svg"/><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36.xml"/><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7.sv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9.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jpg"/><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4.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0.xml"/><Relationship Id="rId1" Type="http://schemas.openxmlformats.org/officeDocument/2006/relationships/themeOverride" Target="../theme/themeOverride2.xml"/><Relationship Id="rId4" Type="http://schemas.openxmlformats.org/officeDocument/2006/relationships/notesSlide" Target="../notesSlides/notesSlide34.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themeOverride" Target="../theme/themeOverride3.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2.xml"/></Relationships>
</file>

<file path=ppt/slides/_rels/slide53.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vmlDrawing" Target="../drawings/vmlDrawing3.vml"/><Relationship Id="rId1" Type="http://schemas.openxmlformats.org/officeDocument/2006/relationships/themeOverride" Target="../theme/themeOverride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4.xml"/></Relationships>
</file>

<file path=ppt/slides/_rels/slide55.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45.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6.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7.xml"/></Relationships>
</file>

<file path=ppt/slides/_rels/slide5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5.xml"/><Relationship Id="rId1" Type="http://schemas.openxmlformats.org/officeDocument/2006/relationships/tags" Target="../tags/tag48.xml"/></Relationships>
</file>

<file path=ppt/slides/_rels/slide5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5.xml"/><Relationship Id="rId1" Type="http://schemas.openxmlformats.org/officeDocument/2006/relationships/tags" Target="../tags/tag4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60.xml.rels><?xml version="1.0" encoding="UTF-8" standalone="yes"?>
<Relationships xmlns="http://schemas.openxmlformats.org/package/2006/relationships"><Relationship Id="rId3" Type="http://schemas.openxmlformats.org/officeDocument/2006/relationships/hyperlink" Target="http://www.islide.cc/" TargetMode="External"/><Relationship Id="rId2" Type="http://schemas.openxmlformats.org/officeDocument/2006/relationships/slideLayout" Target="../slideLayouts/slideLayout5.xml"/><Relationship Id="rId1" Type="http://schemas.openxmlformats.org/officeDocument/2006/relationships/tags" Target="../tags/tag50.xm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6"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73099" y="1020834"/>
            <a:ext cx="6819901" cy="2732325"/>
          </a:xfrm>
        </p:spPr>
        <p:txBody>
          <a:bodyPr/>
          <a:lstStyle/>
          <a:p>
            <a:r>
              <a:rPr lang="en-US" altLang="zh-CN" sz="4800" dirty="0">
                <a:latin typeface="Arial Black" panose="020B0A04020102020204" pitchFamily="34" charset="0"/>
              </a:rPr>
              <a:t>Java 8</a:t>
            </a:r>
            <a:br>
              <a:rPr lang="en-US" altLang="zh-CN" sz="3600" dirty="0"/>
            </a:br>
            <a:r>
              <a:rPr lang="zh-CN" altLang="en-US" sz="3200" dirty="0"/>
              <a:t>函数式编程入门</a:t>
            </a:r>
            <a:endParaRPr lang="zh-CN" altLang="en-US" dirty="0"/>
          </a:p>
        </p:txBody>
      </p:sp>
      <p:sp>
        <p:nvSpPr>
          <p:cNvPr id="6" name="文本占位符 5"/>
          <p:cNvSpPr>
            <a:spLocks noGrp="1"/>
          </p:cNvSpPr>
          <p:nvPr>
            <p:ph type="body" sz="quarter" idx="10"/>
          </p:nvPr>
        </p:nvSpPr>
        <p:spPr/>
        <p:txBody>
          <a:bodyPr/>
          <a:lstStyle/>
          <a:p>
            <a:r>
              <a:rPr lang="zh-CN" altLang="en-US" i="0" spc="300" dirty="0"/>
              <a:t>作者：杨权</a:t>
            </a:r>
            <a:r>
              <a:rPr lang="en-US" altLang="zh-CN" i="0" spc="300" dirty="0"/>
              <a:t>6</a:t>
            </a:r>
          </a:p>
        </p:txBody>
      </p:sp>
      <p:sp>
        <p:nvSpPr>
          <p:cNvPr id="16" name="Freeform 34">
            <a:extLst>
              <a:ext uri="{FF2B5EF4-FFF2-40B4-BE49-F238E27FC236}">
                <a16:creationId xmlns:a16="http://schemas.microsoft.com/office/drawing/2014/main" id="{F4385E8E-6331-4886-AFF6-737240CC6746}"/>
              </a:ext>
            </a:extLst>
          </p:cNvPr>
          <p:cNvSpPr/>
          <p:nvPr/>
        </p:nvSpPr>
        <p:spPr>
          <a:xfrm>
            <a:off x="960152" y="872224"/>
            <a:ext cx="1049669" cy="1144825"/>
          </a:xfrm>
          <a:custGeom>
            <a:avLst/>
            <a:gdLst>
              <a:gd name="T0" fmla="*/ 4267 w 11834"/>
              <a:gd name="T1" fmla="*/ 9900 h 12907"/>
              <a:gd name="T2" fmla="*/ 4614 w 11834"/>
              <a:gd name="T3" fmla="*/ 10280 h 12907"/>
              <a:gd name="T4" fmla="*/ 7264 w 11834"/>
              <a:gd name="T5" fmla="*/ 10167 h 12907"/>
              <a:gd name="T6" fmla="*/ 7969 w 11834"/>
              <a:gd name="T7" fmla="*/ 10512 h 12907"/>
              <a:gd name="T8" fmla="*/ 4267 w 11834"/>
              <a:gd name="T9" fmla="*/ 9900 h 12907"/>
              <a:gd name="T10" fmla="*/ 3962 w 11834"/>
              <a:gd name="T11" fmla="*/ 8497 h 12907"/>
              <a:gd name="T12" fmla="*/ 4252 w 11834"/>
              <a:gd name="T13" fmla="*/ 8990 h 12907"/>
              <a:gd name="T14" fmla="*/ 7672 w 11834"/>
              <a:gd name="T15" fmla="*/ 8825 h 12907"/>
              <a:gd name="T16" fmla="*/ 8199 w 11834"/>
              <a:gd name="T17" fmla="*/ 9145 h 12907"/>
              <a:gd name="T18" fmla="*/ 3962 w 11834"/>
              <a:gd name="T19" fmla="*/ 8497 h 12907"/>
              <a:gd name="T20" fmla="*/ 6542 w 11834"/>
              <a:gd name="T21" fmla="*/ 6120 h 12907"/>
              <a:gd name="T22" fmla="*/ 6379 w 11834"/>
              <a:gd name="T23" fmla="*/ 7470 h 12907"/>
              <a:gd name="T24" fmla="*/ 7227 w 11834"/>
              <a:gd name="T25" fmla="*/ 5647 h 12907"/>
              <a:gd name="T26" fmla="*/ 8829 w 11834"/>
              <a:gd name="T27" fmla="*/ 2615 h 12907"/>
              <a:gd name="T28" fmla="*/ 6542 w 11834"/>
              <a:gd name="T29" fmla="*/ 6120 h 12907"/>
              <a:gd name="T30" fmla="*/ 9857 w 11834"/>
              <a:gd name="T31" fmla="*/ 10935 h 12907"/>
              <a:gd name="T32" fmla="*/ 9459 w 11834"/>
              <a:gd name="T33" fmla="*/ 11465 h 12907"/>
              <a:gd name="T34" fmla="*/ 2169 w 11834"/>
              <a:gd name="T35" fmla="*/ 11482 h 12907"/>
              <a:gd name="T36" fmla="*/ 2839 w 11834"/>
              <a:gd name="T37" fmla="*/ 10950 h 12907"/>
              <a:gd name="T38" fmla="*/ 3282 w 11834"/>
              <a:gd name="T39" fmla="*/ 10900 h 12907"/>
              <a:gd name="T40" fmla="*/ 1872 w 11834"/>
              <a:gd name="T41" fmla="*/ 11905 h 12907"/>
              <a:gd name="T42" fmla="*/ 9857 w 11834"/>
              <a:gd name="T43" fmla="*/ 10935 h 12907"/>
              <a:gd name="T44" fmla="*/ 4502 w 11834"/>
              <a:gd name="T45" fmla="*/ 7045 h 12907"/>
              <a:gd name="T46" fmla="*/ 3677 w 11834"/>
              <a:gd name="T47" fmla="*/ 7797 h 12907"/>
              <a:gd name="T48" fmla="*/ 6754 w 11834"/>
              <a:gd name="T49" fmla="*/ 7765 h 12907"/>
              <a:gd name="T50" fmla="*/ 8684 w 11834"/>
              <a:gd name="T51" fmla="*/ 7510 h 12907"/>
              <a:gd name="T52" fmla="*/ 8099 w 11834"/>
              <a:gd name="T53" fmla="*/ 7822 h 12907"/>
              <a:gd name="T54" fmla="*/ 2487 w 11834"/>
              <a:gd name="T55" fmla="*/ 7520 h 12907"/>
              <a:gd name="T56" fmla="*/ 4502 w 11834"/>
              <a:gd name="T57" fmla="*/ 7045 h 12907"/>
              <a:gd name="T58" fmla="*/ 8677 w 11834"/>
              <a:gd name="T59" fmla="*/ 9377 h 12907"/>
              <a:gd name="T60" fmla="*/ 9192 w 11834"/>
              <a:gd name="T61" fmla="*/ 7092 h 12907"/>
              <a:gd name="T62" fmla="*/ 8917 w 11834"/>
              <a:gd name="T63" fmla="*/ 7167 h 12907"/>
              <a:gd name="T64" fmla="*/ 9122 w 11834"/>
              <a:gd name="T65" fmla="*/ 7010 h 12907"/>
              <a:gd name="T66" fmla="*/ 8627 w 11834"/>
              <a:gd name="T67" fmla="*/ 9442 h 12907"/>
              <a:gd name="T68" fmla="*/ 8677 w 11834"/>
              <a:gd name="T69" fmla="*/ 9377 h 12907"/>
              <a:gd name="T70" fmla="*/ 7227 w 11834"/>
              <a:gd name="T71" fmla="*/ 0 h 12907"/>
              <a:gd name="T72" fmla="*/ 5964 w 11834"/>
              <a:gd name="T73" fmla="*/ 3375 h 12907"/>
              <a:gd name="T74" fmla="*/ 5964 w 11834"/>
              <a:gd name="T75" fmla="*/ 7020 h 12907"/>
              <a:gd name="T76" fmla="*/ 4459 w 11834"/>
              <a:gd name="T77" fmla="*/ 4065 h 12907"/>
              <a:gd name="T78" fmla="*/ 7227 w 11834"/>
              <a:gd name="T79" fmla="*/ 0 h 12907"/>
              <a:gd name="T80" fmla="*/ 4739 w 11834"/>
              <a:gd name="T81" fmla="*/ 12760 h 12907"/>
              <a:gd name="T82" fmla="*/ 10667 w 11834"/>
              <a:gd name="T83" fmla="*/ 11587 h 12907"/>
              <a:gd name="T84" fmla="*/ 8762 w 11834"/>
              <a:gd name="T85" fmla="*/ 12330 h 12907"/>
              <a:gd name="T86" fmla="*/ 2929 w 11834"/>
              <a:gd name="T87" fmla="*/ 12420 h 12907"/>
              <a:gd name="T88" fmla="*/ 4739 w 11834"/>
              <a:gd name="T89" fmla="*/ 12760 h 12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834" h="12907">
                <a:moveTo>
                  <a:pt x="4267" y="9900"/>
                </a:moveTo>
                <a:cubicBezTo>
                  <a:pt x="4267" y="9900"/>
                  <a:pt x="3777" y="10185"/>
                  <a:pt x="4614" y="10280"/>
                </a:cubicBezTo>
                <a:cubicBezTo>
                  <a:pt x="5629" y="10395"/>
                  <a:pt x="6147" y="10380"/>
                  <a:pt x="7264" y="10167"/>
                </a:cubicBezTo>
                <a:cubicBezTo>
                  <a:pt x="7264" y="10167"/>
                  <a:pt x="7559" y="10352"/>
                  <a:pt x="7969" y="10512"/>
                </a:cubicBezTo>
                <a:cubicBezTo>
                  <a:pt x="5464" y="11585"/>
                  <a:pt x="2299" y="10450"/>
                  <a:pt x="4267" y="9900"/>
                </a:cubicBezTo>
                <a:close/>
                <a:moveTo>
                  <a:pt x="3962" y="8497"/>
                </a:moveTo>
                <a:cubicBezTo>
                  <a:pt x="3962" y="8497"/>
                  <a:pt x="3414" y="8902"/>
                  <a:pt x="4252" y="8990"/>
                </a:cubicBezTo>
                <a:cubicBezTo>
                  <a:pt x="5334" y="9102"/>
                  <a:pt x="6192" y="9110"/>
                  <a:pt x="7672" y="8825"/>
                </a:cubicBezTo>
                <a:cubicBezTo>
                  <a:pt x="7672" y="8825"/>
                  <a:pt x="7877" y="9032"/>
                  <a:pt x="8199" y="9145"/>
                </a:cubicBezTo>
                <a:cubicBezTo>
                  <a:pt x="5167" y="10032"/>
                  <a:pt x="1792" y="9217"/>
                  <a:pt x="3962" y="8497"/>
                </a:cubicBezTo>
                <a:close/>
                <a:moveTo>
                  <a:pt x="6542" y="6120"/>
                </a:moveTo>
                <a:cubicBezTo>
                  <a:pt x="7159" y="6830"/>
                  <a:pt x="6379" y="7470"/>
                  <a:pt x="6379" y="7470"/>
                </a:cubicBezTo>
                <a:cubicBezTo>
                  <a:pt x="6379" y="7470"/>
                  <a:pt x="7947" y="6660"/>
                  <a:pt x="7227" y="5647"/>
                </a:cubicBezTo>
                <a:cubicBezTo>
                  <a:pt x="6554" y="4702"/>
                  <a:pt x="6039" y="4232"/>
                  <a:pt x="8829" y="2615"/>
                </a:cubicBezTo>
                <a:cubicBezTo>
                  <a:pt x="8832" y="2615"/>
                  <a:pt x="4449" y="3710"/>
                  <a:pt x="6542" y="6120"/>
                </a:cubicBezTo>
                <a:moveTo>
                  <a:pt x="9857" y="10935"/>
                </a:moveTo>
                <a:cubicBezTo>
                  <a:pt x="9857" y="10935"/>
                  <a:pt x="10219" y="11232"/>
                  <a:pt x="9459" y="11465"/>
                </a:cubicBezTo>
                <a:cubicBezTo>
                  <a:pt x="8012" y="11902"/>
                  <a:pt x="3439" y="12035"/>
                  <a:pt x="2169" y="11482"/>
                </a:cubicBezTo>
                <a:cubicBezTo>
                  <a:pt x="1712" y="11285"/>
                  <a:pt x="2569" y="11007"/>
                  <a:pt x="2839" y="10950"/>
                </a:cubicBezTo>
                <a:cubicBezTo>
                  <a:pt x="3119" y="10890"/>
                  <a:pt x="3282" y="10900"/>
                  <a:pt x="3282" y="10900"/>
                </a:cubicBezTo>
                <a:cubicBezTo>
                  <a:pt x="2774" y="10542"/>
                  <a:pt x="0" y="11602"/>
                  <a:pt x="1872" y="11905"/>
                </a:cubicBezTo>
                <a:cubicBezTo>
                  <a:pt x="6977" y="12735"/>
                  <a:pt x="11182" y="11532"/>
                  <a:pt x="9857" y="10935"/>
                </a:cubicBezTo>
                <a:moveTo>
                  <a:pt x="4502" y="7045"/>
                </a:moveTo>
                <a:cubicBezTo>
                  <a:pt x="4502" y="7045"/>
                  <a:pt x="2174" y="7597"/>
                  <a:pt x="3677" y="7797"/>
                </a:cubicBezTo>
                <a:cubicBezTo>
                  <a:pt x="4312" y="7882"/>
                  <a:pt x="5577" y="7862"/>
                  <a:pt x="6754" y="7765"/>
                </a:cubicBezTo>
                <a:cubicBezTo>
                  <a:pt x="7717" y="7685"/>
                  <a:pt x="8684" y="7510"/>
                  <a:pt x="8684" y="7510"/>
                </a:cubicBezTo>
                <a:cubicBezTo>
                  <a:pt x="8684" y="7510"/>
                  <a:pt x="8344" y="7655"/>
                  <a:pt x="8099" y="7822"/>
                </a:cubicBezTo>
                <a:cubicBezTo>
                  <a:pt x="5737" y="8445"/>
                  <a:pt x="1175" y="8155"/>
                  <a:pt x="2487" y="7520"/>
                </a:cubicBezTo>
                <a:cubicBezTo>
                  <a:pt x="3599" y="6985"/>
                  <a:pt x="4502" y="7045"/>
                  <a:pt x="4502" y="7045"/>
                </a:cubicBezTo>
                <a:moveTo>
                  <a:pt x="8677" y="9377"/>
                </a:moveTo>
                <a:cubicBezTo>
                  <a:pt x="11079" y="8130"/>
                  <a:pt x="9967" y="6930"/>
                  <a:pt x="9192" y="7092"/>
                </a:cubicBezTo>
                <a:cubicBezTo>
                  <a:pt x="9002" y="7132"/>
                  <a:pt x="8917" y="7167"/>
                  <a:pt x="8917" y="7167"/>
                </a:cubicBezTo>
                <a:cubicBezTo>
                  <a:pt x="8917" y="7167"/>
                  <a:pt x="8987" y="7057"/>
                  <a:pt x="9122" y="7010"/>
                </a:cubicBezTo>
                <a:cubicBezTo>
                  <a:pt x="10654" y="6470"/>
                  <a:pt x="11834" y="8600"/>
                  <a:pt x="8627" y="9442"/>
                </a:cubicBezTo>
                <a:cubicBezTo>
                  <a:pt x="8627" y="9440"/>
                  <a:pt x="8664" y="9407"/>
                  <a:pt x="8677" y="9377"/>
                </a:cubicBezTo>
                <a:moveTo>
                  <a:pt x="7227" y="0"/>
                </a:moveTo>
                <a:cubicBezTo>
                  <a:pt x="7227" y="0"/>
                  <a:pt x="8557" y="1330"/>
                  <a:pt x="5964" y="3375"/>
                </a:cubicBezTo>
                <a:cubicBezTo>
                  <a:pt x="3887" y="5015"/>
                  <a:pt x="5489" y="5952"/>
                  <a:pt x="5964" y="7020"/>
                </a:cubicBezTo>
                <a:cubicBezTo>
                  <a:pt x="4752" y="5925"/>
                  <a:pt x="3862" y="4962"/>
                  <a:pt x="4459" y="4065"/>
                </a:cubicBezTo>
                <a:cubicBezTo>
                  <a:pt x="5337" y="2752"/>
                  <a:pt x="7764" y="2112"/>
                  <a:pt x="7227" y="0"/>
                </a:cubicBezTo>
                <a:close/>
                <a:moveTo>
                  <a:pt x="4739" y="12760"/>
                </a:moveTo>
                <a:cubicBezTo>
                  <a:pt x="7044" y="12907"/>
                  <a:pt x="10584" y="12677"/>
                  <a:pt x="10667" y="11587"/>
                </a:cubicBezTo>
                <a:cubicBezTo>
                  <a:pt x="10667" y="11587"/>
                  <a:pt x="10507" y="12000"/>
                  <a:pt x="8762" y="12330"/>
                </a:cubicBezTo>
                <a:cubicBezTo>
                  <a:pt x="6794" y="12700"/>
                  <a:pt x="4367" y="12657"/>
                  <a:pt x="2929" y="12420"/>
                </a:cubicBezTo>
                <a:cubicBezTo>
                  <a:pt x="2929" y="12417"/>
                  <a:pt x="3224" y="12662"/>
                  <a:pt x="4739" y="12760"/>
                </a:cubicBezTo>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chemeClr val="tx1"/>
              </a:solidFill>
            </a:endParaRPr>
          </a:p>
        </p:txBody>
      </p:sp>
      <p:sp>
        <p:nvSpPr>
          <p:cNvPr id="9" name="文本占位符 8">
            <a:extLst>
              <a:ext uri="{FF2B5EF4-FFF2-40B4-BE49-F238E27FC236}">
                <a16:creationId xmlns:a16="http://schemas.microsoft.com/office/drawing/2014/main" id="{D6BF83D9-3814-47BF-8836-C56594D8E280}"/>
              </a:ext>
            </a:extLst>
          </p:cNvPr>
          <p:cNvSpPr>
            <a:spLocks noGrp="1"/>
          </p:cNvSpPr>
          <p:nvPr>
            <p:ph type="body" sz="quarter" idx="11"/>
          </p:nvPr>
        </p:nvSpPr>
        <p:spPr/>
        <p:txBody>
          <a:bodyPr/>
          <a:lstStyle/>
          <a:p>
            <a:r>
              <a:rPr lang="en-US" altLang="zh-CN" dirty="0"/>
              <a:t>2020/09/28</a:t>
            </a:r>
            <a:endParaRPr lang="zh-CN" altLang="en-US" dirty="0"/>
          </a:p>
        </p:txBody>
      </p:sp>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7479FE4-8A2B-4007-8B01-5969695E875E}"/>
              </a:ext>
            </a:extLst>
          </p:cNvPr>
          <p:cNvSpPr>
            <a:spLocks noGrp="1"/>
          </p:cNvSpPr>
          <p:nvPr>
            <p:ph type="title"/>
          </p:nvPr>
        </p:nvSpPr>
        <p:spPr/>
        <p:txBody>
          <a:bodyPr/>
          <a:lstStyle/>
          <a:p>
            <a:r>
              <a:rPr lang="en-US" altLang="zh-CN" dirty="0"/>
              <a:t>2. </a:t>
            </a:r>
            <a:r>
              <a:rPr lang="zh-CN" altLang="en-US" dirty="0"/>
              <a:t>方法引用</a:t>
            </a:r>
          </a:p>
        </p:txBody>
      </p:sp>
      <p:sp>
        <p:nvSpPr>
          <p:cNvPr id="3" name="页脚占位符 2">
            <a:extLst>
              <a:ext uri="{FF2B5EF4-FFF2-40B4-BE49-F238E27FC236}">
                <a16:creationId xmlns:a16="http://schemas.microsoft.com/office/drawing/2014/main" id="{6668EFC2-0445-451F-912D-71EF84246D5E}"/>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B7591AD9-F57F-4E03-94F8-EF66D0C5FBF6}"/>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grpSp>
        <p:nvGrpSpPr>
          <p:cNvPr id="5" name="#18569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2593974-5195-4161-A355-E2D477069EF3}"/>
              </a:ext>
            </a:extLst>
          </p:cNvPr>
          <p:cNvGrpSpPr>
            <a:grpSpLocks noChangeAspect="1"/>
          </p:cNvGrpSpPr>
          <p:nvPr>
            <p:custDataLst>
              <p:tags r:id="rId2"/>
            </p:custDataLst>
          </p:nvPr>
        </p:nvGrpSpPr>
        <p:grpSpPr>
          <a:xfrm>
            <a:off x="767408" y="1253610"/>
            <a:ext cx="10051420" cy="4883665"/>
            <a:chOff x="767408" y="1253610"/>
            <a:chExt cx="10051420" cy="4883665"/>
          </a:xfrm>
        </p:grpSpPr>
        <p:sp>
          <p:nvSpPr>
            <p:cNvPr id="6" name="işľíḋê">
              <a:extLst>
                <a:ext uri="{FF2B5EF4-FFF2-40B4-BE49-F238E27FC236}">
                  <a16:creationId xmlns:a16="http://schemas.microsoft.com/office/drawing/2014/main" id="{D675545C-F409-4A23-84F1-65403FE521BD}"/>
                </a:ext>
              </a:extLst>
            </p:cNvPr>
            <p:cNvSpPr/>
            <p:nvPr/>
          </p:nvSpPr>
          <p:spPr bwMode="auto">
            <a:xfrm rot="190104" flipH="1">
              <a:off x="6708677" y="1607725"/>
              <a:ext cx="4110151" cy="4314128"/>
            </a:xfrm>
            <a:custGeom>
              <a:avLst/>
              <a:gdLst>
                <a:gd name="connsiteX0" fmla="*/ 4217033 w 6161649"/>
                <a:gd name="connsiteY0" fmla="*/ 0 h 6467437"/>
                <a:gd name="connsiteX1" fmla="*/ 4266943 w 6161649"/>
                <a:gd name="connsiteY1" fmla="*/ 234575 h 6467437"/>
                <a:gd name="connsiteX2" fmla="*/ 4309457 w 6161649"/>
                <a:gd name="connsiteY2" fmla="*/ 633353 h 6467437"/>
                <a:gd name="connsiteX3" fmla="*/ 4309457 w 6161649"/>
                <a:gd name="connsiteY3" fmla="*/ 640055 h 6467437"/>
                <a:gd name="connsiteX4" fmla="*/ 4131386 w 6161649"/>
                <a:gd name="connsiteY4" fmla="*/ 867928 h 6467437"/>
                <a:gd name="connsiteX5" fmla="*/ 3732728 w 6161649"/>
                <a:gd name="connsiteY5" fmla="*/ 1230962 h 6467437"/>
                <a:gd name="connsiteX6" fmla="*/ 3682818 w 6161649"/>
                <a:gd name="connsiteY6" fmla="*/ 1130987 h 6467437"/>
                <a:gd name="connsiteX7" fmla="*/ 3241027 w 6161649"/>
                <a:gd name="connsiteY7" fmla="*/ 633353 h 6467437"/>
                <a:gd name="connsiteX8" fmla="*/ 3006269 w 6161649"/>
                <a:gd name="connsiteY8" fmla="*/ 135160 h 6467437"/>
                <a:gd name="connsiteX9" fmla="*/ 3226856 w 6161649"/>
                <a:gd name="connsiteY9" fmla="*/ 704284 h 6467437"/>
                <a:gd name="connsiteX10" fmla="*/ 3234250 w 6161649"/>
                <a:gd name="connsiteY10" fmla="*/ 725507 h 6467437"/>
                <a:gd name="connsiteX11" fmla="*/ 3597171 w 6161649"/>
                <a:gd name="connsiteY11" fmla="*/ 1166732 h 6467437"/>
                <a:gd name="connsiteX12" fmla="*/ 3704384 w 6161649"/>
                <a:gd name="connsiteY12" fmla="*/ 1451573 h 6467437"/>
                <a:gd name="connsiteX13" fmla="*/ 3547262 w 6161649"/>
                <a:gd name="connsiteY13" fmla="*/ 2184342 h 6467437"/>
                <a:gd name="connsiteX14" fmla="*/ 3013045 w 6161649"/>
                <a:gd name="connsiteY14" fmla="*/ 2738944 h 6467437"/>
                <a:gd name="connsiteX15" fmla="*/ 2942188 w 6161649"/>
                <a:gd name="connsiteY15" fmla="*/ 2760725 h 6467437"/>
                <a:gd name="connsiteX16" fmla="*/ 2878106 w 6161649"/>
                <a:gd name="connsiteY16" fmla="*/ 2717720 h 6467437"/>
                <a:gd name="connsiteX17" fmla="*/ 2656903 w 6161649"/>
                <a:gd name="connsiteY17" fmla="*/ 2212825 h 6467437"/>
                <a:gd name="connsiteX18" fmla="*/ 2756721 w 6161649"/>
                <a:gd name="connsiteY18" fmla="*/ 1963728 h 6467437"/>
                <a:gd name="connsiteX19" fmla="*/ 2813409 w 6161649"/>
                <a:gd name="connsiteY19" fmla="*/ 1743117 h 6467437"/>
                <a:gd name="connsiteX20" fmla="*/ 2749328 w 6161649"/>
                <a:gd name="connsiteY20" fmla="*/ 1480057 h 6467437"/>
                <a:gd name="connsiteX21" fmla="*/ 2714206 w 6161649"/>
                <a:gd name="connsiteY21" fmla="*/ 1373381 h 6467437"/>
                <a:gd name="connsiteX22" fmla="*/ 2728378 w 6161649"/>
                <a:gd name="connsiteY22" fmla="*/ 1472797 h 6467437"/>
                <a:gd name="connsiteX23" fmla="*/ 2756722 w 6161649"/>
                <a:gd name="connsiteY23" fmla="*/ 1743117 h 6467437"/>
                <a:gd name="connsiteX24" fmla="*/ 2742549 w 6161649"/>
                <a:gd name="connsiteY24" fmla="*/ 1800085 h 6467437"/>
                <a:gd name="connsiteX25" fmla="*/ 2628559 w 6161649"/>
                <a:gd name="connsiteY25" fmla="*/ 1999473 h 6467437"/>
                <a:gd name="connsiteX26" fmla="*/ 2536135 w 6161649"/>
                <a:gd name="connsiteY26" fmla="*/ 1849792 h 6467437"/>
                <a:gd name="connsiteX27" fmla="*/ 2450488 w 6161649"/>
                <a:gd name="connsiteY27" fmla="*/ 1686149 h 6467437"/>
                <a:gd name="connsiteX28" fmla="*/ 2066000 w 6161649"/>
                <a:gd name="connsiteY28" fmla="*/ 1458275 h 6467437"/>
                <a:gd name="connsiteX29" fmla="*/ 1908879 w 6161649"/>
                <a:gd name="connsiteY29" fmla="*/ 1330377 h 6467437"/>
                <a:gd name="connsiteX30" fmla="*/ 1759151 w 6161649"/>
                <a:gd name="connsiteY30" fmla="*/ 1088540 h 6467437"/>
                <a:gd name="connsiteX31" fmla="*/ 1552736 w 6161649"/>
                <a:gd name="connsiteY31" fmla="*/ 753992 h 6467437"/>
                <a:gd name="connsiteX32" fmla="*/ 1844799 w 6161649"/>
                <a:gd name="connsiteY32" fmla="*/ 1323116 h 6467437"/>
                <a:gd name="connsiteX33" fmla="*/ 2030264 w 6161649"/>
                <a:gd name="connsiteY33" fmla="*/ 1508542 h 6467437"/>
                <a:gd name="connsiteX34" fmla="*/ 2400579 w 6161649"/>
                <a:gd name="connsiteY34" fmla="*/ 1778862 h 6467437"/>
                <a:gd name="connsiteX35" fmla="*/ 2464660 w 6161649"/>
                <a:gd name="connsiteY35" fmla="*/ 1963729 h 6467437"/>
                <a:gd name="connsiteX36" fmla="*/ 2521347 w 6161649"/>
                <a:gd name="connsiteY36" fmla="*/ 2148597 h 6467437"/>
                <a:gd name="connsiteX37" fmla="*/ 2478832 w 6161649"/>
                <a:gd name="connsiteY37" fmla="*/ 2298278 h 6467437"/>
                <a:gd name="connsiteX38" fmla="*/ 2478832 w 6161649"/>
                <a:gd name="connsiteY38" fmla="*/ 2454662 h 6467437"/>
                <a:gd name="connsiteX39" fmla="*/ 2557084 w 6161649"/>
                <a:gd name="connsiteY39" fmla="*/ 2639529 h 6467437"/>
                <a:gd name="connsiteX40" fmla="*/ 2122688 w 6161649"/>
                <a:gd name="connsiteY40" fmla="*/ 2319502 h 6467437"/>
                <a:gd name="connsiteX41" fmla="*/ 1773939 w 6161649"/>
                <a:gd name="connsiteY41" fmla="*/ 2027958 h 6467437"/>
                <a:gd name="connsiteX42" fmla="*/ 1467705 w 6161649"/>
                <a:gd name="connsiteY42" fmla="*/ 1757079 h 6467437"/>
                <a:gd name="connsiteX43" fmla="*/ 1332149 w 6161649"/>
                <a:gd name="connsiteY43" fmla="*/ 1458275 h 6467437"/>
                <a:gd name="connsiteX44" fmla="*/ 1168248 w 6161649"/>
                <a:gd name="connsiteY44" fmla="*/ 1081280 h 6467437"/>
                <a:gd name="connsiteX45" fmla="*/ 1253896 w 6161649"/>
                <a:gd name="connsiteY45" fmla="*/ 1351599 h 6467437"/>
                <a:gd name="connsiteX46" fmla="*/ 1324754 w 6161649"/>
                <a:gd name="connsiteY46" fmla="*/ 1593993 h 6467437"/>
                <a:gd name="connsiteX47" fmla="*/ 1417796 w 6161649"/>
                <a:gd name="connsiteY47" fmla="*/ 1835830 h 6467437"/>
                <a:gd name="connsiteX48" fmla="*/ 1182421 w 6161649"/>
                <a:gd name="connsiteY48" fmla="*/ 1735855 h 6467437"/>
                <a:gd name="connsiteX49" fmla="*/ 1118339 w 6161649"/>
                <a:gd name="connsiteY49" fmla="*/ 1700670 h 6467437"/>
                <a:gd name="connsiteX50" fmla="*/ 818882 w 6161649"/>
                <a:gd name="connsiteY50" fmla="*/ 1415829 h 6467437"/>
                <a:gd name="connsiteX51" fmla="*/ 1075823 w 6161649"/>
                <a:gd name="connsiteY51" fmla="*/ 1721893 h 6467437"/>
                <a:gd name="connsiteX52" fmla="*/ 1110946 w 6161649"/>
                <a:gd name="connsiteY52" fmla="*/ 1757079 h 6467437"/>
                <a:gd name="connsiteX53" fmla="*/ 1346321 w 6161649"/>
                <a:gd name="connsiteY53" fmla="*/ 1899500 h 6467437"/>
                <a:gd name="connsiteX54" fmla="*/ 1630988 w 6161649"/>
                <a:gd name="connsiteY54" fmla="*/ 2063144 h 6467437"/>
                <a:gd name="connsiteX55" fmla="*/ 2336497 w 6161649"/>
                <a:gd name="connsiteY55" fmla="*/ 2746204 h 6467437"/>
                <a:gd name="connsiteX56" fmla="*/ 2478832 w 6161649"/>
                <a:gd name="connsiteY56" fmla="*/ 2881364 h 6467437"/>
                <a:gd name="connsiteX57" fmla="*/ 2514568 w 6161649"/>
                <a:gd name="connsiteY57" fmla="*/ 2959556 h 6467437"/>
                <a:gd name="connsiteX58" fmla="*/ 2578651 w 6161649"/>
                <a:gd name="connsiteY58" fmla="*/ 3144982 h 6467437"/>
                <a:gd name="connsiteX59" fmla="*/ 1616817 w 6161649"/>
                <a:gd name="connsiteY59" fmla="*/ 2625566 h 6467437"/>
                <a:gd name="connsiteX60" fmla="*/ 1524392 w 6161649"/>
                <a:gd name="connsiteY60" fmla="*/ 2518890 h 6467437"/>
                <a:gd name="connsiteX61" fmla="*/ 1417796 w 6161649"/>
                <a:gd name="connsiteY61" fmla="*/ 2390432 h 6467437"/>
                <a:gd name="connsiteX62" fmla="*/ 1168249 w 6161649"/>
                <a:gd name="connsiteY62" fmla="*/ 2234048 h 6467437"/>
                <a:gd name="connsiteX63" fmla="*/ 847844 w 6161649"/>
                <a:gd name="connsiteY63" fmla="*/ 2141335 h 6467437"/>
                <a:gd name="connsiteX64" fmla="*/ 498478 w 6161649"/>
                <a:gd name="connsiteY64" fmla="*/ 2013437 h 6467437"/>
                <a:gd name="connsiteX65" fmla="*/ 292062 w 6161649"/>
                <a:gd name="connsiteY65" fmla="*/ 1914022 h 6467437"/>
                <a:gd name="connsiteX66" fmla="*/ 149729 w 6161649"/>
                <a:gd name="connsiteY66" fmla="*/ 1700670 h 6467437"/>
                <a:gd name="connsiteX67" fmla="*/ 0 w 6161649"/>
                <a:gd name="connsiteY67" fmla="*/ 1458275 h 6467437"/>
                <a:gd name="connsiteX68" fmla="*/ 121385 w 6161649"/>
                <a:gd name="connsiteY68" fmla="*/ 1678887 h 6467437"/>
                <a:gd name="connsiteX69" fmla="*/ 263719 w 6161649"/>
                <a:gd name="connsiteY69" fmla="*/ 1927984 h 6467437"/>
                <a:gd name="connsiteX70" fmla="*/ 569952 w 6161649"/>
                <a:gd name="connsiteY70" fmla="*/ 2091629 h 6467437"/>
                <a:gd name="connsiteX71" fmla="*/ 883581 w 6161649"/>
                <a:gd name="connsiteY71" fmla="*/ 2220087 h 6467437"/>
                <a:gd name="connsiteX72" fmla="*/ 1182421 w 6161649"/>
                <a:gd name="connsiteY72" fmla="*/ 2333464 h 6467437"/>
                <a:gd name="connsiteX73" fmla="*/ 1332149 w 6161649"/>
                <a:gd name="connsiteY73" fmla="*/ 2454662 h 6467437"/>
                <a:gd name="connsiteX74" fmla="*/ 918701 w 6161649"/>
                <a:gd name="connsiteY74" fmla="*/ 2411655 h 6467437"/>
                <a:gd name="connsiteX75" fmla="*/ 634034 w 6161649"/>
                <a:gd name="connsiteY75" fmla="*/ 2426177 h 6467437"/>
                <a:gd name="connsiteX76" fmla="*/ 954439 w 6161649"/>
                <a:gd name="connsiteY76" fmla="*/ 2440140 h 6467437"/>
                <a:gd name="connsiteX77" fmla="*/ 1218158 w 6161649"/>
                <a:gd name="connsiteY77" fmla="*/ 2475885 h 6467437"/>
                <a:gd name="connsiteX78" fmla="*/ 1310583 w 6161649"/>
                <a:gd name="connsiteY78" fmla="*/ 2525592 h 6467437"/>
                <a:gd name="connsiteX79" fmla="*/ 1488654 w 6161649"/>
                <a:gd name="connsiteY79" fmla="*/ 2654050 h 6467437"/>
                <a:gd name="connsiteX80" fmla="*/ 726459 w 6161649"/>
                <a:gd name="connsiteY80" fmla="*/ 2781949 h 6467437"/>
                <a:gd name="connsiteX81" fmla="*/ 512649 w 6161649"/>
                <a:gd name="connsiteY81" fmla="*/ 2810433 h 6467437"/>
                <a:gd name="connsiteX82" fmla="*/ 313629 w 6161649"/>
                <a:gd name="connsiteY82" fmla="*/ 2860140 h 6467437"/>
                <a:gd name="connsiteX83" fmla="*/ 0 w 6161649"/>
                <a:gd name="connsiteY83" fmla="*/ 2817693 h 6467437"/>
                <a:gd name="connsiteX84" fmla="*/ 356143 w 6161649"/>
                <a:gd name="connsiteY84" fmla="*/ 2881364 h 6467437"/>
                <a:gd name="connsiteX85" fmla="*/ 904530 w 6161649"/>
                <a:gd name="connsiteY85" fmla="*/ 2810433 h 6467437"/>
                <a:gd name="connsiteX86" fmla="*/ 1417796 w 6161649"/>
                <a:gd name="connsiteY86" fmla="*/ 2774689 h 6467437"/>
                <a:gd name="connsiteX87" fmla="*/ 1566908 w 6161649"/>
                <a:gd name="connsiteY87" fmla="*/ 2760725 h 6467437"/>
                <a:gd name="connsiteX88" fmla="*/ 1616816 w 6161649"/>
                <a:gd name="connsiteY88" fmla="*/ 2753465 h 6467437"/>
                <a:gd name="connsiteX89" fmla="*/ 2678469 w 6161649"/>
                <a:gd name="connsiteY89" fmla="*/ 3465009 h 6467437"/>
                <a:gd name="connsiteX90" fmla="*/ 2728378 w 6161649"/>
                <a:gd name="connsiteY90" fmla="*/ 3692324 h 6467437"/>
                <a:gd name="connsiteX91" fmla="*/ 2706812 w 6161649"/>
                <a:gd name="connsiteY91" fmla="*/ 4034133 h 6467437"/>
                <a:gd name="connsiteX92" fmla="*/ 2692640 w 6161649"/>
                <a:gd name="connsiteY92" fmla="*/ 4290490 h 6467437"/>
                <a:gd name="connsiteX93" fmla="*/ 2669842 w 6161649"/>
                <a:gd name="connsiteY93" fmla="*/ 4530091 h 6467437"/>
                <a:gd name="connsiteX94" fmla="*/ 2622147 w 6161649"/>
                <a:gd name="connsiteY94" fmla="*/ 6038151 h 6467437"/>
                <a:gd name="connsiteX95" fmla="*/ 2608148 w 6161649"/>
                <a:gd name="connsiteY95" fmla="*/ 6444862 h 6467437"/>
                <a:gd name="connsiteX96" fmla="*/ 3106270 w 6161649"/>
                <a:gd name="connsiteY96" fmla="*/ 6467437 h 6467437"/>
                <a:gd name="connsiteX97" fmla="*/ 3109957 w 6161649"/>
                <a:gd name="connsiteY97" fmla="*/ 6023387 h 6467437"/>
                <a:gd name="connsiteX98" fmla="*/ 3205290 w 6161649"/>
                <a:gd name="connsiteY98" fmla="*/ 4311713 h 6467437"/>
                <a:gd name="connsiteX99" fmla="*/ 3205290 w 6161649"/>
                <a:gd name="connsiteY99" fmla="*/ 4275969 h 6467437"/>
                <a:gd name="connsiteX100" fmla="*/ 3226855 w 6161649"/>
                <a:gd name="connsiteY100" fmla="*/ 3991127 h 6467437"/>
                <a:gd name="connsiteX101" fmla="*/ 3248421 w 6161649"/>
                <a:gd name="connsiteY101" fmla="*/ 3685621 h 6467437"/>
                <a:gd name="connsiteX102" fmla="*/ 3248421 w 6161649"/>
                <a:gd name="connsiteY102" fmla="*/ 3621392 h 6467437"/>
                <a:gd name="connsiteX103" fmla="*/ 3248421 w 6161649"/>
                <a:gd name="connsiteY103" fmla="*/ 3507456 h 6467437"/>
                <a:gd name="connsiteX104" fmla="*/ 3355018 w 6161649"/>
                <a:gd name="connsiteY104" fmla="*/ 3436525 h 6467437"/>
                <a:gd name="connsiteX105" fmla="*/ 4038961 w 6161649"/>
                <a:gd name="connsiteY105" fmla="*/ 3158945 h 6467437"/>
                <a:gd name="connsiteX106" fmla="*/ 4188689 w 6161649"/>
                <a:gd name="connsiteY106" fmla="*/ 3094716 h 6467437"/>
                <a:gd name="connsiteX107" fmla="*/ 4323629 w 6161649"/>
                <a:gd name="connsiteY107" fmla="*/ 3002562 h 6467437"/>
                <a:gd name="connsiteX108" fmla="*/ 4594742 w 6161649"/>
                <a:gd name="connsiteY108" fmla="*/ 2959555 h 6467437"/>
                <a:gd name="connsiteX109" fmla="*/ 4872632 w 6161649"/>
                <a:gd name="connsiteY109" fmla="*/ 2952854 h 6467437"/>
                <a:gd name="connsiteX110" fmla="*/ 5421020 w 6161649"/>
                <a:gd name="connsiteY110" fmla="*/ 2938332 h 6467437"/>
                <a:gd name="connsiteX111" fmla="*/ 5691516 w 6161649"/>
                <a:gd name="connsiteY111" fmla="*/ 2867401 h 6467437"/>
                <a:gd name="connsiteX112" fmla="*/ 5990972 w 6161649"/>
                <a:gd name="connsiteY112" fmla="*/ 2632268 h 6467437"/>
                <a:gd name="connsiteX113" fmla="*/ 6161649 w 6161649"/>
                <a:gd name="connsiteY113" fmla="*/ 2169820 h 6467437"/>
                <a:gd name="connsiteX114" fmla="*/ 6133305 w 6161649"/>
                <a:gd name="connsiteY114" fmla="*/ 2241310 h 6467437"/>
                <a:gd name="connsiteX115" fmla="*/ 6133305 w 6161649"/>
                <a:gd name="connsiteY115" fmla="*/ 2248012 h 6467437"/>
                <a:gd name="connsiteX116" fmla="*/ 6133305 w 6161649"/>
                <a:gd name="connsiteY116" fmla="*/ 2255272 h 6467437"/>
                <a:gd name="connsiteX117" fmla="*/ 6069225 w 6161649"/>
                <a:gd name="connsiteY117" fmla="*/ 2447400 h 6467437"/>
                <a:gd name="connsiteX118" fmla="*/ 5983578 w 6161649"/>
                <a:gd name="connsiteY118" fmla="*/ 2589821 h 6467437"/>
                <a:gd name="connsiteX119" fmla="*/ 5947840 w 6161649"/>
                <a:gd name="connsiteY119" fmla="*/ 2625566 h 6467437"/>
                <a:gd name="connsiteX120" fmla="*/ 5691515 w 6161649"/>
                <a:gd name="connsiteY120" fmla="*/ 2810433 h 6467437"/>
                <a:gd name="connsiteX121" fmla="*/ 5441968 w 6161649"/>
                <a:gd name="connsiteY121" fmla="*/ 2874104 h 6467437"/>
                <a:gd name="connsiteX122" fmla="*/ 5043310 w 6161649"/>
                <a:gd name="connsiteY122" fmla="*/ 2867402 h 6467437"/>
                <a:gd name="connsiteX123" fmla="*/ 4523266 w 6161649"/>
                <a:gd name="connsiteY123" fmla="*/ 2852880 h 6467437"/>
                <a:gd name="connsiteX124" fmla="*/ 4687167 w 6161649"/>
                <a:gd name="connsiteY124" fmla="*/ 2789210 h 6467437"/>
                <a:gd name="connsiteX125" fmla="*/ 4886805 w 6161649"/>
                <a:gd name="connsiteY125" fmla="*/ 2703758 h 6467437"/>
                <a:gd name="connsiteX126" fmla="*/ 5171473 w 6161649"/>
                <a:gd name="connsiteY126" fmla="*/ 2540113 h 6467437"/>
                <a:gd name="connsiteX127" fmla="*/ 5299635 w 6161649"/>
                <a:gd name="connsiteY127" fmla="*/ 2468624 h 6467437"/>
                <a:gd name="connsiteX128" fmla="*/ 5406848 w 6161649"/>
                <a:gd name="connsiteY128" fmla="*/ 2397693 h 6467437"/>
                <a:gd name="connsiteX129" fmla="*/ 5577525 w 6161649"/>
                <a:gd name="connsiteY129" fmla="*/ 2112852 h 6467437"/>
                <a:gd name="connsiteX130" fmla="*/ 5385282 w 6161649"/>
                <a:gd name="connsiteY130" fmla="*/ 2376470 h 6467437"/>
                <a:gd name="connsiteX131" fmla="*/ 5207210 w 6161649"/>
                <a:gd name="connsiteY131" fmla="*/ 2468624 h 6467437"/>
                <a:gd name="connsiteX132" fmla="*/ 5050703 w 6161649"/>
                <a:gd name="connsiteY132" fmla="*/ 2540113 h 6467437"/>
                <a:gd name="connsiteX133" fmla="*/ 4786986 w 6161649"/>
                <a:gd name="connsiteY133" fmla="*/ 2654050 h 6467437"/>
                <a:gd name="connsiteX134" fmla="*/ 4494923 w 6161649"/>
                <a:gd name="connsiteY134" fmla="*/ 2746204 h 6467437"/>
                <a:gd name="connsiteX135" fmla="*/ 4209638 w 6161649"/>
                <a:gd name="connsiteY135" fmla="*/ 2909848 h 6467437"/>
                <a:gd name="connsiteX136" fmla="*/ 4252770 w 6161649"/>
                <a:gd name="connsiteY136" fmla="*/ 2689237 h 6467437"/>
                <a:gd name="connsiteX137" fmla="*/ 4309457 w 6161649"/>
                <a:gd name="connsiteY137" fmla="*/ 2554077 h 6467437"/>
                <a:gd name="connsiteX138" fmla="*/ 4537439 w 6161649"/>
                <a:gd name="connsiteY138" fmla="*/ 2333464 h 6467437"/>
                <a:gd name="connsiteX139" fmla="*/ 4743853 w 6161649"/>
                <a:gd name="connsiteY139" fmla="*/ 2127373 h 6467437"/>
                <a:gd name="connsiteX140" fmla="*/ 4772814 w 6161649"/>
                <a:gd name="connsiteY140" fmla="*/ 1956469 h 6467437"/>
                <a:gd name="connsiteX141" fmla="*/ 4772814 w 6161649"/>
                <a:gd name="connsiteY141" fmla="*/ 1892798 h 6467437"/>
                <a:gd name="connsiteX142" fmla="*/ 4722904 w 6161649"/>
                <a:gd name="connsiteY142" fmla="*/ 1643701 h 6467437"/>
                <a:gd name="connsiteX143" fmla="*/ 4743853 w 6161649"/>
                <a:gd name="connsiteY143" fmla="*/ 1899500 h 6467437"/>
                <a:gd name="connsiteX144" fmla="*/ 4743853 w 6161649"/>
                <a:gd name="connsiteY144" fmla="*/ 1956468 h 6467437"/>
                <a:gd name="connsiteX145" fmla="*/ 4594741 w 6161649"/>
                <a:gd name="connsiteY145" fmla="*/ 2212825 h 6467437"/>
                <a:gd name="connsiteX146" fmla="*/ 4366760 w 6161649"/>
                <a:gd name="connsiteY146" fmla="*/ 2355246 h 6467437"/>
                <a:gd name="connsiteX147" fmla="*/ 4145558 w 6161649"/>
                <a:gd name="connsiteY147" fmla="*/ 2618305 h 6467437"/>
                <a:gd name="connsiteX148" fmla="*/ 4088870 w 6161649"/>
                <a:gd name="connsiteY148" fmla="*/ 2789210 h 6467437"/>
                <a:gd name="connsiteX149" fmla="*/ 4024789 w 6161649"/>
                <a:gd name="connsiteY149" fmla="*/ 2988040 h 6467437"/>
                <a:gd name="connsiteX150" fmla="*/ 3397533 w 6161649"/>
                <a:gd name="connsiteY150" fmla="*/ 3187429 h 6467437"/>
                <a:gd name="connsiteX151" fmla="*/ 3262593 w 6161649"/>
                <a:gd name="connsiteY151" fmla="*/ 3229876 h 6467437"/>
                <a:gd name="connsiteX152" fmla="*/ 3155380 w 6161649"/>
                <a:gd name="connsiteY152" fmla="*/ 3223173 h 6467437"/>
                <a:gd name="connsiteX153" fmla="*/ 3105471 w 6161649"/>
                <a:gd name="connsiteY153" fmla="*/ 3101977 h 6467437"/>
                <a:gd name="connsiteX154" fmla="*/ 3120260 w 6161649"/>
                <a:gd name="connsiteY154" fmla="*/ 2959555 h 6467437"/>
                <a:gd name="connsiteX155" fmla="*/ 3241027 w 6161649"/>
                <a:gd name="connsiteY155" fmla="*/ 2838917 h 6467437"/>
                <a:gd name="connsiteX156" fmla="*/ 3640302 w 6161649"/>
                <a:gd name="connsiteY156" fmla="*/ 2426177 h 6467437"/>
                <a:gd name="connsiteX157" fmla="*/ 3746898 w 6161649"/>
                <a:gd name="connsiteY157" fmla="*/ 2169820 h 6467437"/>
                <a:gd name="connsiteX158" fmla="*/ 4152952 w 6161649"/>
                <a:gd name="connsiteY158" fmla="*/ 1800085 h 6467437"/>
                <a:gd name="connsiteX159" fmla="*/ 4245376 w 6161649"/>
                <a:gd name="connsiteY159" fmla="*/ 1735855 h 6467437"/>
                <a:gd name="connsiteX160" fmla="*/ 4380932 w 6161649"/>
                <a:gd name="connsiteY160" fmla="*/ 1700670 h 6467437"/>
                <a:gd name="connsiteX161" fmla="*/ 4530660 w 6161649"/>
                <a:gd name="connsiteY161" fmla="*/ 1636440 h 6467437"/>
                <a:gd name="connsiteX162" fmla="*/ 4729683 w 6161649"/>
                <a:gd name="connsiteY162" fmla="*/ 1387344 h 6467437"/>
                <a:gd name="connsiteX163" fmla="*/ 4957662 w 6161649"/>
                <a:gd name="connsiteY163" fmla="*/ 981865 h 6467437"/>
                <a:gd name="connsiteX164" fmla="*/ 4637257 w 6161649"/>
                <a:gd name="connsiteY164" fmla="*/ 1465535 h 6467437"/>
                <a:gd name="connsiteX165" fmla="*/ 4323629 w 6161649"/>
                <a:gd name="connsiteY165" fmla="*/ 1643701 h 6467437"/>
                <a:gd name="connsiteX166" fmla="*/ 4131386 w 6161649"/>
                <a:gd name="connsiteY166" fmla="*/ 1714632 h 6467437"/>
                <a:gd name="connsiteX167" fmla="*/ 4131386 w 6161649"/>
                <a:gd name="connsiteY167" fmla="*/ 1721893 h 6467437"/>
                <a:gd name="connsiteX168" fmla="*/ 4067305 w 6161649"/>
                <a:gd name="connsiteY168" fmla="*/ 1764340 h 6467437"/>
                <a:gd name="connsiteX169" fmla="*/ 3782636 w 6161649"/>
                <a:gd name="connsiteY169" fmla="*/ 1977692 h 6467437"/>
                <a:gd name="connsiteX170" fmla="*/ 3839324 w 6161649"/>
                <a:gd name="connsiteY170" fmla="*/ 1693409 h 6467437"/>
                <a:gd name="connsiteX171" fmla="*/ 3782636 w 6161649"/>
                <a:gd name="connsiteY171" fmla="*/ 1351599 h 6467437"/>
                <a:gd name="connsiteX172" fmla="*/ 4088870 w 6161649"/>
                <a:gd name="connsiteY172" fmla="*/ 1024312 h 6467437"/>
                <a:gd name="connsiteX173" fmla="*/ 4323629 w 6161649"/>
                <a:gd name="connsiteY173" fmla="*/ 740028 h 6467437"/>
                <a:gd name="connsiteX174" fmla="*/ 4373538 w 6161649"/>
                <a:gd name="connsiteY174" fmla="*/ 590347 h 6467437"/>
                <a:gd name="connsiteX175" fmla="*/ 4323629 w 6161649"/>
                <a:gd name="connsiteY175" fmla="*/ 341251 h 6467437"/>
                <a:gd name="connsiteX176" fmla="*/ 4217033 w 6161649"/>
                <a:gd name="connsiteY176" fmla="*/ 0 h 646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6161649" h="6467437">
                  <a:moveTo>
                    <a:pt x="4217033" y="0"/>
                  </a:moveTo>
                  <a:cubicBezTo>
                    <a:pt x="4231205" y="78192"/>
                    <a:pt x="4252771" y="156384"/>
                    <a:pt x="4266943" y="234575"/>
                  </a:cubicBezTo>
                  <a:cubicBezTo>
                    <a:pt x="4302680" y="369735"/>
                    <a:pt x="4352589" y="498193"/>
                    <a:pt x="4309457" y="633353"/>
                  </a:cubicBezTo>
                  <a:lnTo>
                    <a:pt x="4309457" y="640055"/>
                  </a:lnTo>
                  <a:cubicBezTo>
                    <a:pt x="4266942" y="732768"/>
                    <a:pt x="4202861" y="803699"/>
                    <a:pt x="4131386" y="867928"/>
                  </a:cubicBezTo>
                  <a:cubicBezTo>
                    <a:pt x="3996446" y="989125"/>
                    <a:pt x="3860889" y="1109764"/>
                    <a:pt x="3732728" y="1230962"/>
                  </a:cubicBezTo>
                  <a:cubicBezTo>
                    <a:pt x="3718556" y="1202477"/>
                    <a:pt x="3696990" y="1166732"/>
                    <a:pt x="3682818" y="1130987"/>
                  </a:cubicBezTo>
                  <a:cubicBezTo>
                    <a:pt x="3575606" y="939418"/>
                    <a:pt x="3333452" y="839444"/>
                    <a:pt x="3241027" y="633353"/>
                  </a:cubicBezTo>
                  <a:cubicBezTo>
                    <a:pt x="3162774" y="469708"/>
                    <a:pt x="3084521" y="306065"/>
                    <a:pt x="3006269" y="135160"/>
                  </a:cubicBezTo>
                  <a:cubicBezTo>
                    <a:pt x="3077128" y="327288"/>
                    <a:pt x="3141208" y="519417"/>
                    <a:pt x="3226856" y="704284"/>
                  </a:cubicBezTo>
                  <a:cubicBezTo>
                    <a:pt x="3226855" y="711545"/>
                    <a:pt x="3234251" y="718805"/>
                    <a:pt x="3234250" y="725507"/>
                  </a:cubicBezTo>
                  <a:cubicBezTo>
                    <a:pt x="3333452" y="889152"/>
                    <a:pt x="3518918" y="995827"/>
                    <a:pt x="3597171" y="1166732"/>
                  </a:cubicBezTo>
                  <a:cubicBezTo>
                    <a:pt x="3632909" y="1266706"/>
                    <a:pt x="3668646" y="1358860"/>
                    <a:pt x="3704384" y="1451573"/>
                  </a:cubicBezTo>
                  <a:cubicBezTo>
                    <a:pt x="3761070" y="1700670"/>
                    <a:pt x="3668646" y="1963729"/>
                    <a:pt x="3547262" y="2184342"/>
                  </a:cubicBezTo>
                  <a:cubicBezTo>
                    <a:pt x="3426493" y="2411656"/>
                    <a:pt x="3226856" y="2582560"/>
                    <a:pt x="3013045" y="2738944"/>
                  </a:cubicBezTo>
                  <a:cubicBezTo>
                    <a:pt x="2991480" y="2753465"/>
                    <a:pt x="2970531" y="2767428"/>
                    <a:pt x="2942188" y="2760725"/>
                  </a:cubicBezTo>
                  <a:cubicBezTo>
                    <a:pt x="2913228" y="2753465"/>
                    <a:pt x="2892278" y="2732242"/>
                    <a:pt x="2878106" y="2717720"/>
                  </a:cubicBezTo>
                  <a:cubicBezTo>
                    <a:pt x="2735156" y="2561337"/>
                    <a:pt x="2606994" y="2418917"/>
                    <a:pt x="2656903" y="2212825"/>
                  </a:cubicBezTo>
                  <a:cubicBezTo>
                    <a:pt x="2671075" y="2120112"/>
                    <a:pt x="2714206" y="2041920"/>
                    <a:pt x="2756721" y="1963728"/>
                  </a:cubicBezTo>
                  <a:cubicBezTo>
                    <a:pt x="2799237" y="1892798"/>
                    <a:pt x="2813410" y="1828568"/>
                    <a:pt x="2813409" y="1743117"/>
                  </a:cubicBezTo>
                  <a:cubicBezTo>
                    <a:pt x="2813409" y="1657664"/>
                    <a:pt x="2778287" y="1565510"/>
                    <a:pt x="2749328" y="1480057"/>
                  </a:cubicBezTo>
                  <a:cubicBezTo>
                    <a:pt x="2735156" y="1444312"/>
                    <a:pt x="2720984" y="1408567"/>
                    <a:pt x="2714206" y="1373381"/>
                  </a:cubicBezTo>
                  <a:cubicBezTo>
                    <a:pt x="2714206" y="1401866"/>
                    <a:pt x="2720984" y="1437052"/>
                    <a:pt x="2728378" y="1472797"/>
                  </a:cubicBezTo>
                  <a:cubicBezTo>
                    <a:pt x="2742550" y="1558248"/>
                    <a:pt x="2770894" y="1650404"/>
                    <a:pt x="2756722" y="1743117"/>
                  </a:cubicBezTo>
                  <a:cubicBezTo>
                    <a:pt x="2749328" y="1764340"/>
                    <a:pt x="2742549" y="1778861"/>
                    <a:pt x="2742549" y="1800085"/>
                  </a:cubicBezTo>
                  <a:cubicBezTo>
                    <a:pt x="2720984" y="1871016"/>
                    <a:pt x="2671075" y="1935245"/>
                    <a:pt x="2628559" y="1999473"/>
                  </a:cubicBezTo>
                  <a:cubicBezTo>
                    <a:pt x="2621165" y="2013437"/>
                    <a:pt x="2536135" y="1864314"/>
                    <a:pt x="2536135" y="1849792"/>
                  </a:cubicBezTo>
                  <a:cubicBezTo>
                    <a:pt x="2507174" y="1800085"/>
                    <a:pt x="2486226" y="1729153"/>
                    <a:pt x="2450488" y="1686149"/>
                  </a:cubicBezTo>
                  <a:cubicBezTo>
                    <a:pt x="2358063" y="1565510"/>
                    <a:pt x="2200941" y="1522504"/>
                    <a:pt x="2066000" y="1458275"/>
                  </a:cubicBezTo>
                  <a:cubicBezTo>
                    <a:pt x="2001921" y="1423088"/>
                    <a:pt x="1952011" y="1387344"/>
                    <a:pt x="1908879" y="1330377"/>
                  </a:cubicBezTo>
                  <a:cubicBezTo>
                    <a:pt x="1852192" y="1259445"/>
                    <a:pt x="1809061" y="1166732"/>
                    <a:pt x="1759151" y="1088540"/>
                  </a:cubicBezTo>
                  <a:cubicBezTo>
                    <a:pt x="1688292" y="974604"/>
                    <a:pt x="1624210" y="860667"/>
                    <a:pt x="1552736" y="753992"/>
                  </a:cubicBezTo>
                  <a:cubicBezTo>
                    <a:pt x="1652554" y="939418"/>
                    <a:pt x="1752373" y="1130987"/>
                    <a:pt x="1844799" y="1323116"/>
                  </a:cubicBezTo>
                  <a:cubicBezTo>
                    <a:pt x="1894706" y="1401866"/>
                    <a:pt x="1944616" y="1458275"/>
                    <a:pt x="2030264" y="1508542"/>
                  </a:cubicBezTo>
                  <a:cubicBezTo>
                    <a:pt x="2165203" y="1579472"/>
                    <a:pt x="2329104" y="1636440"/>
                    <a:pt x="2400579" y="1778862"/>
                  </a:cubicBezTo>
                  <a:cubicBezTo>
                    <a:pt x="2436316" y="1835830"/>
                    <a:pt x="2443094" y="1899500"/>
                    <a:pt x="2464660" y="1963729"/>
                  </a:cubicBezTo>
                  <a:cubicBezTo>
                    <a:pt x="2486225" y="2027958"/>
                    <a:pt x="2528741" y="2084367"/>
                    <a:pt x="2521347" y="2148597"/>
                  </a:cubicBezTo>
                  <a:cubicBezTo>
                    <a:pt x="2521346" y="2198304"/>
                    <a:pt x="2486226" y="2248012"/>
                    <a:pt x="2478832" y="2298278"/>
                  </a:cubicBezTo>
                  <a:cubicBezTo>
                    <a:pt x="2464660" y="2347985"/>
                    <a:pt x="2464660" y="2404953"/>
                    <a:pt x="2478832" y="2454662"/>
                  </a:cubicBezTo>
                  <a:cubicBezTo>
                    <a:pt x="2493003" y="2518890"/>
                    <a:pt x="2514568" y="2582560"/>
                    <a:pt x="2557084" y="2639529"/>
                  </a:cubicBezTo>
                  <a:cubicBezTo>
                    <a:pt x="2407972" y="2532853"/>
                    <a:pt x="2265022" y="2433438"/>
                    <a:pt x="2122688" y="2319502"/>
                  </a:cubicBezTo>
                  <a:cubicBezTo>
                    <a:pt x="2008698" y="2220086"/>
                    <a:pt x="1887930" y="2120112"/>
                    <a:pt x="1773939" y="2027958"/>
                  </a:cubicBezTo>
                  <a:cubicBezTo>
                    <a:pt x="1666726" y="1942505"/>
                    <a:pt x="1531786" y="1864313"/>
                    <a:pt x="1467705" y="1757079"/>
                  </a:cubicBezTo>
                  <a:cubicBezTo>
                    <a:pt x="1403007" y="1664925"/>
                    <a:pt x="1374663" y="1550988"/>
                    <a:pt x="1332149" y="1458275"/>
                  </a:cubicBezTo>
                  <a:cubicBezTo>
                    <a:pt x="1274845" y="1330377"/>
                    <a:pt x="1224937" y="1202477"/>
                    <a:pt x="1168248" y="1081280"/>
                  </a:cubicBezTo>
                  <a:cubicBezTo>
                    <a:pt x="1196592" y="1173993"/>
                    <a:pt x="1224937" y="1266706"/>
                    <a:pt x="1253896" y="1351599"/>
                  </a:cubicBezTo>
                  <a:cubicBezTo>
                    <a:pt x="1274845" y="1430350"/>
                    <a:pt x="1303805" y="1515244"/>
                    <a:pt x="1324754" y="1593993"/>
                  </a:cubicBezTo>
                  <a:cubicBezTo>
                    <a:pt x="1353714" y="1678887"/>
                    <a:pt x="1367886" y="1764340"/>
                    <a:pt x="1417796" y="1835830"/>
                  </a:cubicBezTo>
                  <a:cubicBezTo>
                    <a:pt x="1338925" y="1800085"/>
                    <a:pt x="1260674" y="1764340"/>
                    <a:pt x="1182421" y="1735855"/>
                  </a:cubicBezTo>
                  <a:cubicBezTo>
                    <a:pt x="1175642" y="1729153"/>
                    <a:pt x="1139905" y="1707372"/>
                    <a:pt x="1118339" y="1700670"/>
                  </a:cubicBezTo>
                  <a:cubicBezTo>
                    <a:pt x="1011742" y="1607957"/>
                    <a:pt x="918701" y="1508541"/>
                    <a:pt x="818882" y="1415829"/>
                  </a:cubicBezTo>
                  <a:cubicBezTo>
                    <a:pt x="897752" y="1515244"/>
                    <a:pt x="976004" y="1629180"/>
                    <a:pt x="1075823" y="1721893"/>
                  </a:cubicBezTo>
                  <a:cubicBezTo>
                    <a:pt x="1089996" y="1735856"/>
                    <a:pt x="1104168" y="1743117"/>
                    <a:pt x="1110946" y="1757079"/>
                  </a:cubicBezTo>
                  <a:cubicBezTo>
                    <a:pt x="1189815" y="1807345"/>
                    <a:pt x="1268067" y="1849792"/>
                    <a:pt x="1346321" y="1899500"/>
                  </a:cubicBezTo>
                  <a:cubicBezTo>
                    <a:pt x="1446138" y="1956468"/>
                    <a:pt x="1538564" y="2006176"/>
                    <a:pt x="1630988" y="2063144"/>
                  </a:cubicBezTo>
                  <a:cubicBezTo>
                    <a:pt x="1858970" y="2298278"/>
                    <a:pt x="2094344" y="2525592"/>
                    <a:pt x="2336497" y="2746204"/>
                  </a:cubicBezTo>
                  <a:cubicBezTo>
                    <a:pt x="2386407" y="2781949"/>
                    <a:pt x="2450488" y="2831657"/>
                    <a:pt x="2478832" y="2881364"/>
                  </a:cubicBezTo>
                  <a:cubicBezTo>
                    <a:pt x="2493003" y="2902588"/>
                    <a:pt x="2500398" y="2931072"/>
                    <a:pt x="2514568" y="2959556"/>
                  </a:cubicBezTo>
                  <a:cubicBezTo>
                    <a:pt x="2536135" y="3016524"/>
                    <a:pt x="2557084" y="3080753"/>
                    <a:pt x="2578651" y="3144982"/>
                  </a:cubicBezTo>
                  <a:cubicBezTo>
                    <a:pt x="2250851" y="2974077"/>
                    <a:pt x="1923050" y="2810433"/>
                    <a:pt x="1616817" y="2625566"/>
                  </a:cubicBezTo>
                  <a:cubicBezTo>
                    <a:pt x="1574301" y="2597082"/>
                    <a:pt x="1545958" y="2554077"/>
                    <a:pt x="1524392" y="2518890"/>
                  </a:cubicBezTo>
                  <a:cubicBezTo>
                    <a:pt x="1488655" y="2468624"/>
                    <a:pt x="1452917" y="2426177"/>
                    <a:pt x="1417796" y="2390432"/>
                  </a:cubicBezTo>
                  <a:cubicBezTo>
                    <a:pt x="1346321" y="2326762"/>
                    <a:pt x="1260674" y="2269793"/>
                    <a:pt x="1168249" y="2234048"/>
                  </a:cubicBezTo>
                  <a:cubicBezTo>
                    <a:pt x="1068430" y="2198304"/>
                    <a:pt x="954439" y="2177080"/>
                    <a:pt x="847844" y="2141335"/>
                  </a:cubicBezTo>
                  <a:cubicBezTo>
                    <a:pt x="733853" y="2091629"/>
                    <a:pt x="612469" y="2056441"/>
                    <a:pt x="498478" y="2013437"/>
                  </a:cubicBezTo>
                  <a:cubicBezTo>
                    <a:pt x="420224" y="1992213"/>
                    <a:pt x="341971" y="1970990"/>
                    <a:pt x="292062" y="1914022"/>
                  </a:cubicBezTo>
                  <a:cubicBezTo>
                    <a:pt x="235375" y="1849792"/>
                    <a:pt x="192244" y="1771600"/>
                    <a:pt x="149729" y="1700670"/>
                  </a:cubicBezTo>
                  <a:cubicBezTo>
                    <a:pt x="99819" y="1621919"/>
                    <a:pt x="42516" y="1543727"/>
                    <a:pt x="0" y="1458275"/>
                  </a:cubicBezTo>
                  <a:cubicBezTo>
                    <a:pt x="35737" y="1537025"/>
                    <a:pt x="78253" y="1607957"/>
                    <a:pt x="121385" y="1678887"/>
                  </a:cubicBezTo>
                  <a:cubicBezTo>
                    <a:pt x="163901" y="1757079"/>
                    <a:pt x="199638" y="1849792"/>
                    <a:pt x="263719" y="1927984"/>
                  </a:cubicBezTo>
                  <a:cubicBezTo>
                    <a:pt x="341971" y="2020697"/>
                    <a:pt x="455962" y="2049182"/>
                    <a:pt x="569952" y="2091629"/>
                  </a:cubicBezTo>
                  <a:lnTo>
                    <a:pt x="883581" y="2220087"/>
                  </a:lnTo>
                  <a:cubicBezTo>
                    <a:pt x="982783" y="2255272"/>
                    <a:pt x="1082602" y="2298278"/>
                    <a:pt x="1182421" y="2333464"/>
                  </a:cubicBezTo>
                  <a:cubicBezTo>
                    <a:pt x="1246502" y="2361949"/>
                    <a:pt x="1289017" y="2404953"/>
                    <a:pt x="1332149" y="2454662"/>
                  </a:cubicBezTo>
                  <a:cubicBezTo>
                    <a:pt x="1196593" y="2390432"/>
                    <a:pt x="1061652" y="2404953"/>
                    <a:pt x="918701" y="2411655"/>
                  </a:cubicBezTo>
                  <a:cubicBezTo>
                    <a:pt x="826276" y="2411656"/>
                    <a:pt x="726458" y="2418917"/>
                    <a:pt x="634034" y="2426177"/>
                  </a:cubicBezTo>
                  <a:cubicBezTo>
                    <a:pt x="740631" y="2426177"/>
                    <a:pt x="847843" y="2433438"/>
                    <a:pt x="954439" y="2440140"/>
                  </a:cubicBezTo>
                  <a:cubicBezTo>
                    <a:pt x="1040086" y="2440140"/>
                    <a:pt x="1132511" y="2440141"/>
                    <a:pt x="1218158" y="2475885"/>
                  </a:cubicBezTo>
                  <a:cubicBezTo>
                    <a:pt x="1253896" y="2490406"/>
                    <a:pt x="1282240" y="2504369"/>
                    <a:pt x="1310583" y="2525592"/>
                  </a:cubicBezTo>
                  <a:cubicBezTo>
                    <a:pt x="1367886" y="2561337"/>
                    <a:pt x="1431968" y="2611045"/>
                    <a:pt x="1488654" y="2654050"/>
                  </a:cubicBezTo>
                  <a:cubicBezTo>
                    <a:pt x="1232330" y="2696497"/>
                    <a:pt x="982783" y="2746204"/>
                    <a:pt x="726459" y="2781949"/>
                  </a:cubicBezTo>
                  <a:cubicBezTo>
                    <a:pt x="655600" y="2789210"/>
                    <a:pt x="584124" y="2803172"/>
                    <a:pt x="512649" y="2810433"/>
                  </a:cubicBezTo>
                  <a:cubicBezTo>
                    <a:pt x="441790" y="2824396"/>
                    <a:pt x="384487" y="2846178"/>
                    <a:pt x="313629" y="2860140"/>
                  </a:cubicBezTo>
                  <a:cubicBezTo>
                    <a:pt x="206415" y="2888625"/>
                    <a:pt x="99819" y="2867402"/>
                    <a:pt x="0" y="2817693"/>
                  </a:cubicBezTo>
                  <a:cubicBezTo>
                    <a:pt x="113991" y="2888625"/>
                    <a:pt x="227981" y="2902588"/>
                    <a:pt x="356143" y="2881364"/>
                  </a:cubicBezTo>
                  <a:cubicBezTo>
                    <a:pt x="541608" y="2852880"/>
                    <a:pt x="719681" y="2831657"/>
                    <a:pt x="904530" y="2810433"/>
                  </a:cubicBezTo>
                  <a:cubicBezTo>
                    <a:pt x="1075823" y="2803172"/>
                    <a:pt x="1246502" y="2789210"/>
                    <a:pt x="1417796" y="2774689"/>
                  </a:cubicBezTo>
                  <a:cubicBezTo>
                    <a:pt x="1467706" y="2767427"/>
                    <a:pt x="1516998" y="2767428"/>
                    <a:pt x="1566908" y="2760725"/>
                  </a:cubicBezTo>
                  <a:cubicBezTo>
                    <a:pt x="1581079" y="2760725"/>
                    <a:pt x="1616817" y="2760725"/>
                    <a:pt x="1616816" y="2753465"/>
                  </a:cubicBezTo>
                  <a:cubicBezTo>
                    <a:pt x="1958788" y="3002561"/>
                    <a:pt x="2322326" y="3229875"/>
                    <a:pt x="2678469" y="3465009"/>
                  </a:cubicBezTo>
                  <a:cubicBezTo>
                    <a:pt x="2756722" y="3514717"/>
                    <a:pt x="2735156" y="3614132"/>
                    <a:pt x="2728378" y="3692324"/>
                  </a:cubicBezTo>
                  <a:cubicBezTo>
                    <a:pt x="2720984" y="3806260"/>
                    <a:pt x="2714206" y="3920197"/>
                    <a:pt x="2706812" y="4034133"/>
                  </a:cubicBezTo>
                  <a:cubicBezTo>
                    <a:pt x="2700036" y="4119585"/>
                    <a:pt x="2700035" y="4205038"/>
                    <a:pt x="2692640" y="4290490"/>
                  </a:cubicBezTo>
                  <a:cubicBezTo>
                    <a:pt x="2685247" y="4346899"/>
                    <a:pt x="2690792" y="4487645"/>
                    <a:pt x="2669842" y="4530091"/>
                  </a:cubicBezTo>
                  <a:cubicBezTo>
                    <a:pt x="2662958" y="4617206"/>
                    <a:pt x="2647178" y="5272907"/>
                    <a:pt x="2622147" y="6038151"/>
                  </a:cubicBezTo>
                  <a:lnTo>
                    <a:pt x="2608148" y="6444862"/>
                  </a:lnTo>
                  <a:lnTo>
                    <a:pt x="3106270" y="6467437"/>
                  </a:lnTo>
                  <a:lnTo>
                    <a:pt x="3109957" y="6023387"/>
                  </a:lnTo>
                  <a:cubicBezTo>
                    <a:pt x="3122051" y="5266765"/>
                    <a:pt x="3161340" y="4575938"/>
                    <a:pt x="3205290" y="4311713"/>
                  </a:cubicBezTo>
                  <a:lnTo>
                    <a:pt x="3205290" y="4275969"/>
                  </a:lnTo>
                  <a:cubicBezTo>
                    <a:pt x="3212684" y="4183255"/>
                    <a:pt x="3219462" y="4083840"/>
                    <a:pt x="3226855" y="3991127"/>
                  </a:cubicBezTo>
                  <a:cubicBezTo>
                    <a:pt x="3234250" y="3884452"/>
                    <a:pt x="3241027" y="3785037"/>
                    <a:pt x="3248421" y="3685621"/>
                  </a:cubicBezTo>
                  <a:lnTo>
                    <a:pt x="3248421" y="3621392"/>
                  </a:lnTo>
                  <a:cubicBezTo>
                    <a:pt x="3255199" y="3585648"/>
                    <a:pt x="3241028" y="3543200"/>
                    <a:pt x="3248421" y="3507456"/>
                  </a:cubicBezTo>
                  <a:cubicBezTo>
                    <a:pt x="3262593" y="3465008"/>
                    <a:pt x="3319280" y="3450487"/>
                    <a:pt x="3355018" y="3436525"/>
                  </a:cubicBezTo>
                  <a:lnTo>
                    <a:pt x="4038961" y="3158945"/>
                  </a:lnTo>
                  <a:lnTo>
                    <a:pt x="4188689" y="3094716"/>
                  </a:lnTo>
                  <a:cubicBezTo>
                    <a:pt x="4238599" y="3066232"/>
                    <a:pt x="4281114" y="3031045"/>
                    <a:pt x="4323629" y="3002562"/>
                  </a:cubicBezTo>
                  <a:cubicBezTo>
                    <a:pt x="4409276" y="2945593"/>
                    <a:pt x="4501701" y="2966817"/>
                    <a:pt x="4594742" y="2959555"/>
                  </a:cubicBezTo>
                  <a:cubicBezTo>
                    <a:pt x="4687167" y="2959555"/>
                    <a:pt x="4779591" y="2959556"/>
                    <a:pt x="4872632" y="2952854"/>
                  </a:cubicBezTo>
                  <a:cubicBezTo>
                    <a:pt x="5057482" y="2952853"/>
                    <a:pt x="5235553" y="2945593"/>
                    <a:pt x="5421020" y="2938332"/>
                  </a:cubicBezTo>
                  <a:cubicBezTo>
                    <a:pt x="5513443" y="2938332"/>
                    <a:pt x="5613262" y="2924370"/>
                    <a:pt x="5691516" y="2867401"/>
                  </a:cubicBezTo>
                  <a:cubicBezTo>
                    <a:pt x="5791334" y="2795912"/>
                    <a:pt x="5897931" y="2717721"/>
                    <a:pt x="5990972" y="2632268"/>
                  </a:cubicBezTo>
                  <a:cubicBezTo>
                    <a:pt x="6097567" y="2504369"/>
                    <a:pt x="6119134" y="2326762"/>
                    <a:pt x="6161649" y="2169820"/>
                  </a:cubicBezTo>
                  <a:cubicBezTo>
                    <a:pt x="6154255" y="2191602"/>
                    <a:pt x="6147477" y="2220086"/>
                    <a:pt x="6133305" y="2241310"/>
                  </a:cubicBezTo>
                  <a:lnTo>
                    <a:pt x="6133305" y="2248012"/>
                  </a:lnTo>
                  <a:lnTo>
                    <a:pt x="6133305" y="2255272"/>
                  </a:lnTo>
                  <a:cubicBezTo>
                    <a:pt x="6111739" y="2319501"/>
                    <a:pt x="6090174" y="2383730"/>
                    <a:pt x="6069225" y="2447400"/>
                  </a:cubicBezTo>
                  <a:cubicBezTo>
                    <a:pt x="6047659" y="2504369"/>
                    <a:pt x="6026093" y="2547375"/>
                    <a:pt x="5983578" y="2589821"/>
                  </a:cubicBezTo>
                  <a:cubicBezTo>
                    <a:pt x="5976183" y="2603784"/>
                    <a:pt x="5955234" y="2618305"/>
                    <a:pt x="5947840" y="2625566"/>
                  </a:cubicBezTo>
                  <a:cubicBezTo>
                    <a:pt x="5869588" y="2696497"/>
                    <a:pt x="5777162" y="2760725"/>
                    <a:pt x="5691515" y="2810433"/>
                  </a:cubicBezTo>
                  <a:cubicBezTo>
                    <a:pt x="5613262" y="2852881"/>
                    <a:pt x="5527615" y="2874104"/>
                    <a:pt x="5441968" y="2874104"/>
                  </a:cubicBezTo>
                  <a:cubicBezTo>
                    <a:pt x="5313807" y="2881364"/>
                    <a:pt x="5178866" y="2867402"/>
                    <a:pt x="5043310" y="2867402"/>
                  </a:cubicBezTo>
                  <a:cubicBezTo>
                    <a:pt x="4872632" y="2860140"/>
                    <a:pt x="4693945" y="2860140"/>
                    <a:pt x="4523266" y="2852880"/>
                  </a:cubicBezTo>
                  <a:cubicBezTo>
                    <a:pt x="4565782" y="2817693"/>
                    <a:pt x="4637258" y="2803172"/>
                    <a:pt x="4687167" y="2789210"/>
                  </a:cubicBezTo>
                  <a:cubicBezTo>
                    <a:pt x="4758642" y="2760725"/>
                    <a:pt x="4829500" y="2738944"/>
                    <a:pt x="4886805" y="2703758"/>
                  </a:cubicBezTo>
                  <a:cubicBezTo>
                    <a:pt x="4986006" y="2654050"/>
                    <a:pt x="5079047" y="2597082"/>
                    <a:pt x="5171473" y="2540113"/>
                  </a:cubicBezTo>
                  <a:cubicBezTo>
                    <a:pt x="5213988" y="2518890"/>
                    <a:pt x="5257119" y="2490406"/>
                    <a:pt x="5299635" y="2468624"/>
                  </a:cubicBezTo>
                  <a:cubicBezTo>
                    <a:pt x="5335372" y="2447400"/>
                    <a:pt x="5377888" y="2426177"/>
                    <a:pt x="5406848" y="2397693"/>
                  </a:cubicBezTo>
                  <a:cubicBezTo>
                    <a:pt x="5491878" y="2319502"/>
                    <a:pt x="5535010" y="2220086"/>
                    <a:pt x="5577525" y="2112852"/>
                  </a:cubicBezTo>
                  <a:cubicBezTo>
                    <a:pt x="5520839" y="2205565"/>
                    <a:pt x="5477706" y="2304980"/>
                    <a:pt x="5385282" y="2376470"/>
                  </a:cubicBezTo>
                  <a:cubicBezTo>
                    <a:pt x="5342766" y="2418917"/>
                    <a:pt x="5257119" y="2440140"/>
                    <a:pt x="5207210" y="2468624"/>
                  </a:cubicBezTo>
                  <a:cubicBezTo>
                    <a:pt x="5157300" y="2497109"/>
                    <a:pt x="5107391" y="2518890"/>
                    <a:pt x="5050703" y="2540113"/>
                  </a:cubicBezTo>
                  <a:cubicBezTo>
                    <a:pt x="4957662" y="2575300"/>
                    <a:pt x="4879409" y="2625567"/>
                    <a:pt x="4786986" y="2654050"/>
                  </a:cubicBezTo>
                  <a:cubicBezTo>
                    <a:pt x="4693945" y="2689237"/>
                    <a:pt x="4587348" y="2711018"/>
                    <a:pt x="4494923" y="2746204"/>
                  </a:cubicBezTo>
                  <a:cubicBezTo>
                    <a:pt x="4387710" y="2789210"/>
                    <a:pt x="4302680" y="2852880"/>
                    <a:pt x="4209638" y="2909848"/>
                  </a:cubicBezTo>
                  <a:cubicBezTo>
                    <a:pt x="4223810" y="2846178"/>
                    <a:pt x="4238599" y="2738944"/>
                    <a:pt x="4252770" y="2689237"/>
                  </a:cubicBezTo>
                  <a:cubicBezTo>
                    <a:pt x="4266942" y="2639529"/>
                    <a:pt x="4288509" y="2597082"/>
                    <a:pt x="4309457" y="2554077"/>
                  </a:cubicBezTo>
                  <a:cubicBezTo>
                    <a:pt x="4373539" y="2475885"/>
                    <a:pt x="4451792" y="2390432"/>
                    <a:pt x="4537439" y="2333464"/>
                  </a:cubicBezTo>
                  <a:cubicBezTo>
                    <a:pt x="4629863" y="2276496"/>
                    <a:pt x="4693945" y="2212825"/>
                    <a:pt x="4743853" y="2127373"/>
                  </a:cubicBezTo>
                  <a:cubicBezTo>
                    <a:pt x="4758642" y="2070405"/>
                    <a:pt x="4772814" y="2013437"/>
                    <a:pt x="4772814" y="1956469"/>
                  </a:cubicBezTo>
                  <a:lnTo>
                    <a:pt x="4772814" y="1892798"/>
                  </a:lnTo>
                  <a:cubicBezTo>
                    <a:pt x="4758642" y="1814047"/>
                    <a:pt x="4737076" y="1729153"/>
                    <a:pt x="4722904" y="1643701"/>
                  </a:cubicBezTo>
                  <a:cubicBezTo>
                    <a:pt x="4729683" y="1729153"/>
                    <a:pt x="4737076" y="1814047"/>
                    <a:pt x="4743853" y="1899500"/>
                  </a:cubicBezTo>
                  <a:lnTo>
                    <a:pt x="4743853" y="1956468"/>
                  </a:lnTo>
                  <a:cubicBezTo>
                    <a:pt x="4737076" y="2056441"/>
                    <a:pt x="4679773" y="2141336"/>
                    <a:pt x="4594741" y="2212825"/>
                  </a:cubicBezTo>
                  <a:cubicBezTo>
                    <a:pt x="4523267" y="2262533"/>
                    <a:pt x="4445013" y="2304980"/>
                    <a:pt x="4366760" y="2355246"/>
                  </a:cubicBezTo>
                  <a:cubicBezTo>
                    <a:pt x="4273719" y="2426177"/>
                    <a:pt x="4195468" y="2518890"/>
                    <a:pt x="4145558" y="2618305"/>
                  </a:cubicBezTo>
                  <a:cubicBezTo>
                    <a:pt x="4117214" y="2675273"/>
                    <a:pt x="4103043" y="2732241"/>
                    <a:pt x="4088870" y="2789210"/>
                  </a:cubicBezTo>
                  <a:cubicBezTo>
                    <a:pt x="4074699" y="2852880"/>
                    <a:pt x="4045739" y="2924370"/>
                    <a:pt x="4024789" y="2988040"/>
                  </a:cubicBezTo>
                  <a:lnTo>
                    <a:pt x="3397533" y="3187429"/>
                  </a:lnTo>
                  <a:cubicBezTo>
                    <a:pt x="3355018" y="3201391"/>
                    <a:pt x="3312502" y="3215914"/>
                    <a:pt x="3262593" y="3229876"/>
                  </a:cubicBezTo>
                  <a:cubicBezTo>
                    <a:pt x="3226856" y="3244397"/>
                    <a:pt x="3184340" y="3258359"/>
                    <a:pt x="3155380" y="3223173"/>
                  </a:cubicBezTo>
                  <a:cubicBezTo>
                    <a:pt x="3134430" y="3187429"/>
                    <a:pt x="3120259" y="3144982"/>
                    <a:pt x="3105471" y="3101977"/>
                  </a:cubicBezTo>
                  <a:cubicBezTo>
                    <a:pt x="3084521" y="3052268"/>
                    <a:pt x="3070350" y="3009822"/>
                    <a:pt x="3120260" y="2959555"/>
                  </a:cubicBezTo>
                  <a:cubicBezTo>
                    <a:pt x="3155381" y="2917108"/>
                    <a:pt x="3198513" y="2881364"/>
                    <a:pt x="3241027" y="2838917"/>
                  </a:cubicBezTo>
                  <a:cubicBezTo>
                    <a:pt x="3369190" y="2703758"/>
                    <a:pt x="3526312" y="2575300"/>
                    <a:pt x="3640302" y="2426177"/>
                  </a:cubicBezTo>
                  <a:cubicBezTo>
                    <a:pt x="3696990" y="2347985"/>
                    <a:pt x="3725333" y="2262533"/>
                    <a:pt x="3746898" y="2169820"/>
                  </a:cubicBezTo>
                  <a:cubicBezTo>
                    <a:pt x="3882455" y="2049181"/>
                    <a:pt x="4017395" y="1927984"/>
                    <a:pt x="4152952" y="1800085"/>
                  </a:cubicBezTo>
                  <a:cubicBezTo>
                    <a:pt x="4181296" y="1778862"/>
                    <a:pt x="4209638" y="1750377"/>
                    <a:pt x="4245376" y="1735855"/>
                  </a:cubicBezTo>
                  <a:cubicBezTo>
                    <a:pt x="4288509" y="1714632"/>
                    <a:pt x="4337801" y="1707372"/>
                    <a:pt x="4380932" y="1700670"/>
                  </a:cubicBezTo>
                  <a:cubicBezTo>
                    <a:pt x="4430842" y="1686148"/>
                    <a:pt x="4480751" y="1664925"/>
                    <a:pt x="4530660" y="1636440"/>
                  </a:cubicBezTo>
                  <a:cubicBezTo>
                    <a:pt x="4623085" y="1572212"/>
                    <a:pt x="4672995" y="1486759"/>
                    <a:pt x="4729683" y="1387344"/>
                  </a:cubicBezTo>
                  <a:cubicBezTo>
                    <a:pt x="4801157" y="1252185"/>
                    <a:pt x="4879410" y="1117025"/>
                    <a:pt x="4957662" y="981865"/>
                  </a:cubicBezTo>
                  <a:cubicBezTo>
                    <a:pt x="4851067" y="1145508"/>
                    <a:pt x="4751248" y="1309153"/>
                    <a:pt x="4637257" y="1465535"/>
                  </a:cubicBezTo>
                  <a:cubicBezTo>
                    <a:pt x="4565783" y="1572212"/>
                    <a:pt x="4451791" y="1621919"/>
                    <a:pt x="4323629" y="1643701"/>
                  </a:cubicBezTo>
                  <a:cubicBezTo>
                    <a:pt x="4259548" y="1657664"/>
                    <a:pt x="4181296" y="1678887"/>
                    <a:pt x="4131386" y="1714632"/>
                  </a:cubicBezTo>
                  <a:lnTo>
                    <a:pt x="4131386" y="1721893"/>
                  </a:lnTo>
                  <a:cubicBezTo>
                    <a:pt x="4110436" y="1729153"/>
                    <a:pt x="4081477" y="1750377"/>
                    <a:pt x="4067305" y="1764340"/>
                  </a:cubicBezTo>
                  <a:cubicBezTo>
                    <a:pt x="3981658" y="1828568"/>
                    <a:pt x="3875061" y="1956468"/>
                    <a:pt x="3782636" y="1977692"/>
                  </a:cubicBezTo>
                  <a:cubicBezTo>
                    <a:pt x="3796808" y="1885537"/>
                    <a:pt x="3839324" y="1792824"/>
                    <a:pt x="3839324" y="1693409"/>
                  </a:cubicBezTo>
                  <a:cubicBezTo>
                    <a:pt x="3846717" y="1572212"/>
                    <a:pt x="3832545" y="1458275"/>
                    <a:pt x="3782636" y="1351599"/>
                  </a:cubicBezTo>
                  <a:lnTo>
                    <a:pt x="4088870" y="1024312"/>
                  </a:lnTo>
                  <a:cubicBezTo>
                    <a:pt x="4174518" y="939418"/>
                    <a:pt x="4266943" y="846705"/>
                    <a:pt x="4323629" y="740028"/>
                  </a:cubicBezTo>
                  <a:cubicBezTo>
                    <a:pt x="4352589" y="690321"/>
                    <a:pt x="4366760" y="640055"/>
                    <a:pt x="4373538" y="590347"/>
                  </a:cubicBezTo>
                  <a:cubicBezTo>
                    <a:pt x="4380932" y="498193"/>
                    <a:pt x="4352589" y="426704"/>
                    <a:pt x="4323629" y="341251"/>
                  </a:cubicBezTo>
                  <a:cubicBezTo>
                    <a:pt x="4288508" y="227873"/>
                    <a:pt x="4252770" y="113937"/>
                    <a:pt x="4217033" y="0"/>
                  </a:cubicBezTo>
                  <a:close/>
                </a:path>
              </a:pathLst>
            </a:custGeom>
            <a:solidFill>
              <a:srgbClr val="F6F8F8"/>
            </a:solidFill>
            <a:ln w="9525">
              <a:solidFill>
                <a:schemeClr val="bg1">
                  <a:lumMod val="85000"/>
                </a:schemeClr>
              </a:solidFill>
              <a:round/>
              <a:headEnd/>
              <a:tailEnd/>
            </a:ln>
          </p:spPr>
          <p:txBody>
            <a:bodyPr wrap="square" lIns="91440" tIns="45720" rIns="91440" bIns="45720" anchor="ctr">
              <a:normAutofit/>
            </a:bodyPr>
            <a:lstStyle/>
            <a:p>
              <a:pPr algn="ctr"/>
              <a:endParaRPr dirty="0"/>
            </a:p>
          </p:txBody>
        </p:sp>
        <p:sp>
          <p:nvSpPr>
            <p:cNvPr id="7" name="íšḻïḋe">
              <a:extLst>
                <a:ext uri="{FF2B5EF4-FFF2-40B4-BE49-F238E27FC236}">
                  <a16:creationId xmlns:a16="http://schemas.microsoft.com/office/drawing/2014/main" id="{C3B18E22-165C-44F3-AD95-EE3BCE889053}"/>
                </a:ext>
              </a:extLst>
            </p:cNvPr>
            <p:cNvSpPr/>
            <p:nvPr/>
          </p:nvSpPr>
          <p:spPr bwMode="auto">
            <a:xfrm rot="190104">
              <a:off x="9874925" y="3555217"/>
              <a:ext cx="313020" cy="410840"/>
            </a:xfrm>
            <a:custGeom>
              <a:avLst/>
              <a:gdLst>
                <a:gd name="T0" fmla="*/ 5 w 54"/>
                <a:gd name="T1" fmla="*/ 33 h 71"/>
                <a:gd name="T2" fmla="*/ 14 w 54"/>
                <a:gd name="T3" fmla="*/ 71 h 71"/>
                <a:gd name="T4" fmla="*/ 48 w 54"/>
                <a:gd name="T5" fmla="*/ 48 h 71"/>
                <a:gd name="T6" fmla="*/ 43 w 54"/>
                <a:gd name="T7" fmla="*/ 0 h 71"/>
                <a:gd name="T8" fmla="*/ 5 w 54"/>
                <a:gd name="T9" fmla="*/ 33 h 71"/>
              </a:gdLst>
              <a:ahLst/>
              <a:cxnLst>
                <a:cxn ang="0">
                  <a:pos x="T0" y="T1"/>
                </a:cxn>
                <a:cxn ang="0">
                  <a:pos x="T2" y="T3"/>
                </a:cxn>
                <a:cxn ang="0">
                  <a:pos x="T4" y="T5"/>
                </a:cxn>
                <a:cxn ang="0">
                  <a:pos x="T6" y="T7"/>
                </a:cxn>
                <a:cxn ang="0">
                  <a:pos x="T8" y="T9"/>
                </a:cxn>
              </a:cxnLst>
              <a:rect l="0" t="0" r="r" b="b"/>
              <a:pathLst>
                <a:path w="54" h="71">
                  <a:moveTo>
                    <a:pt x="5" y="33"/>
                  </a:moveTo>
                  <a:cubicBezTo>
                    <a:pt x="0" y="46"/>
                    <a:pt x="4" y="60"/>
                    <a:pt x="14" y="71"/>
                  </a:cubicBezTo>
                  <a:cubicBezTo>
                    <a:pt x="29" y="69"/>
                    <a:pt x="43" y="61"/>
                    <a:pt x="48" y="48"/>
                  </a:cubicBezTo>
                  <a:cubicBezTo>
                    <a:pt x="54" y="35"/>
                    <a:pt x="53" y="10"/>
                    <a:pt x="43" y="0"/>
                  </a:cubicBezTo>
                  <a:cubicBezTo>
                    <a:pt x="27" y="1"/>
                    <a:pt x="10" y="19"/>
                    <a:pt x="5" y="33"/>
                  </a:cubicBezTo>
                  <a:close/>
                </a:path>
              </a:pathLst>
            </a:custGeom>
            <a:solidFill>
              <a:schemeClr val="accent1"/>
            </a:solidFill>
            <a:ln>
              <a:noFill/>
            </a:ln>
          </p:spPr>
          <p:txBody>
            <a:bodyPr wrap="square" lIns="91440" tIns="45720" rIns="91440" bIns="45720" anchor="ctr">
              <a:normAutofit/>
            </a:bodyPr>
            <a:lstStyle/>
            <a:p>
              <a:pPr algn="ctr"/>
              <a:endParaRPr/>
            </a:p>
          </p:txBody>
        </p:sp>
        <p:sp>
          <p:nvSpPr>
            <p:cNvPr id="8" name="íṩliďè">
              <a:extLst>
                <a:ext uri="{FF2B5EF4-FFF2-40B4-BE49-F238E27FC236}">
                  <a16:creationId xmlns:a16="http://schemas.microsoft.com/office/drawing/2014/main" id="{D2B7E7A1-9283-4918-B11A-63E0DB688844}"/>
                </a:ext>
              </a:extLst>
            </p:cNvPr>
            <p:cNvSpPr/>
            <p:nvPr/>
          </p:nvSpPr>
          <p:spPr bwMode="auto">
            <a:xfrm rot="190104">
              <a:off x="9615925" y="2708548"/>
              <a:ext cx="289342" cy="369468"/>
            </a:xfrm>
            <a:custGeom>
              <a:avLst/>
              <a:gdLst>
                <a:gd name="T0" fmla="*/ 6 w 55"/>
                <a:gd name="T1" fmla="*/ 48 h 70"/>
                <a:gd name="T2" fmla="*/ 41 w 55"/>
                <a:gd name="T3" fmla="*/ 70 h 70"/>
                <a:gd name="T4" fmla="*/ 49 w 55"/>
                <a:gd name="T5" fmla="*/ 32 h 70"/>
                <a:gd name="T6" fmla="*/ 10 w 55"/>
                <a:gd name="T7" fmla="*/ 0 h 70"/>
                <a:gd name="T8" fmla="*/ 6 w 55"/>
                <a:gd name="T9" fmla="*/ 48 h 70"/>
              </a:gdLst>
              <a:ahLst/>
              <a:cxnLst>
                <a:cxn ang="0">
                  <a:pos x="T0" y="T1"/>
                </a:cxn>
                <a:cxn ang="0">
                  <a:pos x="T2" y="T3"/>
                </a:cxn>
                <a:cxn ang="0">
                  <a:pos x="T4" y="T5"/>
                </a:cxn>
                <a:cxn ang="0">
                  <a:pos x="T6" y="T7"/>
                </a:cxn>
                <a:cxn ang="0">
                  <a:pos x="T8" y="T9"/>
                </a:cxn>
              </a:cxnLst>
              <a:rect l="0" t="0" r="r" b="b"/>
              <a:pathLst>
                <a:path w="55" h="70">
                  <a:moveTo>
                    <a:pt x="6" y="48"/>
                  </a:moveTo>
                  <a:cubicBezTo>
                    <a:pt x="12" y="61"/>
                    <a:pt x="25" y="69"/>
                    <a:pt x="41" y="70"/>
                  </a:cubicBezTo>
                  <a:cubicBezTo>
                    <a:pt x="51" y="60"/>
                    <a:pt x="55" y="45"/>
                    <a:pt x="49" y="32"/>
                  </a:cubicBezTo>
                  <a:cubicBezTo>
                    <a:pt x="43" y="19"/>
                    <a:pt x="25" y="1"/>
                    <a:pt x="10" y="0"/>
                  </a:cubicBezTo>
                  <a:cubicBezTo>
                    <a:pt x="0" y="11"/>
                    <a:pt x="1" y="35"/>
                    <a:pt x="6" y="48"/>
                  </a:cubicBezTo>
                  <a:close/>
                </a:path>
              </a:pathLst>
            </a:custGeom>
            <a:solidFill>
              <a:schemeClr val="accent1">
                <a:lumMod val="40000"/>
                <a:lumOff val="60000"/>
              </a:schemeClr>
            </a:solidFill>
            <a:ln>
              <a:noFill/>
            </a:ln>
          </p:spPr>
          <p:txBody>
            <a:bodyPr wrap="square" lIns="91440" tIns="45720" rIns="91440" bIns="45720" anchor="ctr">
              <a:normAutofit/>
            </a:bodyPr>
            <a:lstStyle/>
            <a:p>
              <a:pPr algn="ctr"/>
              <a:endParaRPr/>
            </a:p>
          </p:txBody>
        </p:sp>
        <p:sp>
          <p:nvSpPr>
            <p:cNvPr id="9" name="íṣḻide">
              <a:extLst>
                <a:ext uri="{FF2B5EF4-FFF2-40B4-BE49-F238E27FC236}">
                  <a16:creationId xmlns:a16="http://schemas.microsoft.com/office/drawing/2014/main" id="{9BE50EFC-2AFD-4FDE-B986-5AF9828D5C37}"/>
                </a:ext>
              </a:extLst>
            </p:cNvPr>
            <p:cNvSpPr/>
            <p:nvPr/>
          </p:nvSpPr>
          <p:spPr bwMode="auto">
            <a:xfrm rot="190104">
              <a:off x="7726658" y="2060779"/>
              <a:ext cx="251780" cy="370387"/>
            </a:xfrm>
            <a:custGeom>
              <a:avLst/>
              <a:gdLst>
                <a:gd name="T0" fmla="*/ 3 w 51"/>
                <a:gd name="T1" fmla="*/ 39 h 75"/>
                <a:gd name="T2" fmla="*/ 19 w 51"/>
                <a:gd name="T3" fmla="*/ 75 h 75"/>
                <a:gd name="T4" fmla="*/ 48 w 51"/>
                <a:gd name="T5" fmla="*/ 47 h 75"/>
                <a:gd name="T6" fmla="*/ 34 w 51"/>
                <a:gd name="T7" fmla="*/ 0 h 75"/>
                <a:gd name="T8" fmla="*/ 3 w 51"/>
                <a:gd name="T9" fmla="*/ 39 h 75"/>
              </a:gdLst>
              <a:ahLst/>
              <a:cxnLst>
                <a:cxn ang="0">
                  <a:pos x="T0" y="T1"/>
                </a:cxn>
                <a:cxn ang="0">
                  <a:pos x="T2" y="T3"/>
                </a:cxn>
                <a:cxn ang="0">
                  <a:pos x="T4" y="T5"/>
                </a:cxn>
                <a:cxn ang="0">
                  <a:pos x="T6" y="T7"/>
                </a:cxn>
                <a:cxn ang="0">
                  <a:pos x="T8" y="T9"/>
                </a:cxn>
              </a:cxnLst>
              <a:rect l="0" t="0" r="r" b="b"/>
              <a:pathLst>
                <a:path w="51" h="75">
                  <a:moveTo>
                    <a:pt x="3" y="39"/>
                  </a:moveTo>
                  <a:cubicBezTo>
                    <a:pt x="0" y="53"/>
                    <a:pt x="7" y="66"/>
                    <a:pt x="19" y="75"/>
                  </a:cubicBezTo>
                  <a:cubicBezTo>
                    <a:pt x="34" y="71"/>
                    <a:pt x="45" y="61"/>
                    <a:pt x="48" y="47"/>
                  </a:cubicBezTo>
                  <a:cubicBezTo>
                    <a:pt x="51" y="33"/>
                    <a:pt x="46" y="9"/>
                    <a:pt x="34" y="0"/>
                  </a:cubicBezTo>
                  <a:cubicBezTo>
                    <a:pt x="19" y="4"/>
                    <a:pt x="6" y="25"/>
                    <a:pt x="3" y="39"/>
                  </a:cubicBezTo>
                  <a:close/>
                </a:path>
              </a:pathLst>
            </a:custGeom>
            <a:solidFill>
              <a:schemeClr val="accent3">
                <a:lumMod val="40000"/>
                <a:lumOff val="60000"/>
              </a:schemeClr>
            </a:solidFill>
            <a:ln>
              <a:noFill/>
            </a:ln>
          </p:spPr>
          <p:txBody>
            <a:bodyPr wrap="square" lIns="91440" tIns="45720" rIns="91440" bIns="45720" anchor="ctr">
              <a:normAutofit/>
            </a:bodyPr>
            <a:lstStyle/>
            <a:p>
              <a:pPr algn="ctr"/>
              <a:endParaRPr/>
            </a:p>
          </p:txBody>
        </p:sp>
        <p:sp>
          <p:nvSpPr>
            <p:cNvPr id="10" name="í$ľídé">
              <a:extLst>
                <a:ext uri="{FF2B5EF4-FFF2-40B4-BE49-F238E27FC236}">
                  <a16:creationId xmlns:a16="http://schemas.microsoft.com/office/drawing/2014/main" id="{FCC99702-2F21-43E1-B659-F3E3F18DA3B4}"/>
                </a:ext>
              </a:extLst>
            </p:cNvPr>
            <p:cNvSpPr/>
            <p:nvPr/>
          </p:nvSpPr>
          <p:spPr bwMode="auto">
            <a:xfrm rot="190104">
              <a:off x="7649329" y="3527257"/>
              <a:ext cx="389115" cy="235133"/>
            </a:xfrm>
            <a:custGeom>
              <a:avLst/>
              <a:gdLst>
                <a:gd name="T0" fmla="*/ 50 w 79"/>
                <a:gd name="T1" fmla="*/ 45 h 48"/>
                <a:gd name="T2" fmla="*/ 79 w 79"/>
                <a:gd name="T3" fmla="*/ 17 h 48"/>
                <a:gd name="T4" fmla="*/ 39 w 79"/>
                <a:gd name="T5" fmla="*/ 3 h 48"/>
                <a:gd name="T6" fmla="*/ 0 w 79"/>
                <a:gd name="T7" fmla="*/ 34 h 48"/>
                <a:gd name="T8" fmla="*/ 50 w 79"/>
                <a:gd name="T9" fmla="*/ 45 h 48"/>
              </a:gdLst>
              <a:ahLst/>
              <a:cxnLst>
                <a:cxn ang="0">
                  <a:pos x="T0" y="T1"/>
                </a:cxn>
                <a:cxn ang="0">
                  <a:pos x="T2" y="T3"/>
                </a:cxn>
                <a:cxn ang="0">
                  <a:pos x="T4" y="T5"/>
                </a:cxn>
                <a:cxn ang="0">
                  <a:pos x="T6" y="T7"/>
                </a:cxn>
                <a:cxn ang="0">
                  <a:pos x="T8" y="T9"/>
                </a:cxn>
              </a:cxnLst>
              <a:rect l="0" t="0" r="r" b="b"/>
              <a:pathLst>
                <a:path w="79" h="48">
                  <a:moveTo>
                    <a:pt x="50" y="45"/>
                  </a:moveTo>
                  <a:cubicBezTo>
                    <a:pt x="65" y="42"/>
                    <a:pt x="75" y="31"/>
                    <a:pt x="79" y="17"/>
                  </a:cubicBezTo>
                  <a:cubicBezTo>
                    <a:pt x="69" y="6"/>
                    <a:pt x="54" y="0"/>
                    <a:pt x="39" y="3"/>
                  </a:cubicBezTo>
                  <a:cubicBezTo>
                    <a:pt x="25" y="6"/>
                    <a:pt x="3" y="20"/>
                    <a:pt x="0" y="34"/>
                  </a:cubicBezTo>
                  <a:cubicBezTo>
                    <a:pt x="10" y="45"/>
                    <a:pt x="35" y="48"/>
                    <a:pt x="50" y="45"/>
                  </a:cubicBezTo>
                  <a:close/>
                </a:path>
              </a:pathLst>
            </a:custGeom>
            <a:solidFill>
              <a:schemeClr val="accent3"/>
            </a:solidFill>
            <a:ln>
              <a:noFill/>
            </a:ln>
          </p:spPr>
          <p:txBody>
            <a:bodyPr wrap="square" lIns="91440" tIns="45720" rIns="91440" bIns="45720" anchor="ctr">
              <a:normAutofit fontScale="62500" lnSpcReduction="20000"/>
            </a:bodyPr>
            <a:lstStyle/>
            <a:p>
              <a:pPr algn="ctr"/>
              <a:endParaRPr/>
            </a:p>
          </p:txBody>
        </p:sp>
        <p:sp>
          <p:nvSpPr>
            <p:cNvPr id="11" name="iŝlïďé">
              <a:extLst>
                <a:ext uri="{FF2B5EF4-FFF2-40B4-BE49-F238E27FC236}">
                  <a16:creationId xmlns:a16="http://schemas.microsoft.com/office/drawing/2014/main" id="{DBB8FC88-C900-446B-96D9-40F02B25A650}"/>
                </a:ext>
              </a:extLst>
            </p:cNvPr>
            <p:cNvSpPr/>
            <p:nvPr/>
          </p:nvSpPr>
          <p:spPr bwMode="auto">
            <a:xfrm rot="190104">
              <a:off x="8176947" y="1778094"/>
              <a:ext cx="359983" cy="255942"/>
            </a:xfrm>
            <a:custGeom>
              <a:avLst/>
              <a:gdLst>
                <a:gd name="T0" fmla="*/ 31 w 73"/>
                <a:gd name="T1" fmla="*/ 46 h 52"/>
                <a:gd name="T2" fmla="*/ 73 w 73"/>
                <a:gd name="T3" fmla="*/ 41 h 52"/>
                <a:gd name="T4" fmla="*/ 51 w 73"/>
                <a:gd name="T5" fmla="*/ 8 h 52"/>
                <a:gd name="T6" fmla="*/ 0 w 73"/>
                <a:gd name="T7" fmla="*/ 8 h 52"/>
                <a:gd name="T8" fmla="*/ 31 w 73"/>
                <a:gd name="T9" fmla="*/ 46 h 52"/>
              </a:gdLst>
              <a:ahLst/>
              <a:cxnLst>
                <a:cxn ang="0">
                  <a:pos x="T0" y="T1"/>
                </a:cxn>
                <a:cxn ang="0">
                  <a:pos x="T2" y="T3"/>
                </a:cxn>
                <a:cxn ang="0">
                  <a:pos x="T4" y="T5"/>
                </a:cxn>
                <a:cxn ang="0">
                  <a:pos x="T6" y="T7"/>
                </a:cxn>
                <a:cxn ang="0">
                  <a:pos x="T8" y="T9"/>
                </a:cxn>
              </a:cxnLst>
              <a:rect l="0" t="0" r="r" b="b"/>
              <a:pathLst>
                <a:path w="73" h="52">
                  <a:moveTo>
                    <a:pt x="31" y="46"/>
                  </a:moveTo>
                  <a:cubicBezTo>
                    <a:pt x="45" y="52"/>
                    <a:pt x="61" y="50"/>
                    <a:pt x="73" y="41"/>
                  </a:cubicBezTo>
                  <a:cubicBezTo>
                    <a:pt x="73" y="27"/>
                    <a:pt x="65" y="14"/>
                    <a:pt x="51" y="8"/>
                  </a:cubicBezTo>
                  <a:cubicBezTo>
                    <a:pt x="38" y="2"/>
                    <a:pt x="12" y="0"/>
                    <a:pt x="0" y="8"/>
                  </a:cubicBezTo>
                  <a:cubicBezTo>
                    <a:pt x="0" y="23"/>
                    <a:pt x="18" y="40"/>
                    <a:pt x="31" y="46"/>
                  </a:cubicBezTo>
                  <a:close/>
                </a:path>
              </a:pathLst>
            </a:custGeom>
            <a:solidFill>
              <a:schemeClr val="accent3">
                <a:lumMod val="60000"/>
                <a:lumOff val="40000"/>
              </a:schemeClr>
            </a:solidFill>
            <a:ln>
              <a:noFill/>
            </a:ln>
          </p:spPr>
          <p:txBody>
            <a:bodyPr wrap="square" lIns="91440" tIns="45720" rIns="91440" bIns="45720" anchor="ctr">
              <a:normAutofit fontScale="70000" lnSpcReduction="20000"/>
            </a:bodyPr>
            <a:lstStyle/>
            <a:p>
              <a:pPr algn="ctr"/>
              <a:endParaRPr/>
            </a:p>
          </p:txBody>
        </p:sp>
        <p:sp>
          <p:nvSpPr>
            <p:cNvPr id="12" name="íŝlîḍê">
              <a:extLst>
                <a:ext uri="{FF2B5EF4-FFF2-40B4-BE49-F238E27FC236}">
                  <a16:creationId xmlns:a16="http://schemas.microsoft.com/office/drawing/2014/main" id="{4C35E2AE-96C0-4A0E-85E0-35FCCE439DEC}"/>
                </a:ext>
              </a:extLst>
            </p:cNvPr>
            <p:cNvSpPr/>
            <p:nvPr/>
          </p:nvSpPr>
          <p:spPr bwMode="auto">
            <a:xfrm rot="190104">
              <a:off x="10494545" y="3618969"/>
              <a:ext cx="270507" cy="349580"/>
            </a:xfrm>
            <a:custGeom>
              <a:avLst/>
              <a:gdLst>
                <a:gd name="T0" fmla="*/ 7 w 55"/>
                <a:gd name="T1" fmla="*/ 48 h 71"/>
                <a:gd name="T2" fmla="*/ 41 w 55"/>
                <a:gd name="T3" fmla="*/ 71 h 71"/>
                <a:gd name="T4" fmla="*/ 50 w 55"/>
                <a:gd name="T5" fmla="*/ 32 h 71"/>
                <a:gd name="T6" fmla="*/ 11 w 55"/>
                <a:gd name="T7" fmla="*/ 0 h 71"/>
                <a:gd name="T8" fmla="*/ 7 w 55"/>
                <a:gd name="T9" fmla="*/ 48 h 71"/>
              </a:gdLst>
              <a:ahLst/>
              <a:cxnLst>
                <a:cxn ang="0">
                  <a:pos x="T0" y="T1"/>
                </a:cxn>
                <a:cxn ang="0">
                  <a:pos x="T2" y="T3"/>
                </a:cxn>
                <a:cxn ang="0">
                  <a:pos x="T4" y="T5"/>
                </a:cxn>
                <a:cxn ang="0">
                  <a:pos x="T6" y="T7"/>
                </a:cxn>
                <a:cxn ang="0">
                  <a:pos x="T8" y="T9"/>
                </a:cxn>
              </a:cxnLst>
              <a:rect l="0" t="0" r="r" b="b"/>
              <a:pathLst>
                <a:path w="55" h="71">
                  <a:moveTo>
                    <a:pt x="7" y="48"/>
                  </a:moveTo>
                  <a:cubicBezTo>
                    <a:pt x="12" y="61"/>
                    <a:pt x="26" y="69"/>
                    <a:pt x="41" y="71"/>
                  </a:cubicBezTo>
                  <a:cubicBezTo>
                    <a:pt x="51" y="60"/>
                    <a:pt x="55" y="45"/>
                    <a:pt x="50" y="32"/>
                  </a:cubicBezTo>
                  <a:cubicBezTo>
                    <a:pt x="44" y="19"/>
                    <a:pt x="26" y="1"/>
                    <a:pt x="11" y="0"/>
                  </a:cubicBezTo>
                  <a:cubicBezTo>
                    <a:pt x="0" y="11"/>
                    <a:pt x="1" y="35"/>
                    <a:pt x="7" y="48"/>
                  </a:cubicBezTo>
                  <a:close/>
                </a:path>
              </a:pathLst>
            </a:custGeom>
            <a:solidFill>
              <a:schemeClr val="accent1">
                <a:lumMod val="20000"/>
                <a:lumOff val="80000"/>
              </a:schemeClr>
            </a:solidFill>
            <a:ln>
              <a:noFill/>
            </a:ln>
          </p:spPr>
          <p:txBody>
            <a:bodyPr wrap="square" lIns="91440" tIns="45720" rIns="91440" bIns="45720" anchor="ctr">
              <a:normAutofit lnSpcReduction="10000"/>
            </a:bodyPr>
            <a:lstStyle/>
            <a:p>
              <a:pPr algn="ctr"/>
              <a:endParaRPr/>
            </a:p>
          </p:txBody>
        </p:sp>
        <p:sp>
          <p:nvSpPr>
            <p:cNvPr id="13" name="ïṩľîḍé">
              <a:extLst>
                <a:ext uri="{FF2B5EF4-FFF2-40B4-BE49-F238E27FC236}">
                  <a16:creationId xmlns:a16="http://schemas.microsoft.com/office/drawing/2014/main" id="{D7A1B2D7-9A3A-46DD-AE6E-C67C47804F71}"/>
                </a:ext>
              </a:extLst>
            </p:cNvPr>
            <p:cNvSpPr/>
            <p:nvPr/>
          </p:nvSpPr>
          <p:spPr bwMode="auto">
            <a:xfrm rot="190104">
              <a:off x="7018886" y="3697274"/>
              <a:ext cx="320448" cy="314205"/>
            </a:xfrm>
            <a:custGeom>
              <a:avLst/>
              <a:gdLst>
                <a:gd name="T0" fmla="*/ 53 w 65"/>
                <a:gd name="T1" fmla="*/ 43 h 64"/>
                <a:gd name="T2" fmla="*/ 59 w 65"/>
                <a:gd name="T3" fmla="*/ 4 h 64"/>
                <a:gd name="T4" fmla="*/ 18 w 65"/>
                <a:gd name="T5" fmla="*/ 14 h 64"/>
                <a:gd name="T6" fmla="*/ 5 w 65"/>
                <a:gd name="T7" fmla="*/ 61 h 64"/>
                <a:gd name="T8" fmla="*/ 53 w 65"/>
                <a:gd name="T9" fmla="*/ 43 h 64"/>
              </a:gdLst>
              <a:ahLst/>
              <a:cxnLst>
                <a:cxn ang="0">
                  <a:pos x="T0" y="T1"/>
                </a:cxn>
                <a:cxn ang="0">
                  <a:pos x="T2" y="T3"/>
                </a:cxn>
                <a:cxn ang="0">
                  <a:pos x="T4" y="T5"/>
                </a:cxn>
                <a:cxn ang="0">
                  <a:pos x="T6" y="T7"/>
                </a:cxn>
                <a:cxn ang="0">
                  <a:pos x="T8" y="T9"/>
                </a:cxn>
              </a:cxnLst>
              <a:rect l="0" t="0" r="r" b="b"/>
              <a:pathLst>
                <a:path w="65" h="64">
                  <a:moveTo>
                    <a:pt x="53" y="43"/>
                  </a:moveTo>
                  <a:cubicBezTo>
                    <a:pt x="63" y="32"/>
                    <a:pt x="65" y="17"/>
                    <a:pt x="59" y="4"/>
                  </a:cubicBezTo>
                  <a:cubicBezTo>
                    <a:pt x="44" y="0"/>
                    <a:pt x="28" y="4"/>
                    <a:pt x="18" y="14"/>
                  </a:cubicBezTo>
                  <a:cubicBezTo>
                    <a:pt x="8" y="24"/>
                    <a:pt x="0" y="47"/>
                    <a:pt x="5" y="61"/>
                  </a:cubicBezTo>
                  <a:cubicBezTo>
                    <a:pt x="20" y="64"/>
                    <a:pt x="43" y="53"/>
                    <a:pt x="53" y="43"/>
                  </a:cubicBezTo>
                  <a:close/>
                </a:path>
              </a:pathLst>
            </a:custGeom>
            <a:solidFill>
              <a:schemeClr val="accent3">
                <a:lumMod val="60000"/>
                <a:lumOff val="40000"/>
              </a:schemeClr>
            </a:solidFill>
            <a:ln>
              <a:noFill/>
            </a:ln>
          </p:spPr>
          <p:txBody>
            <a:bodyPr wrap="square" lIns="91440" tIns="45720" rIns="91440" bIns="45720" anchor="ctr">
              <a:normAutofit fontScale="92500" lnSpcReduction="20000"/>
            </a:bodyPr>
            <a:lstStyle/>
            <a:p>
              <a:pPr algn="ctr"/>
              <a:endParaRPr/>
            </a:p>
          </p:txBody>
        </p:sp>
        <p:sp>
          <p:nvSpPr>
            <p:cNvPr id="14" name="ïşḻîḑè">
              <a:extLst>
                <a:ext uri="{FF2B5EF4-FFF2-40B4-BE49-F238E27FC236}">
                  <a16:creationId xmlns:a16="http://schemas.microsoft.com/office/drawing/2014/main" id="{7443A792-FEA7-4F86-9E2A-54DFF776C802}"/>
                </a:ext>
              </a:extLst>
            </p:cNvPr>
            <p:cNvSpPr/>
            <p:nvPr/>
          </p:nvSpPr>
          <p:spPr bwMode="auto">
            <a:xfrm>
              <a:off x="1257090" y="1746657"/>
              <a:ext cx="3312849" cy="4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p>
              <a:pPr>
                <a:lnSpc>
                  <a:spcPct val="120000"/>
                </a:lnSpc>
              </a:pPr>
              <a:r>
                <a:rPr lang="zh-CN" altLang="en-US" sz="1600" dirty="0"/>
                <a:t>将方法直接传递给函数</a:t>
              </a:r>
              <a:r>
                <a:rPr lang="en-US" altLang="zh-CN" sz="1600" baseline="30000" dirty="0"/>
                <a:t>[1]</a:t>
              </a:r>
            </a:p>
          </p:txBody>
        </p:sp>
        <p:sp>
          <p:nvSpPr>
            <p:cNvPr id="15" name="îşḻide">
              <a:extLst>
                <a:ext uri="{FF2B5EF4-FFF2-40B4-BE49-F238E27FC236}">
                  <a16:creationId xmlns:a16="http://schemas.microsoft.com/office/drawing/2014/main" id="{F3DB2FB8-AF28-451D-BB28-89215CFC56AA}"/>
                </a:ext>
              </a:extLst>
            </p:cNvPr>
            <p:cNvSpPr txBox="1"/>
            <p:nvPr/>
          </p:nvSpPr>
          <p:spPr bwMode="auto">
            <a:xfrm>
              <a:off x="1257090" y="1253610"/>
              <a:ext cx="3312849"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zh-CN" altLang="en-US" sz="2000" b="1" dirty="0"/>
                <a:t>含义</a:t>
              </a:r>
            </a:p>
          </p:txBody>
        </p:sp>
        <p:sp>
          <p:nvSpPr>
            <p:cNvPr id="16" name="ísḷíďé">
              <a:extLst>
                <a:ext uri="{FF2B5EF4-FFF2-40B4-BE49-F238E27FC236}">
                  <a16:creationId xmlns:a16="http://schemas.microsoft.com/office/drawing/2014/main" id="{4A51A9D3-76D8-4E71-B41B-0CA8B0A6A062}"/>
                </a:ext>
              </a:extLst>
            </p:cNvPr>
            <p:cNvSpPr/>
            <p:nvPr/>
          </p:nvSpPr>
          <p:spPr bwMode="auto">
            <a:xfrm>
              <a:off x="767408" y="1407140"/>
              <a:ext cx="461080" cy="339517"/>
            </a:xfrm>
            <a:custGeom>
              <a:avLst/>
              <a:gdLst>
                <a:gd name="T0" fmla="*/ 3344 w 5590"/>
                <a:gd name="T1" fmla="*/ 549 h 4122"/>
                <a:gd name="T2" fmla="*/ 2246 w 5590"/>
                <a:gd name="T3" fmla="*/ 549 h 4122"/>
                <a:gd name="T4" fmla="*/ 2795 w 5590"/>
                <a:gd name="T5" fmla="*/ 240 h 4122"/>
                <a:gd name="T6" fmla="*/ 2795 w 5590"/>
                <a:gd name="T7" fmla="*/ 859 h 4122"/>
                <a:gd name="T8" fmla="*/ 2795 w 5590"/>
                <a:gd name="T9" fmla="*/ 240 h 4122"/>
                <a:gd name="T10" fmla="*/ 5470 w 5590"/>
                <a:gd name="T11" fmla="*/ 4122 h 4122"/>
                <a:gd name="T12" fmla="*/ 0 w 5590"/>
                <a:gd name="T13" fmla="*/ 4002 h 4122"/>
                <a:gd name="T14" fmla="*/ 5470 w 5590"/>
                <a:gd name="T15" fmla="*/ 3882 h 4122"/>
                <a:gd name="T16" fmla="*/ 917 w 5590"/>
                <a:gd name="T17" fmla="*/ 1194 h 4122"/>
                <a:gd name="T18" fmla="*/ 1144 w 5590"/>
                <a:gd name="T19" fmla="*/ 1115 h 4122"/>
                <a:gd name="T20" fmla="*/ 4344 w 5590"/>
                <a:gd name="T21" fmla="*/ 1411 h 4122"/>
                <a:gd name="T22" fmla="*/ 4599 w 5590"/>
                <a:gd name="T23" fmla="*/ 1041 h 4122"/>
                <a:gd name="T24" fmla="*/ 4544 w 5590"/>
                <a:gd name="T25" fmla="*/ 1568 h 4122"/>
                <a:gd name="T26" fmla="*/ 4487 w 5590"/>
                <a:gd name="T27" fmla="*/ 1637 h 4122"/>
                <a:gd name="T28" fmla="*/ 4429 w 5590"/>
                <a:gd name="T29" fmla="*/ 1651 h 4122"/>
                <a:gd name="T30" fmla="*/ 1165 w 5590"/>
                <a:gd name="T31" fmla="*/ 1651 h 4122"/>
                <a:gd name="T32" fmla="*/ 1106 w 5590"/>
                <a:gd name="T33" fmla="*/ 1638 h 4122"/>
                <a:gd name="T34" fmla="*/ 1054 w 5590"/>
                <a:gd name="T35" fmla="*/ 1585 h 4122"/>
                <a:gd name="T36" fmla="*/ 917 w 5590"/>
                <a:gd name="T37" fmla="*/ 1194 h 4122"/>
                <a:gd name="T38" fmla="*/ 1539 w 5590"/>
                <a:gd name="T39" fmla="*/ 3355 h 4122"/>
                <a:gd name="T40" fmla="*/ 2675 w 5590"/>
                <a:gd name="T41" fmla="*/ 1947 h 4122"/>
                <a:gd name="T42" fmla="*/ 2915 w 5590"/>
                <a:gd name="T43" fmla="*/ 1947 h 4122"/>
                <a:gd name="T44" fmla="*/ 4051 w 5590"/>
                <a:gd name="T45" fmla="*/ 3355 h 4122"/>
                <a:gd name="T46" fmla="*/ 3301 w 5590"/>
                <a:gd name="T47" fmla="*/ 3198 h 4122"/>
                <a:gd name="T48" fmla="*/ 3301 w 5590"/>
                <a:gd name="T49" fmla="*/ 2958 h 4122"/>
                <a:gd name="T50" fmla="*/ 4104 w 5590"/>
                <a:gd name="T51" fmla="*/ 2960 h 4122"/>
                <a:gd name="T52" fmla="*/ 4187 w 5590"/>
                <a:gd name="T53" fmla="*/ 3019 h 4122"/>
                <a:gd name="T54" fmla="*/ 4332 w 5590"/>
                <a:gd name="T55" fmla="*/ 3433 h 4122"/>
                <a:gd name="T56" fmla="*/ 4338 w 5590"/>
                <a:gd name="T57" fmla="*/ 3497 h 4122"/>
                <a:gd name="T58" fmla="*/ 4279 w 5590"/>
                <a:gd name="T59" fmla="*/ 3580 h 4122"/>
                <a:gd name="T60" fmla="*/ 4217 w 5590"/>
                <a:gd name="T61" fmla="*/ 3595 h 4122"/>
                <a:gd name="T62" fmla="*/ 2793 w 5590"/>
                <a:gd name="T63" fmla="*/ 3595 h 4122"/>
                <a:gd name="T64" fmla="*/ 1370 w 5590"/>
                <a:gd name="T65" fmla="*/ 3595 h 4122"/>
                <a:gd name="T66" fmla="*/ 1250 w 5590"/>
                <a:gd name="T67" fmla="*/ 3475 h 4122"/>
                <a:gd name="T68" fmla="*/ 1393 w 5590"/>
                <a:gd name="T69" fmla="*/ 3041 h 4122"/>
                <a:gd name="T70" fmla="*/ 1438 w 5590"/>
                <a:gd name="T71" fmla="*/ 2980 h 4122"/>
                <a:gd name="T72" fmla="*/ 1510 w 5590"/>
                <a:gd name="T73" fmla="*/ 2958 h 4122"/>
                <a:gd name="T74" fmla="*/ 2409 w 5590"/>
                <a:gd name="T75" fmla="*/ 3078 h 4122"/>
                <a:gd name="T76" fmla="*/ 1593 w 5590"/>
                <a:gd name="T77" fmla="*/ 3198 h 4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90" h="4122">
                  <a:moveTo>
                    <a:pt x="2795" y="1099"/>
                  </a:moveTo>
                  <a:cubicBezTo>
                    <a:pt x="3098" y="1099"/>
                    <a:pt x="3344" y="852"/>
                    <a:pt x="3344" y="549"/>
                  </a:cubicBezTo>
                  <a:cubicBezTo>
                    <a:pt x="3344" y="246"/>
                    <a:pt x="3098" y="0"/>
                    <a:pt x="2795" y="0"/>
                  </a:cubicBezTo>
                  <a:cubicBezTo>
                    <a:pt x="2492" y="0"/>
                    <a:pt x="2246" y="246"/>
                    <a:pt x="2246" y="549"/>
                  </a:cubicBezTo>
                  <a:cubicBezTo>
                    <a:pt x="2246" y="852"/>
                    <a:pt x="2492" y="1099"/>
                    <a:pt x="2795" y="1099"/>
                  </a:cubicBezTo>
                  <a:close/>
                  <a:moveTo>
                    <a:pt x="2795" y="240"/>
                  </a:moveTo>
                  <a:cubicBezTo>
                    <a:pt x="2966" y="240"/>
                    <a:pt x="3104" y="379"/>
                    <a:pt x="3104" y="549"/>
                  </a:cubicBezTo>
                  <a:cubicBezTo>
                    <a:pt x="3104" y="720"/>
                    <a:pt x="2966" y="859"/>
                    <a:pt x="2795" y="859"/>
                  </a:cubicBezTo>
                  <a:cubicBezTo>
                    <a:pt x="2624" y="859"/>
                    <a:pt x="2486" y="720"/>
                    <a:pt x="2486" y="549"/>
                  </a:cubicBezTo>
                  <a:cubicBezTo>
                    <a:pt x="2486" y="379"/>
                    <a:pt x="2625" y="240"/>
                    <a:pt x="2795" y="240"/>
                  </a:cubicBezTo>
                  <a:close/>
                  <a:moveTo>
                    <a:pt x="5590" y="4002"/>
                  </a:moveTo>
                  <a:cubicBezTo>
                    <a:pt x="5590" y="4068"/>
                    <a:pt x="5536" y="4122"/>
                    <a:pt x="5470" y="4122"/>
                  </a:cubicBezTo>
                  <a:lnTo>
                    <a:pt x="120" y="4122"/>
                  </a:lnTo>
                  <a:cubicBezTo>
                    <a:pt x="54" y="4122"/>
                    <a:pt x="0" y="4068"/>
                    <a:pt x="0" y="4002"/>
                  </a:cubicBezTo>
                  <a:cubicBezTo>
                    <a:pt x="0" y="3936"/>
                    <a:pt x="54" y="3882"/>
                    <a:pt x="120" y="3882"/>
                  </a:cubicBezTo>
                  <a:lnTo>
                    <a:pt x="5470" y="3882"/>
                  </a:lnTo>
                  <a:cubicBezTo>
                    <a:pt x="5536" y="3882"/>
                    <a:pt x="5590" y="3936"/>
                    <a:pt x="5590" y="4002"/>
                  </a:cubicBezTo>
                  <a:close/>
                  <a:moveTo>
                    <a:pt x="917" y="1194"/>
                  </a:moveTo>
                  <a:cubicBezTo>
                    <a:pt x="896" y="1131"/>
                    <a:pt x="929" y="1063"/>
                    <a:pt x="992" y="1041"/>
                  </a:cubicBezTo>
                  <a:cubicBezTo>
                    <a:pt x="1054" y="1020"/>
                    <a:pt x="1123" y="1053"/>
                    <a:pt x="1144" y="1115"/>
                  </a:cubicBezTo>
                  <a:lnTo>
                    <a:pt x="1246" y="1411"/>
                  </a:lnTo>
                  <a:lnTo>
                    <a:pt x="4344" y="1411"/>
                  </a:lnTo>
                  <a:lnTo>
                    <a:pt x="4446" y="1115"/>
                  </a:lnTo>
                  <a:cubicBezTo>
                    <a:pt x="4468" y="1053"/>
                    <a:pt x="4536" y="1020"/>
                    <a:pt x="4599" y="1041"/>
                  </a:cubicBezTo>
                  <a:cubicBezTo>
                    <a:pt x="4661" y="1063"/>
                    <a:pt x="4694" y="1131"/>
                    <a:pt x="4673" y="1194"/>
                  </a:cubicBezTo>
                  <a:lnTo>
                    <a:pt x="4544" y="1568"/>
                  </a:lnTo>
                  <a:cubicBezTo>
                    <a:pt x="4542" y="1574"/>
                    <a:pt x="4539" y="1580"/>
                    <a:pt x="4536" y="1586"/>
                  </a:cubicBezTo>
                  <a:cubicBezTo>
                    <a:pt x="4525" y="1608"/>
                    <a:pt x="4508" y="1625"/>
                    <a:pt x="4487" y="1637"/>
                  </a:cubicBezTo>
                  <a:cubicBezTo>
                    <a:pt x="4480" y="1640"/>
                    <a:pt x="4473" y="1644"/>
                    <a:pt x="4465" y="1646"/>
                  </a:cubicBezTo>
                  <a:cubicBezTo>
                    <a:pt x="4454" y="1650"/>
                    <a:pt x="4442" y="1651"/>
                    <a:pt x="4429" y="1651"/>
                  </a:cubicBezTo>
                  <a:cubicBezTo>
                    <a:pt x="4428" y="1651"/>
                    <a:pt x="4427" y="1651"/>
                    <a:pt x="4426" y="1651"/>
                  </a:cubicBezTo>
                  <a:lnTo>
                    <a:pt x="1165" y="1651"/>
                  </a:lnTo>
                  <a:cubicBezTo>
                    <a:pt x="1150" y="1652"/>
                    <a:pt x="1136" y="1650"/>
                    <a:pt x="1123" y="1645"/>
                  </a:cubicBezTo>
                  <a:cubicBezTo>
                    <a:pt x="1117" y="1643"/>
                    <a:pt x="1112" y="1641"/>
                    <a:pt x="1106" y="1638"/>
                  </a:cubicBezTo>
                  <a:cubicBezTo>
                    <a:pt x="1106" y="1638"/>
                    <a:pt x="1106" y="1638"/>
                    <a:pt x="1106" y="1638"/>
                  </a:cubicBezTo>
                  <a:cubicBezTo>
                    <a:pt x="1084" y="1627"/>
                    <a:pt x="1065" y="1609"/>
                    <a:pt x="1054" y="1585"/>
                  </a:cubicBezTo>
                  <a:cubicBezTo>
                    <a:pt x="1051" y="1580"/>
                    <a:pt x="1048" y="1574"/>
                    <a:pt x="1047" y="1568"/>
                  </a:cubicBezTo>
                  <a:lnTo>
                    <a:pt x="917" y="1194"/>
                  </a:lnTo>
                  <a:close/>
                  <a:moveTo>
                    <a:pt x="1593" y="3198"/>
                  </a:moveTo>
                  <a:lnTo>
                    <a:pt x="1539" y="3355"/>
                  </a:lnTo>
                  <a:lnTo>
                    <a:pt x="2675" y="3355"/>
                  </a:lnTo>
                  <a:lnTo>
                    <a:pt x="2675" y="1947"/>
                  </a:lnTo>
                  <a:cubicBezTo>
                    <a:pt x="2675" y="1881"/>
                    <a:pt x="2729" y="1827"/>
                    <a:pt x="2795" y="1827"/>
                  </a:cubicBezTo>
                  <a:cubicBezTo>
                    <a:pt x="2861" y="1827"/>
                    <a:pt x="2915" y="1881"/>
                    <a:pt x="2915" y="1947"/>
                  </a:cubicBezTo>
                  <a:lnTo>
                    <a:pt x="2915" y="3355"/>
                  </a:lnTo>
                  <a:lnTo>
                    <a:pt x="4051" y="3355"/>
                  </a:lnTo>
                  <a:lnTo>
                    <a:pt x="3997" y="3198"/>
                  </a:lnTo>
                  <a:lnTo>
                    <a:pt x="3301" y="3198"/>
                  </a:lnTo>
                  <a:cubicBezTo>
                    <a:pt x="3235" y="3198"/>
                    <a:pt x="3181" y="3144"/>
                    <a:pt x="3181" y="3078"/>
                  </a:cubicBezTo>
                  <a:cubicBezTo>
                    <a:pt x="3181" y="3011"/>
                    <a:pt x="3235" y="2958"/>
                    <a:pt x="3301" y="2958"/>
                  </a:cubicBezTo>
                  <a:lnTo>
                    <a:pt x="4080" y="2958"/>
                  </a:lnTo>
                  <a:cubicBezTo>
                    <a:pt x="4088" y="2957"/>
                    <a:pt x="4096" y="2958"/>
                    <a:pt x="4104" y="2960"/>
                  </a:cubicBezTo>
                  <a:cubicBezTo>
                    <a:pt x="4122" y="2963"/>
                    <a:pt x="4138" y="2970"/>
                    <a:pt x="4151" y="2979"/>
                  </a:cubicBezTo>
                  <a:cubicBezTo>
                    <a:pt x="4166" y="2989"/>
                    <a:pt x="4178" y="3003"/>
                    <a:pt x="4187" y="3019"/>
                  </a:cubicBezTo>
                  <a:cubicBezTo>
                    <a:pt x="4191" y="3026"/>
                    <a:pt x="4194" y="3033"/>
                    <a:pt x="4197" y="3041"/>
                  </a:cubicBezTo>
                  <a:lnTo>
                    <a:pt x="4332" y="3433"/>
                  </a:lnTo>
                  <a:cubicBezTo>
                    <a:pt x="4335" y="3440"/>
                    <a:pt x="4337" y="3448"/>
                    <a:pt x="4338" y="3455"/>
                  </a:cubicBezTo>
                  <a:cubicBezTo>
                    <a:pt x="4340" y="3469"/>
                    <a:pt x="4340" y="3483"/>
                    <a:pt x="4338" y="3497"/>
                  </a:cubicBezTo>
                  <a:cubicBezTo>
                    <a:pt x="4335" y="3514"/>
                    <a:pt x="4327" y="3531"/>
                    <a:pt x="4317" y="3545"/>
                  </a:cubicBezTo>
                  <a:cubicBezTo>
                    <a:pt x="4307" y="3559"/>
                    <a:pt x="4294" y="3571"/>
                    <a:pt x="4279" y="3580"/>
                  </a:cubicBezTo>
                  <a:cubicBezTo>
                    <a:pt x="4267" y="3586"/>
                    <a:pt x="4253" y="3591"/>
                    <a:pt x="4239" y="3594"/>
                  </a:cubicBezTo>
                  <a:cubicBezTo>
                    <a:pt x="4232" y="3595"/>
                    <a:pt x="4224" y="3595"/>
                    <a:pt x="4217" y="3595"/>
                  </a:cubicBezTo>
                  <a:lnTo>
                    <a:pt x="2798" y="3595"/>
                  </a:lnTo>
                  <a:cubicBezTo>
                    <a:pt x="2796" y="3595"/>
                    <a:pt x="2794" y="3595"/>
                    <a:pt x="2793" y="3595"/>
                  </a:cubicBezTo>
                  <a:lnTo>
                    <a:pt x="1373" y="3595"/>
                  </a:lnTo>
                  <a:cubicBezTo>
                    <a:pt x="1372" y="3595"/>
                    <a:pt x="1371" y="3595"/>
                    <a:pt x="1370" y="3595"/>
                  </a:cubicBezTo>
                  <a:cubicBezTo>
                    <a:pt x="1365" y="3595"/>
                    <a:pt x="1359" y="3595"/>
                    <a:pt x="1354" y="3594"/>
                  </a:cubicBezTo>
                  <a:cubicBezTo>
                    <a:pt x="1295" y="3586"/>
                    <a:pt x="1250" y="3536"/>
                    <a:pt x="1250" y="3475"/>
                  </a:cubicBezTo>
                  <a:cubicBezTo>
                    <a:pt x="1250" y="3460"/>
                    <a:pt x="1253" y="3445"/>
                    <a:pt x="1258" y="3432"/>
                  </a:cubicBezTo>
                  <a:lnTo>
                    <a:pt x="1393" y="3041"/>
                  </a:lnTo>
                  <a:cubicBezTo>
                    <a:pt x="1396" y="3033"/>
                    <a:pt x="1399" y="3026"/>
                    <a:pt x="1403" y="3019"/>
                  </a:cubicBezTo>
                  <a:cubicBezTo>
                    <a:pt x="1412" y="3003"/>
                    <a:pt x="1424" y="2990"/>
                    <a:pt x="1438" y="2980"/>
                  </a:cubicBezTo>
                  <a:cubicBezTo>
                    <a:pt x="1452" y="2970"/>
                    <a:pt x="1468" y="2963"/>
                    <a:pt x="1486" y="2960"/>
                  </a:cubicBezTo>
                  <a:cubicBezTo>
                    <a:pt x="1494" y="2958"/>
                    <a:pt x="1502" y="2957"/>
                    <a:pt x="1510" y="2958"/>
                  </a:cubicBezTo>
                  <a:lnTo>
                    <a:pt x="2289" y="2958"/>
                  </a:lnTo>
                  <a:cubicBezTo>
                    <a:pt x="2355" y="2958"/>
                    <a:pt x="2409" y="3011"/>
                    <a:pt x="2409" y="3078"/>
                  </a:cubicBezTo>
                  <a:cubicBezTo>
                    <a:pt x="2409" y="3144"/>
                    <a:pt x="2355" y="3198"/>
                    <a:pt x="2289" y="3198"/>
                  </a:cubicBezTo>
                  <a:lnTo>
                    <a:pt x="1593" y="3198"/>
                  </a:lnTo>
                  <a:close/>
                </a:path>
              </a:pathLst>
            </a:custGeom>
            <a:solidFill>
              <a:schemeClr val="accent1"/>
            </a:solidFill>
            <a:ln>
              <a:noFill/>
            </a:ln>
          </p:spPr>
          <p:txBody>
            <a:bodyPr wrap="square" lIns="91440" tIns="45720" rIns="91440" bIns="45720" anchor="ctr">
              <a:normAutofit lnSpcReduction="10000"/>
            </a:bodyPr>
            <a:lstStyle/>
            <a:p>
              <a:pPr algn="ctr"/>
              <a:endParaRPr/>
            </a:p>
          </p:txBody>
        </p:sp>
        <p:cxnSp>
          <p:nvCxnSpPr>
            <p:cNvPr id="17" name="直接连接符 16">
              <a:extLst>
                <a:ext uri="{FF2B5EF4-FFF2-40B4-BE49-F238E27FC236}">
                  <a16:creationId xmlns:a16="http://schemas.microsoft.com/office/drawing/2014/main" id="{59345790-BBE3-4A22-ACA8-04BDFB20AE95}"/>
                </a:ext>
              </a:extLst>
            </p:cNvPr>
            <p:cNvCxnSpPr>
              <a:cxnSpLocks/>
            </p:cNvCxnSpPr>
            <p:nvPr/>
          </p:nvCxnSpPr>
          <p:spPr>
            <a:xfrm>
              <a:off x="767408" y="2609031"/>
              <a:ext cx="3672000"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8" name="ïṥľîḓe">
              <a:extLst>
                <a:ext uri="{FF2B5EF4-FFF2-40B4-BE49-F238E27FC236}">
                  <a16:creationId xmlns:a16="http://schemas.microsoft.com/office/drawing/2014/main" id="{FF9748AA-897E-42B1-AE71-A0F39948BC89}"/>
                </a:ext>
              </a:extLst>
            </p:cNvPr>
            <p:cNvSpPr txBox="1"/>
            <p:nvPr/>
          </p:nvSpPr>
          <p:spPr bwMode="auto">
            <a:xfrm>
              <a:off x="1257090" y="2694624"/>
              <a:ext cx="3312849"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zh-CN" altLang="en-US" sz="2000" b="1" dirty="0"/>
                <a:t>组成</a:t>
              </a:r>
            </a:p>
          </p:txBody>
        </p:sp>
        <p:sp>
          <p:nvSpPr>
            <p:cNvPr id="19" name="iŝlïdé">
              <a:extLst>
                <a:ext uri="{FF2B5EF4-FFF2-40B4-BE49-F238E27FC236}">
                  <a16:creationId xmlns:a16="http://schemas.microsoft.com/office/drawing/2014/main" id="{7939CE0A-DC45-47B6-95B5-76CC96BF74D9}"/>
                </a:ext>
              </a:extLst>
            </p:cNvPr>
            <p:cNvSpPr/>
            <p:nvPr/>
          </p:nvSpPr>
          <p:spPr bwMode="auto">
            <a:xfrm>
              <a:off x="767408" y="2860596"/>
              <a:ext cx="461080" cy="314632"/>
            </a:xfrm>
            <a:custGeom>
              <a:avLst/>
              <a:gdLst>
                <a:gd name="connsiteX0" fmla="*/ 20293 w 607639"/>
                <a:gd name="connsiteY0" fmla="*/ 364067 h 414642"/>
                <a:gd name="connsiteX1" fmla="*/ 20293 w 607639"/>
                <a:gd name="connsiteY1" fmla="*/ 384244 h 414642"/>
                <a:gd name="connsiteX2" fmla="*/ 30351 w 607639"/>
                <a:gd name="connsiteY2" fmla="*/ 394377 h 414642"/>
                <a:gd name="connsiteX3" fmla="*/ 577199 w 607639"/>
                <a:gd name="connsiteY3" fmla="*/ 394377 h 414642"/>
                <a:gd name="connsiteX4" fmla="*/ 587346 w 607639"/>
                <a:gd name="connsiteY4" fmla="*/ 384244 h 414642"/>
                <a:gd name="connsiteX5" fmla="*/ 587346 w 607639"/>
                <a:gd name="connsiteY5" fmla="*/ 364067 h 414642"/>
                <a:gd name="connsiteX6" fmla="*/ 556995 w 607639"/>
                <a:gd name="connsiteY6" fmla="*/ 364067 h 414642"/>
                <a:gd name="connsiteX7" fmla="*/ 394916 w 607639"/>
                <a:gd name="connsiteY7" fmla="*/ 364067 h 414642"/>
                <a:gd name="connsiteX8" fmla="*/ 394916 w 607639"/>
                <a:gd name="connsiteY8" fmla="*/ 374200 h 414642"/>
                <a:gd name="connsiteX9" fmla="*/ 384859 w 607639"/>
                <a:gd name="connsiteY9" fmla="*/ 384244 h 414642"/>
                <a:gd name="connsiteX10" fmla="*/ 222780 w 607639"/>
                <a:gd name="connsiteY10" fmla="*/ 384244 h 414642"/>
                <a:gd name="connsiteX11" fmla="*/ 212634 w 607639"/>
                <a:gd name="connsiteY11" fmla="*/ 374200 h 414642"/>
                <a:gd name="connsiteX12" fmla="*/ 212634 w 607639"/>
                <a:gd name="connsiteY12" fmla="*/ 364067 h 414642"/>
                <a:gd name="connsiteX13" fmla="*/ 50644 w 607639"/>
                <a:gd name="connsiteY13" fmla="*/ 364067 h 414642"/>
                <a:gd name="connsiteX14" fmla="*/ 141754 w 607639"/>
                <a:gd name="connsiteY14" fmla="*/ 232583 h 414642"/>
                <a:gd name="connsiteX15" fmla="*/ 161961 w 607639"/>
                <a:gd name="connsiteY15" fmla="*/ 232583 h 414642"/>
                <a:gd name="connsiteX16" fmla="*/ 172110 w 607639"/>
                <a:gd name="connsiteY16" fmla="*/ 242719 h 414642"/>
                <a:gd name="connsiteX17" fmla="*/ 161961 w 607639"/>
                <a:gd name="connsiteY17" fmla="*/ 252765 h 414642"/>
                <a:gd name="connsiteX18" fmla="*/ 141754 w 607639"/>
                <a:gd name="connsiteY18" fmla="*/ 252765 h 414642"/>
                <a:gd name="connsiteX19" fmla="*/ 131605 w 607639"/>
                <a:gd name="connsiteY19" fmla="*/ 242719 h 414642"/>
                <a:gd name="connsiteX20" fmla="*/ 141754 w 607639"/>
                <a:gd name="connsiteY20" fmla="*/ 232583 h 414642"/>
                <a:gd name="connsiteX21" fmla="*/ 141758 w 607639"/>
                <a:gd name="connsiteY21" fmla="*/ 192149 h 414642"/>
                <a:gd name="connsiteX22" fmla="*/ 182279 w 607639"/>
                <a:gd name="connsiteY22" fmla="*/ 192149 h 414642"/>
                <a:gd name="connsiteX23" fmla="*/ 192432 w 607639"/>
                <a:gd name="connsiteY23" fmla="*/ 202196 h 414642"/>
                <a:gd name="connsiteX24" fmla="*/ 182279 w 607639"/>
                <a:gd name="connsiteY24" fmla="*/ 212331 h 414642"/>
                <a:gd name="connsiteX25" fmla="*/ 141758 w 607639"/>
                <a:gd name="connsiteY25" fmla="*/ 212331 h 414642"/>
                <a:gd name="connsiteX26" fmla="*/ 131605 w 607639"/>
                <a:gd name="connsiteY26" fmla="*/ 202196 h 414642"/>
                <a:gd name="connsiteX27" fmla="*/ 141758 w 607639"/>
                <a:gd name="connsiteY27" fmla="*/ 192149 h 414642"/>
                <a:gd name="connsiteX28" fmla="*/ 141754 w 607639"/>
                <a:gd name="connsiteY28" fmla="*/ 151716 h 414642"/>
                <a:gd name="connsiteX29" fmla="*/ 161961 w 607639"/>
                <a:gd name="connsiteY29" fmla="*/ 151716 h 414642"/>
                <a:gd name="connsiteX30" fmla="*/ 172110 w 607639"/>
                <a:gd name="connsiteY30" fmla="*/ 161763 h 414642"/>
                <a:gd name="connsiteX31" fmla="*/ 161961 w 607639"/>
                <a:gd name="connsiteY31" fmla="*/ 171898 h 414642"/>
                <a:gd name="connsiteX32" fmla="*/ 141754 w 607639"/>
                <a:gd name="connsiteY32" fmla="*/ 171898 h 414642"/>
                <a:gd name="connsiteX33" fmla="*/ 131605 w 607639"/>
                <a:gd name="connsiteY33" fmla="*/ 161763 h 414642"/>
                <a:gd name="connsiteX34" fmla="*/ 141754 w 607639"/>
                <a:gd name="connsiteY34" fmla="*/ 151716 h 414642"/>
                <a:gd name="connsiteX35" fmla="*/ 141758 w 607639"/>
                <a:gd name="connsiteY35" fmla="*/ 111211 h 414642"/>
                <a:gd name="connsiteX36" fmla="*/ 182279 w 607639"/>
                <a:gd name="connsiteY36" fmla="*/ 111211 h 414642"/>
                <a:gd name="connsiteX37" fmla="*/ 192432 w 607639"/>
                <a:gd name="connsiteY37" fmla="*/ 121337 h 414642"/>
                <a:gd name="connsiteX38" fmla="*/ 182279 w 607639"/>
                <a:gd name="connsiteY38" fmla="*/ 131463 h 414642"/>
                <a:gd name="connsiteX39" fmla="*/ 141758 w 607639"/>
                <a:gd name="connsiteY39" fmla="*/ 131463 h 414642"/>
                <a:gd name="connsiteX40" fmla="*/ 131605 w 607639"/>
                <a:gd name="connsiteY40" fmla="*/ 121337 h 414642"/>
                <a:gd name="connsiteX41" fmla="*/ 141758 w 607639"/>
                <a:gd name="connsiteY41" fmla="*/ 111211 h 414642"/>
                <a:gd name="connsiteX42" fmla="*/ 425367 w 607639"/>
                <a:gd name="connsiteY42" fmla="*/ 101191 h 414642"/>
                <a:gd name="connsiteX43" fmla="*/ 496228 w 607639"/>
                <a:gd name="connsiteY43" fmla="*/ 101191 h 414642"/>
                <a:gd name="connsiteX44" fmla="*/ 506377 w 607639"/>
                <a:gd name="connsiteY44" fmla="*/ 111231 h 414642"/>
                <a:gd name="connsiteX45" fmla="*/ 506377 w 607639"/>
                <a:gd name="connsiteY45" fmla="*/ 182042 h 414642"/>
                <a:gd name="connsiteX46" fmla="*/ 496228 w 607639"/>
                <a:gd name="connsiteY46" fmla="*/ 192171 h 414642"/>
                <a:gd name="connsiteX47" fmla="*/ 486080 w 607639"/>
                <a:gd name="connsiteY47" fmla="*/ 182042 h 414642"/>
                <a:gd name="connsiteX48" fmla="*/ 486080 w 607639"/>
                <a:gd name="connsiteY48" fmla="*/ 135575 h 414642"/>
                <a:gd name="connsiteX49" fmla="*/ 402043 w 607639"/>
                <a:gd name="connsiteY49" fmla="*/ 219447 h 414642"/>
                <a:gd name="connsiteX50" fmla="*/ 394921 w 607639"/>
                <a:gd name="connsiteY50" fmla="*/ 222468 h 414642"/>
                <a:gd name="connsiteX51" fmla="*/ 387889 w 607639"/>
                <a:gd name="connsiteY51" fmla="*/ 219447 h 414642"/>
                <a:gd name="connsiteX52" fmla="*/ 344268 w 607639"/>
                <a:gd name="connsiteY52" fmla="*/ 176001 h 414642"/>
                <a:gd name="connsiteX53" fmla="*/ 270380 w 607639"/>
                <a:gd name="connsiteY53" fmla="*/ 249744 h 414642"/>
                <a:gd name="connsiteX54" fmla="*/ 263258 w 607639"/>
                <a:gd name="connsiteY54" fmla="*/ 252765 h 414642"/>
                <a:gd name="connsiteX55" fmla="*/ 256225 w 607639"/>
                <a:gd name="connsiteY55" fmla="*/ 249744 h 414642"/>
                <a:gd name="connsiteX56" fmla="*/ 256225 w 607639"/>
                <a:gd name="connsiteY56" fmla="*/ 235617 h 414642"/>
                <a:gd name="connsiteX57" fmla="*/ 337235 w 607639"/>
                <a:gd name="connsiteY57" fmla="*/ 154766 h 414642"/>
                <a:gd name="connsiteX58" fmla="*/ 338837 w 607639"/>
                <a:gd name="connsiteY58" fmla="*/ 153433 h 414642"/>
                <a:gd name="connsiteX59" fmla="*/ 340618 w 607639"/>
                <a:gd name="connsiteY59" fmla="*/ 152456 h 414642"/>
                <a:gd name="connsiteX60" fmla="*/ 341508 w 607639"/>
                <a:gd name="connsiteY60" fmla="*/ 152101 h 414642"/>
                <a:gd name="connsiteX61" fmla="*/ 343378 w 607639"/>
                <a:gd name="connsiteY61" fmla="*/ 151745 h 414642"/>
                <a:gd name="connsiteX62" fmla="*/ 344268 w 607639"/>
                <a:gd name="connsiteY62" fmla="*/ 151745 h 414642"/>
                <a:gd name="connsiteX63" fmla="*/ 346226 w 607639"/>
                <a:gd name="connsiteY63" fmla="*/ 151923 h 414642"/>
                <a:gd name="connsiteX64" fmla="*/ 351390 w 607639"/>
                <a:gd name="connsiteY64" fmla="*/ 154766 h 414642"/>
                <a:gd name="connsiteX65" fmla="*/ 394921 w 607639"/>
                <a:gd name="connsiteY65" fmla="*/ 198213 h 414642"/>
                <a:gd name="connsiteX66" fmla="*/ 471925 w 607639"/>
                <a:gd name="connsiteY66" fmla="*/ 121359 h 414642"/>
                <a:gd name="connsiteX67" fmla="*/ 425367 w 607639"/>
                <a:gd name="connsiteY67" fmla="*/ 121359 h 414642"/>
                <a:gd name="connsiteX68" fmla="*/ 415218 w 607639"/>
                <a:gd name="connsiteY68" fmla="*/ 111231 h 414642"/>
                <a:gd name="connsiteX69" fmla="*/ 425367 w 607639"/>
                <a:gd name="connsiteY69" fmla="*/ 101191 h 414642"/>
                <a:gd name="connsiteX70" fmla="*/ 101297 w 607639"/>
                <a:gd name="connsiteY70" fmla="*/ 91029 h 414642"/>
                <a:gd name="connsiteX71" fmla="*/ 111423 w 607639"/>
                <a:gd name="connsiteY71" fmla="*/ 101159 h 414642"/>
                <a:gd name="connsiteX72" fmla="*/ 111423 w 607639"/>
                <a:gd name="connsiteY72" fmla="*/ 262887 h 414642"/>
                <a:gd name="connsiteX73" fmla="*/ 101297 w 607639"/>
                <a:gd name="connsiteY73" fmla="*/ 273017 h 414642"/>
                <a:gd name="connsiteX74" fmla="*/ 91171 w 607639"/>
                <a:gd name="connsiteY74" fmla="*/ 262887 h 414642"/>
                <a:gd name="connsiteX75" fmla="*/ 91171 w 607639"/>
                <a:gd name="connsiteY75" fmla="*/ 101159 h 414642"/>
                <a:gd name="connsiteX76" fmla="*/ 101297 w 607639"/>
                <a:gd name="connsiteY76" fmla="*/ 91029 h 414642"/>
                <a:gd name="connsiteX77" fmla="*/ 70848 w 607639"/>
                <a:gd name="connsiteY77" fmla="*/ 20177 h 414642"/>
                <a:gd name="connsiteX78" fmla="*/ 60791 w 607639"/>
                <a:gd name="connsiteY78" fmla="*/ 30309 h 414642"/>
                <a:gd name="connsiteX79" fmla="*/ 60791 w 607639"/>
                <a:gd name="connsiteY79" fmla="*/ 343802 h 414642"/>
                <a:gd name="connsiteX80" fmla="*/ 222780 w 607639"/>
                <a:gd name="connsiteY80" fmla="*/ 343802 h 414642"/>
                <a:gd name="connsiteX81" fmla="*/ 232927 w 607639"/>
                <a:gd name="connsiteY81" fmla="*/ 353935 h 414642"/>
                <a:gd name="connsiteX82" fmla="*/ 232927 w 607639"/>
                <a:gd name="connsiteY82" fmla="*/ 364067 h 414642"/>
                <a:gd name="connsiteX83" fmla="*/ 374712 w 607639"/>
                <a:gd name="connsiteY83" fmla="*/ 364067 h 414642"/>
                <a:gd name="connsiteX84" fmla="*/ 374712 w 607639"/>
                <a:gd name="connsiteY84" fmla="*/ 353935 h 414642"/>
                <a:gd name="connsiteX85" fmla="*/ 384859 w 607639"/>
                <a:gd name="connsiteY85" fmla="*/ 343802 h 414642"/>
                <a:gd name="connsiteX86" fmla="*/ 546848 w 607639"/>
                <a:gd name="connsiteY86" fmla="*/ 343802 h 414642"/>
                <a:gd name="connsiteX87" fmla="*/ 546848 w 607639"/>
                <a:gd name="connsiteY87" fmla="*/ 30309 h 414642"/>
                <a:gd name="connsiteX88" fmla="*/ 536702 w 607639"/>
                <a:gd name="connsiteY88" fmla="*/ 20177 h 414642"/>
                <a:gd name="connsiteX89" fmla="*/ 70848 w 607639"/>
                <a:gd name="connsiteY89" fmla="*/ 0 h 414642"/>
                <a:gd name="connsiteX90" fmla="*/ 536702 w 607639"/>
                <a:gd name="connsiteY90" fmla="*/ 0 h 414642"/>
                <a:gd name="connsiteX91" fmla="*/ 567142 w 607639"/>
                <a:gd name="connsiteY91" fmla="*/ 30309 h 414642"/>
                <a:gd name="connsiteX92" fmla="*/ 567142 w 607639"/>
                <a:gd name="connsiteY92" fmla="*/ 343802 h 414642"/>
                <a:gd name="connsiteX93" fmla="*/ 597492 w 607639"/>
                <a:gd name="connsiteY93" fmla="*/ 343802 h 414642"/>
                <a:gd name="connsiteX94" fmla="*/ 607639 w 607639"/>
                <a:gd name="connsiteY94" fmla="*/ 353935 h 414642"/>
                <a:gd name="connsiteX95" fmla="*/ 607639 w 607639"/>
                <a:gd name="connsiteY95" fmla="*/ 384244 h 414642"/>
                <a:gd name="connsiteX96" fmla="*/ 577199 w 607639"/>
                <a:gd name="connsiteY96" fmla="*/ 414642 h 414642"/>
                <a:gd name="connsiteX97" fmla="*/ 30351 w 607639"/>
                <a:gd name="connsiteY97" fmla="*/ 414642 h 414642"/>
                <a:gd name="connsiteX98" fmla="*/ 0 w 607639"/>
                <a:gd name="connsiteY98" fmla="*/ 384244 h 414642"/>
                <a:gd name="connsiteX99" fmla="*/ 0 w 607639"/>
                <a:gd name="connsiteY99" fmla="*/ 353935 h 414642"/>
                <a:gd name="connsiteX100" fmla="*/ 10147 w 607639"/>
                <a:gd name="connsiteY100" fmla="*/ 343802 h 414642"/>
                <a:gd name="connsiteX101" fmla="*/ 40497 w 607639"/>
                <a:gd name="connsiteY101" fmla="*/ 343802 h 414642"/>
                <a:gd name="connsiteX102" fmla="*/ 40497 w 607639"/>
                <a:gd name="connsiteY102" fmla="*/ 30309 h 414642"/>
                <a:gd name="connsiteX103" fmla="*/ 70848 w 607639"/>
                <a:gd name="connsiteY103" fmla="*/ 0 h 41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07639" h="414642">
                  <a:moveTo>
                    <a:pt x="20293" y="364067"/>
                  </a:moveTo>
                  <a:lnTo>
                    <a:pt x="20293" y="384244"/>
                  </a:lnTo>
                  <a:cubicBezTo>
                    <a:pt x="20293" y="390377"/>
                    <a:pt x="24298" y="394377"/>
                    <a:pt x="30351" y="394377"/>
                  </a:cubicBezTo>
                  <a:lnTo>
                    <a:pt x="577199" y="394377"/>
                  </a:lnTo>
                  <a:cubicBezTo>
                    <a:pt x="583341" y="394377"/>
                    <a:pt x="587346" y="390377"/>
                    <a:pt x="587346" y="384244"/>
                  </a:cubicBezTo>
                  <a:lnTo>
                    <a:pt x="587346" y="364067"/>
                  </a:lnTo>
                  <a:lnTo>
                    <a:pt x="556995" y="364067"/>
                  </a:lnTo>
                  <a:lnTo>
                    <a:pt x="394916" y="364067"/>
                  </a:lnTo>
                  <a:lnTo>
                    <a:pt x="394916" y="374200"/>
                  </a:lnTo>
                  <a:cubicBezTo>
                    <a:pt x="394916" y="380244"/>
                    <a:pt x="390911" y="384244"/>
                    <a:pt x="384859" y="384244"/>
                  </a:cubicBezTo>
                  <a:lnTo>
                    <a:pt x="222780" y="384244"/>
                  </a:lnTo>
                  <a:cubicBezTo>
                    <a:pt x="216728" y="384244"/>
                    <a:pt x="212634" y="380244"/>
                    <a:pt x="212634" y="374200"/>
                  </a:cubicBezTo>
                  <a:lnTo>
                    <a:pt x="212634" y="364067"/>
                  </a:lnTo>
                  <a:lnTo>
                    <a:pt x="50644" y="364067"/>
                  </a:lnTo>
                  <a:close/>
                  <a:moveTo>
                    <a:pt x="141754" y="232583"/>
                  </a:moveTo>
                  <a:lnTo>
                    <a:pt x="161961" y="232583"/>
                  </a:lnTo>
                  <a:cubicBezTo>
                    <a:pt x="168104" y="232583"/>
                    <a:pt x="172110" y="236584"/>
                    <a:pt x="172110" y="242719"/>
                  </a:cubicBezTo>
                  <a:cubicBezTo>
                    <a:pt x="172110" y="248764"/>
                    <a:pt x="168104" y="252765"/>
                    <a:pt x="161961" y="252765"/>
                  </a:cubicBezTo>
                  <a:lnTo>
                    <a:pt x="141754" y="252765"/>
                  </a:lnTo>
                  <a:cubicBezTo>
                    <a:pt x="135700" y="252765"/>
                    <a:pt x="131605" y="248764"/>
                    <a:pt x="131605" y="242719"/>
                  </a:cubicBezTo>
                  <a:cubicBezTo>
                    <a:pt x="131605" y="236584"/>
                    <a:pt x="135700" y="232583"/>
                    <a:pt x="141754" y="232583"/>
                  </a:cubicBezTo>
                  <a:close/>
                  <a:moveTo>
                    <a:pt x="141758" y="192149"/>
                  </a:moveTo>
                  <a:lnTo>
                    <a:pt x="182279" y="192149"/>
                  </a:lnTo>
                  <a:cubicBezTo>
                    <a:pt x="188335" y="192149"/>
                    <a:pt x="192432" y="196150"/>
                    <a:pt x="192432" y="202196"/>
                  </a:cubicBezTo>
                  <a:cubicBezTo>
                    <a:pt x="192432" y="208330"/>
                    <a:pt x="188335" y="212331"/>
                    <a:pt x="182279" y="212331"/>
                  </a:cubicBezTo>
                  <a:lnTo>
                    <a:pt x="141758" y="212331"/>
                  </a:lnTo>
                  <a:cubicBezTo>
                    <a:pt x="135702" y="212331"/>
                    <a:pt x="131605" y="208330"/>
                    <a:pt x="131605" y="202196"/>
                  </a:cubicBezTo>
                  <a:cubicBezTo>
                    <a:pt x="131605" y="196150"/>
                    <a:pt x="135702" y="192149"/>
                    <a:pt x="141758" y="192149"/>
                  </a:cubicBezTo>
                  <a:close/>
                  <a:moveTo>
                    <a:pt x="141754" y="151716"/>
                  </a:moveTo>
                  <a:lnTo>
                    <a:pt x="161961" y="151716"/>
                  </a:lnTo>
                  <a:cubicBezTo>
                    <a:pt x="168104" y="151716"/>
                    <a:pt x="172110" y="155717"/>
                    <a:pt x="172110" y="161763"/>
                  </a:cubicBezTo>
                  <a:cubicBezTo>
                    <a:pt x="172110" y="167897"/>
                    <a:pt x="168104" y="171898"/>
                    <a:pt x="161961" y="171898"/>
                  </a:cubicBezTo>
                  <a:lnTo>
                    <a:pt x="141754" y="171898"/>
                  </a:lnTo>
                  <a:cubicBezTo>
                    <a:pt x="135700" y="171898"/>
                    <a:pt x="131605" y="167897"/>
                    <a:pt x="131605" y="161763"/>
                  </a:cubicBezTo>
                  <a:cubicBezTo>
                    <a:pt x="131605" y="155717"/>
                    <a:pt x="135700" y="151716"/>
                    <a:pt x="141754" y="151716"/>
                  </a:cubicBezTo>
                  <a:close/>
                  <a:moveTo>
                    <a:pt x="141758" y="111211"/>
                  </a:moveTo>
                  <a:lnTo>
                    <a:pt x="182279" y="111211"/>
                  </a:lnTo>
                  <a:cubicBezTo>
                    <a:pt x="188335" y="111211"/>
                    <a:pt x="192432" y="115297"/>
                    <a:pt x="192432" y="121337"/>
                  </a:cubicBezTo>
                  <a:cubicBezTo>
                    <a:pt x="192432" y="127377"/>
                    <a:pt x="188335" y="131463"/>
                    <a:pt x="182279" y="131463"/>
                  </a:cubicBezTo>
                  <a:lnTo>
                    <a:pt x="141758" y="131463"/>
                  </a:lnTo>
                  <a:cubicBezTo>
                    <a:pt x="135702" y="131463"/>
                    <a:pt x="131605" y="127377"/>
                    <a:pt x="131605" y="121337"/>
                  </a:cubicBezTo>
                  <a:cubicBezTo>
                    <a:pt x="131605" y="115297"/>
                    <a:pt x="135702" y="111211"/>
                    <a:pt x="141758" y="111211"/>
                  </a:cubicBezTo>
                  <a:close/>
                  <a:moveTo>
                    <a:pt x="425367" y="101191"/>
                  </a:moveTo>
                  <a:lnTo>
                    <a:pt x="496228" y="101191"/>
                  </a:lnTo>
                  <a:cubicBezTo>
                    <a:pt x="502282" y="101191"/>
                    <a:pt x="506377" y="105189"/>
                    <a:pt x="506377" y="111231"/>
                  </a:cubicBezTo>
                  <a:lnTo>
                    <a:pt x="506377" y="182042"/>
                  </a:lnTo>
                  <a:cubicBezTo>
                    <a:pt x="506377" y="188084"/>
                    <a:pt x="502282" y="192171"/>
                    <a:pt x="496228" y="192171"/>
                  </a:cubicBezTo>
                  <a:cubicBezTo>
                    <a:pt x="490175" y="192171"/>
                    <a:pt x="486080" y="188084"/>
                    <a:pt x="486080" y="182042"/>
                  </a:cubicBezTo>
                  <a:lnTo>
                    <a:pt x="486080" y="135575"/>
                  </a:lnTo>
                  <a:lnTo>
                    <a:pt x="402043" y="219447"/>
                  </a:lnTo>
                  <a:cubicBezTo>
                    <a:pt x="399996" y="221491"/>
                    <a:pt x="397948" y="222468"/>
                    <a:pt x="394921" y="222468"/>
                  </a:cubicBezTo>
                  <a:cubicBezTo>
                    <a:pt x="391895" y="222468"/>
                    <a:pt x="389847" y="221491"/>
                    <a:pt x="387889" y="219447"/>
                  </a:cubicBezTo>
                  <a:lnTo>
                    <a:pt x="344268" y="176001"/>
                  </a:lnTo>
                  <a:lnTo>
                    <a:pt x="270380" y="249744"/>
                  </a:lnTo>
                  <a:cubicBezTo>
                    <a:pt x="268332" y="251788"/>
                    <a:pt x="266285" y="252765"/>
                    <a:pt x="263258" y="252765"/>
                  </a:cubicBezTo>
                  <a:cubicBezTo>
                    <a:pt x="260231" y="252765"/>
                    <a:pt x="258184" y="251788"/>
                    <a:pt x="256225" y="249744"/>
                  </a:cubicBezTo>
                  <a:cubicBezTo>
                    <a:pt x="252130" y="245746"/>
                    <a:pt x="252130" y="239616"/>
                    <a:pt x="256225" y="235617"/>
                  </a:cubicBezTo>
                  <a:lnTo>
                    <a:pt x="337235" y="154766"/>
                  </a:lnTo>
                  <a:cubicBezTo>
                    <a:pt x="337769" y="154233"/>
                    <a:pt x="338303" y="153789"/>
                    <a:pt x="338837" y="153433"/>
                  </a:cubicBezTo>
                  <a:cubicBezTo>
                    <a:pt x="339372" y="152989"/>
                    <a:pt x="339995" y="152723"/>
                    <a:pt x="340618" y="152456"/>
                  </a:cubicBezTo>
                  <a:cubicBezTo>
                    <a:pt x="340885" y="152367"/>
                    <a:pt x="341152" y="152190"/>
                    <a:pt x="341508" y="152101"/>
                  </a:cubicBezTo>
                  <a:cubicBezTo>
                    <a:pt x="342131" y="151923"/>
                    <a:pt x="342754" y="151834"/>
                    <a:pt x="343378" y="151745"/>
                  </a:cubicBezTo>
                  <a:cubicBezTo>
                    <a:pt x="343645" y="151745"/>
                    <a:pt x="344001" y="151745"/>
                    <a:pt x="344268" y="151745"/>
                  </a:cubicBezTo>
                  <a:cubicBezTo>
                    <a:pt x="344980" y="151745"/>
                    <a:pt x="345603" y="151745"/>
                    <a:pt x="346226" y="151923"/>
                  </a:cubicBezTo>
                  <a:cubicBezTo>
                    <a:pt x="348096" y="152278"/>
                    <a:pt x="349876" y="153256"/>
                    <a:pt x="351390" y="154766"/>
                  </a:cubicBezTo>
                  <a:lnTo>
                    <a:pt x="394921" y="198213"/>
                  </a:lnTo>
                  <a:lnTo>
                    <a:pt x="471925" y="121359"/>
                  </a:lnTo>
                  <a:lnTo>
                    <a:pt x="425367" y="121359"/>
                  </a:lnTo>
                  <a:cubicBezTo>
                    <a:pt x="419224" y="121359"/>
                    <a:pt x="415218" y="117361"/>
                    <a:pt x="415218" y="111231"/>
                  </a:cubicBezTo>
                  <a:cubicBezTo>
                    <a:pt x="415218" y="105189"/>
                    <a:pt x="419224" y="101191"/>
                    <a:pt x="425367" y="101191"/>
                  </a:cubicBezTo>
                  <a:close/>
                  <a:moveTo>
                    <a:pt x="101297" y="91029"/>
                  </a:moveTo>
                  <a:cubicBezTo>
                    <a:pt x="107337" y="91029"/>
                    <a:pt x="111423" y="95028"/>
                    <a:pt x="111423" y="101159"/>
                  </a:cubicBezTo>
                  <a:lnTo>
                    <a:pt x="111423" y="262887"/>
                  </a:lnTo>
                  <a:cubicBezTo>
                    <a:pt x="111423" y="268929"/>
                    <a:pt x="107337" y="273017"/>
                    <a:pt x="101297" y="273017"/>
                  </a:cubicBezTo>
                  <a:cubicBezTo>
                    <a:pt x="95257" y="273017"/>
                    <a:pt x="91171" y="268929"/>
                    <a:pt x="91171" y="262887"/>
                  </a:cubicBezTo>
                  <a:lnTo>
                    <a:pt x="91171" y="101159"/>
                  </a:lnTo>
                  <a:cubicBezTo>
                    <a:pt x="91171" y="95028"/>
                    <a:pt x="95257" y="91029"/>
                    <a:pt x="101297" y="91029"/>
                  </a:cubicBezTo>
                  <a:close/>
                  <a:moveTo>
                    <a:pt x="70848" y="20177"/>
                  </a:moveTo>
                  <a:cubicBezTo>
                    <a:pt x="64796" y="20177"/>
                    <a:pt x="60791" y="24265"/>
                    <a:pt x="60791" y="30309"/>
                  </a:cubicBezTo>
                  <a:lnTo>
                    <a:pt x="60791" y="343802"/>
                  </a:lnTo>
                  <a:lnTo>
                    <a:pt x="222780" y="343802"/>
                  </a:lnTo>
                  <a:cubicBezTo>
                    <a:pt x="228833" y="343802"/>
                    <a:pt x="232927" y="347890"/>
                    <a:pt x="232927" y="353935"/>
                  </a:cubicBezTo>
                  <a:lnTo>
                    <a:pt x="232927" y="364067"/>
                  </a:lnTo>
                  <a:lnTo>
                    <a:pt x="374712" y="364067"/>
                  </a:lnTo>
                  <a:lnTo>
                    <a:pt x="374712" y="353935"/>
                  </a:lnTo>
                  <a:cubicBezTo>
                    <a:pt x="374712" y="347890"/>
                    <a:pt x="378717" y="343802"/>
                    <a:pt x="384859" y="343802"/>
                  </a:cubicBezTo>
                  <a:lnTo>
                    <a:pt x="546848" y="343802"/>
                  </a:lnTo>
                  <a:lnTo>
                    <a:pt x="546848" y="30309"/>
                  </a:lnTo>
                  <a:cubicBezTo>
                    <a:pt x="546848" y="24265"/>
                    <a:pt x="542754" y="20177"/>
                    <a:pt x="536702" y="20177"/>
                  </a:cubicBezTo>
                  <a:close/>
                  <a:moveTo>
                    <a:pt x="70848" y="0"/>
                  </a:moveTo>
                  <a:lnTo>
                    <a:pt x="536702" y="0"/>
                  </a:lnTo>
                  <a:cubicBezTo>
                    <a:pt x="553969" y="0"/>
                    <a:pt x="567142" y="13155"/>
                    <a:pt x="567142" y="30309"/>
                  </a:cubicBezTo>
                  <a:lnTo>
                    <a:pt x="567142" y="343802"/>
                  </a:lnTo>
                  <a:lnTo>
                    <a:pt x="597492" y="343802"/>
                  </a:lnTo>
                  <a:cubicBezTo>
                    <a:pt x="603545" y="343802"/>
                    <a:pt x="607639" y="347890"/>
                    <a:pt x="607639" y="353935"/>
                  </a:cubicBezTo>
                  <a:lnTo>
                    <a:pt x="607639" y="384244"/>
                  </a:lnTo>
                  <a:cubicBezTo>
                    <a:pt x="607639" y="401487"/>
                    <a:pt x="594466" y="414642"/>
                    <a:pt x="577199" y="414642"/>
                  </a:cubicBezTo>
                  <a:lnTo>
                    <a:pt x="30351" y="414642"/>
                  </a:lnTo>
                  <a:cubicBezTo>
                    <a:pt x="13173" y="414642"/>
                    <a:pt x="0" y="401487"/>
                    <a:pt x="0" y="384244"/>
                  </a:cubicBezTo>
                  <a:lnTo>
                    <a:pt x="0" y="353935"/>
                  </a:lnTo>
                  <a:cubicBezTo>
                    <a:pt x="0" y="347890"/>
                    <a:pt x="4094" y="343802"/>
                    <a:pt x="10147" y="343802"/>
                  </a:cubicBezTo>
                  <a:lnTo>
                    <a:pt x="40497" y="343802"/>
                  </a:lnTo>
                  <a:lnTo>
                    <a:pt x="40497" y="30309"/>
                  </a:lnTo>
                  <a:cubicBezTo>
                    <a:pt x="40497" y="13155"/>
                    <a:pt x="53670" y="0"/>
                    <a:pt x="70848" y="0"/>
                  </a:cubicBezTo>
                  <a:close/>
                </a:path>
              </a:pathLst>
            </a:custGeom>
            <a:solidFill>
              <a:schemeClr val="accent3"/>
            </a:solidFill>
            <a:ln>
              <a:noFill/>
            </a:ln>
          </p:spPr>
          <p:txBody>
            <a:bodyPr wrap="square" lIns="91440" tIns="45720" rIns="91440" bIns="45720" anchor="ctr">
              <a:normAutofit fontScale="92500" lnSpcReduction="20000"/>
            </a:bodyPr>
            <a:lstStyle/>
            <a:p>
              <a:pPr algn="ctr"/>
              <a:endParaRPr/>
            </a:p>
          </p:txBody>
        </p:sp>
        <p:cxnSp>
          <p:nvCxnSpPr>
            <p:cNvPr id="28" name="直接连接符 27">
              <a:extLst>
                <a:ext uri="{FF2B5EF4-FFF2-40B4-BE49-F238E27FC236}">
                  <a16:creationId xmlns:a16="http://schemas.microsoft.com/office/drawing/2014/main" id="{4C31E6BE-A35A-4E99-B74F-59DE10CF4F83}"/>
                </a:ext>
              </a:extLst>
            </p:cNvPr>
            <p:cNvCxnSpPr>
              <a:cxnSpLocks/>
            </p:cNvCxnSpPr>
            <p:nvPr/>
          </p:nvCxnSpPr>
          <p:spPr>
            <a:xfrm>
              <a:off x="767408" y="4135638"/>
              <a:ext cx="3672408"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33" name="íṥļîḓè">
              <a:extLst>
                <a:ext uri="{FF2B5EF4-FFF2-40B4-BE49-F238E27FC236}">
                  <a16:creationId xmlns:a16="http://schemas.microsoft.com/office/drawing/2014/main" id="{DD52E4DA-35CF-447B-A10F-446BD5BFD9A2}"/>
                </a:ext>
              </a:extLst>
            </p:cNvPr>
            <p:cNvSpPr txBox="1"/>
            <p:nvPr/>
          </p:nvSpPr>
          <p:spPr bwMode="auto">
            <a:xfrm>
              <a:off x="1257090" y="4221231"/>
              <a:ext cx="3312849"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p>
              <a:pPr eaLnBrk="1" hangingPunct="1">
                <a:spcBef>
                  <a:spcPct val="0"/>
                </a:spcBef>
                <a:buFontTx/>
                <a:buNone/>
              </a:pPr>
              <a:r>
                <a:rPr lang="zh-CN" altLang="en-US" sz="2000" b="1" dirty="0"/>
                <a:t>支持的形式</a:t>
              </a:r>
              <a:r>
                <a:rPr lang="en-US" altLang="zh-CN" sz="2000" b="1" baseline="30000" dirty="0"/>
                <a:t>[2]</a:t>
              </a:r>
              <a:endParaRPr lang="zh-CN" altLang="en-US" sz="2000" b="1" baseline="30000" dirty="0"/>
            </a:p>
          </p:txBody>
        </p:sp>
        <p:sp>
          <p:nvSpPr>
            <p:cNvPr id="34" name="îṧlîďé" title="ry6MHxwOH8WsTKLSa514qPVJnvhhWFnRDjZGIbRZNsFBp">
              <a:extLst>
                <a:ext uri="{FF2B5EF4-FFF2-40B4-BE49-F238E27FC236}">
                  <a16:creationId xmlns:a16="http://schemas.microsoft.com/office/drawing/2014/main" id="{B9543D8F-7927-4375-90B5-56917AA31C25}"/>
                </a:ext>
              </a:extLst>
            </p:cNvPr>
            <p:cNvSpPr/>
            <p:nvPr/>
          </p:nvSpPr>
          <p:spPr bwMode="auto">
            <a:xfrm>
              <a:off x="767408" y="4369252"/>
              <a:ext cx="460856" cy="323845"/>
            </a:xfrm>
            <a:custGeom>
              <a:avLst/>
              <a:gdLst>
                <a:gd name="connsiteX0" fmla="*/ 450100 w 607639"/>
                <a:gd name="connsiteY0" fmla="*/ 313203 h 426991"/>
                <a:gd name="connsiteX1" fmla="*/ 450100 w 607639"/>
                <a:gd name="connsiteY1" fmla="*/ 403167 h 426991"/>
                <a:gd name="connsiteX2" fmla="*/ 585744 w 607639"/>
                <a:gd name="connsiteY2" fmla="*/ 403167 h 426991"/>
                <a:gd name="connsiteX3" fmla="*/ 586100 w 607639"/>
                <a:gd name="connsiteY3" fmla="*/ 313203 h 426991"/>
                <a:gd name="connsiteX4" fmla="*/ 530294 w 607639"/>
                <a:gd name="connsiteY4" fmla="*/ 313203 h 426991"/>
                <a:gd name="connsiteX5" fmla="*/ 530116 w 607639"/>
                <a:gd name="connsiteY5" fmla="*/ 313203 h 426991"/>
                <a:gd name="connsiteX6" fmla="*/ 529760 w 607639"/>
                <a:gd name="connsiteY6" fmla="*/ 313203 h 426991"/>
                <a:gd name="connsiteX7" fmla="*/ 450901 w 607639"/>
                <a:gd name="connsiteY7" fmla="*/ 313203 h 426991"/>
                <a:gd name="connsiteX8" fmla="*/ 236309 w 607639"/>
                <a:gd name="connsiteY8" fmla="*/ 313203 h 426991"/>
                <a:gd name="connsiteX9" fmla="*/ 236309 w 607639"/>
                <a:gd name="connsiteY9" fmla="*/ 403167 h 426991"/>
                <a:gd name="connsiteX10" fmla="*/ 371953 w 607639"/>
                <a:gd name="connsiteY10" fmla="*/ 403167 h 426991"/>
                <a:gd name="connsiteX11" fmla="*/ 372754 w 607639"/>
                <a:gd name="connsiteY11" fmla="*/ 313203 h 426991"/>
                <a:gd name="connsiteX12" fmla="*/ 237110 w 607639"/>
                <a:gd name="connsiteY12" fmla="*/ 313203 h 426991"/>
                <a:gd name="connsiteX13" fmla="*/ 22519 w 607639"/>
                <a:gd name="connsiteY13" fmla="*/ 313203 h 426991"/>
                <a:gd name="connsiteX14" fmla="*/ 22519 w 607639"/>
                <a:gd name="connsiteY14" fmla="*/ 403167 h 426991"/>
                <a:gd name="connsiteX15" fmla="*/ 158163 w 607639"/>
                <a:gd name="connsiteY15" fmla="*/ 403167 h 426991"/>
                <a:gd name="connsiteX16" fmla="*/ 158964 w 607639"/>
                <a:gd name="connsiteY16" fmla="*/ 313203 h 426991"/>
                <a:gd name="connsiteX17" fmla="*/ 91498 w 607639"/>
                <a:gd name="connsiteY17" fmla="*/ 313203 h 426991"/>
                <a:gd name="connsiteX18" fmla="*/ 91231 w 607639"/>
                <a:gd name="connsiteY18" fmla="*/ 313203 h 426991"/>
                <a:gd name="connsiteX19" fmla="*/ 90964 w 607639"/>
                <a:gd name="connsiteY19" fmla="*/ 313203 h 426991"/>
                <a:gd name="connsiteX20" fmla="*/ 23320 w 607639"/>
                <a:gd name="connsiteY20" fmla="*/ 313203 h 426991"/>
                <a:gd name="connsiteX21" fmla="*/ 91409 w 607639"/>
                <a:gd name="connsiteY21" fmla="*/ 224751 h 426991"/>
                <a:gd name="connsiteX22" fmla="*/ 530294 w 607639"/>
                <a:gd name="connsiteY22" fmla="*/ 224751 h 426991"/>
                <a:gd name="connsiteX23" fmla="*/ 540084 w 607639"/>
                <a:gd name="connsiteY23" fmla="*/ 234530 h 426991"/>
                <a:gd name="connsiteX24" fmla="*/ 540084 w 607639"/>
                <a:gd name="connsiteY24" fmla="*/ 292135 h 426991"/>
                <a:gd name="connsiteX25" fmla="*/ 586456 w 607639"/>
                <a:gd name="connsiteY25" fmla="*/ 292135 h 426991"/>
                <a:gd name="connsiteX26" fmla="*/ 607639 w 607639"/>
                <a:gd name="connsiteY26" fmla="*/ 313203 h 426991"/>
                <a:gd name="connsiteX27" fmla="*/ 607639 w 607639"/>
                <a:gd name="connsiteY27" fmla="*/ 403167 h 426991"/>
                <a:gd name="connsiteX28" fmla="*/ 586456 w 607639"/>
                <a:gd name="connsiteY28" fmla="*/ 426991 h 426991"/>
                <a:gd name="connsiteX29" fmla="*/ 451524 w 607639"/>
                <a:gd name="connsiteY29" fmla="*/ 426991 h 426991"/>
                <a:gd name="connsiteX30" fmla="*/ 427582 w 607639"/>
                <a:gd name="connsiteY30" fmla="*/ 403167 h 426991"/>
                <a:gd name="connsiteX31" fmla="*/ 427582 w 607639"/>
                <a:gd name="connsiteY31" fmla="*/ 313203 h 426991"/>
                <a:gd name="connsiteX32" fmla="*/ 451524 w 607639"/>
                <a:gd name="connsiteY32" fmla="*/ 292135 h 426991"/>
                <a:gd name="connsiteX33" fmla="*/ 517566 w 607639"/>
                <a:gd name="connsiteY33" fmla="*/ 292135 h 426991"/>
                <a:gd name="connsiteX34" fmla="*/ 517566 w 607639"/>
                <a:gd name="connsiteY34" fmla="*/ 247242 h 426991"/>
                <a:gd name="connsiteX35" fmla="*/ 315079 w 607639"/>
                <a:gd name="connsiteY35" fmla="*/ 247242 h 426991"/>
                <a:gd name="connsiteX36" fmla="*/ 315079 w 607639"/>
                <a:gd name="connsiteY36" fmla="*/ 292135 h 426991"/>
                <a:gd name="connsiteX37" fmla="*/ 372665 w 607639"/>
                <a:gd name="connsiteY37" fmla="*/ 292135 h 426991"/>
                <a:gd name="connsiteX38" fmla="*/ 393849 w 607639"/>
                <a:gd name="connsiteY38" fmla="*/ 313203 h 426991"/>
                <a:gd name="connsiteX39" fmla="*/ 393849 w 607639"/>
                <a:gd name="connsiteY39" fmla="*/ 403167 h 426991"/>
                <a:gd name="connsiteX40" fmla="*/ 372665 w 607639"/>
                <a:gd name="connsiteY40" fmla="*/ 426991 h 426991"/>
                <a:gd name="connsiteX41" fmla="*/ 237733 w 607639"/>
                <a:gd name="connsiteY41" fmla="*/ 426991 h 426991"/>
                <a:gd name="connsiteX42" fmla="*/ 213791 w 607639"/>
                <a:gd name="connsiteY42" fmla="*/ 403167 h 426991"/>
                <a:gd name="connsiteX43" fmla="*/ 213791 w 607639"/>
                <a:gd name="connsiteY43" fmla="*/ 313203 h 426991"/>
                <a:gd name="connsiteX44" fmla="*/ 237733 w 607639"/>
                <a:gd name="connsiteY44" fmla="*/ 292135 h 426991"/>
                <a:gd name="connsiteX45" fmla="*/ 292561 w 607639"/>
                <a:gd name="connsiteY45" fmla="*/ 292135 h 426991"/>
                <a:gd name="connsiteX46" fmla="*/ 292561 w 607639"/>
                <a:gd name="connsiteY46" fmla="*/ 247242 h 426991"/>
                <a:gd name="connsiteX47" fmla="*/ 101288 w 607639"/>
                <a:gd name="connsiteY47" fmla="*/ 247242 h 426991"/>
                <a:gd name="connsiteX48" fmla="*/ 101288 w 607639"/>
                <a:gd name="connsiteY48" fmla="*/ 292135 h 426991"/>
                <a:gd name="connsiteX49" fmla="*/ 158875 w 607639"/>
                <a:gd name="connsiteY49" fmla="*/ 292135 h 426991"/>
                <a:gd name="connsiteX50" fmla="*/ 180058 w 607639"/>
                <a:gd name="connsiteY50" fmla="*/ 313203 h 426991"/>
                <a:gd name="connsiteX51" fmla="*/ 180058 w 607639"/>
                <a:gd name="connsiteY51" fmla="*/ 403167 h 426991"/>
                <a:gd name="connsiteX52" fmla="*/ 158875 w 607639"/>
                <a:gd name="connsiteY52" fmla="*/ 426991 h 426991"/>
                <a:gd name="connsiteX53" fmla="*/ 24032 w 607639"/>
                <a:gd name="connsiteY53" fmla="*/ 426991 h 426991"/>
                <a:gd name="connsiteX54" fmla="*/ 0 w 607639"/>
                <a:gd name="connsiteY54" fmla="*/ 403167 h 426991"/>
                <a:gd name="connsiteX55" fmla="*/ 0 w 607639"/>
                <a:gd name="connsiteY55" fmla="*/ 313203 h 426991"/>
                <a:gd name="connsiteX56" fmla="*/ 24032 w 607639"/>
                <a:gd name="connsiteY56" fmla="*/ 292135 h 426991"/>
                <a:gd name="connsiteX57" fmla="*/ 78770 w 607639"/>
                <a:gd name="connsiteY57" fmla="*/ 292135 h 426991"/>
                <a:gd name="connsiteX58" fmla="*/ 78770 w 607639"/>
                <a:gd name="connsiteY58" fmla="*/ 234530 h 426991"/>
                <a:gd name="connsiteX59" fmla="*/ 91409 w 607639"/>
                <a:gd name="connsiteY59" fmla="*/ 224751 h 426991"/>
                <a:gd name="connsiteX60" fmla="*/ 236326 w 607639"/>
                <a:gd name="connsiteY60" fmla="*/ 21066 h 426991"/>
                <a:gd name="connsiteX61" fmla="*/ 236326 w 607639"/>
                <a:gd name="connsiteY61" fmla="*/ 111021 h 426991"/>
                <a:gd name="connsiteX62" fmla="*/ 371758 w 607639"/>
                <a:gd name="connsiteY62" fmla="*/ 111021 h 426991"/>
                <a:gd name="connsiteX63" fmla="*/ 372380 w 607639"/>
                <a:gd name="connsiteY63" fmla="*/ 21066 h 426991"/>
                <a:gd name="connsiteX64" fmla="*/ 237127 w 607639"/>
                <a:gd name="connsiteY64" fmla="*/ 21066 h 426991"/>
                <a:gd name="connsiteX65" fmla="*/ 237750 w 607639"/>
                <a:gd name="connsiteY65" fmla="*/ 0 h 426991"/>
                <a:gd name="connsiteX66" fmla="*/ 372647 w 607639"/>
                <a:gd name="connsiteY66" fmla="*/ 0 h 426991"/>
                <a:gd name="connsiteX67" fmla="*/ 393825 w 607639"/>
                <a:gd name="connsiteY67" fmla="*/ 21066 h 426991"/>
                <a:gd name="connsiteX68" fmla="*/ 393825 w 607639"/>
                <a:gd name="connsiteY68" fmla="*/ 111021 h 426991"/>
                <a:gd name="connsiteX69" fmla="*/ 372647 w 607639"/>
                <a:gd name="connsiteY69" fmla="*/ 134843 h 426991"/>
                <a:gd name="connsiteX70" fmla="*/ 315076 w 607639"/>
                <a:gd name="connsiteY70" fmla="*/ 134843 h 426991"/>
                <a:gd name="connsiteX71" fmla="*/ 315076 w 607639"/>
                <a:gd name="connsiteY71" fmla="*/ 191020 h 426991"/>
                <a:gd name="connsiteX72" fmla="*/ 292563 w 607639"/>
                <a:gd name="connsiteY72" fmla="*/ 191020 h 426991"/>
                <a:gd name="connsiteX73" fmla="*/ 292563 w 607639"/>
                <a:gd name="connsiteY73" fmla="*/ 134843 h 426991"/>
                <a:gd name="connsiteX74" fmla="*/ 237750 w 607639"/>
                <a:gd name="connsiteY74" fmla="*/ 134843 h 426991"/>
                <a:gd name="connsiteX75" fmla="*/ 213813 w 607639"/>
                <a:gd name="connsiteY75" fmla="*/ 111021 h 426991"/>
                <a:gd name="connsiteX76" fmla="*/ 213813 w 607639"/>
                <a:gd name="connsiteY76" fmla="*/ 21066 h 426991"/>
                <a:gd name="connsiteX77" fmla="*/ 237750 w 607639"/>
                <a:gd name="connsiteY77" fmla="*/ 0 h 42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07639" h="426991">
                  <a:moveTo>
                    <a:pt x="450100" y="313203"/>
                  </a:moveTo>
                  <a:lnTo>
                    <a:pt x="450100" y="403167"/>
                  </a:lnTo>
                  <a:lnTo>
                    <a:pt x="585744" y="403167"/>
                  </a:lnTo>
                  <a:lnTo>
                    <a:pt x="586100" y="313203"/>
                  </a:lnTo>
                  <a:lnTo>
                    <a:pt x="530294" y="313203"/>
                  </a:lnTo>
                  <a:cubicBezTo>
                    <a:pt x="530294" y="313203"/>
                    <a:pt x="530116" y="313203"/>
                    <a:pt x="530116" y="313203"/>
                  </a:cubicBezTo>
                  <a:cubicBezTo>
                    <a:pt x="530027" y="313203"/>
                    <a:pt x="529849" y="313203"/>
                    <a:pt x="529760" y="313203"/>
                  </a:cubicBezTo>
                  <a:lnTo>
                    <a:pt x="450901" y="313203"/>
                  </a:lnTo>
                  <a:close/>
                  <a:moveTo>
                    <a:pt x="236309" y="313203"/>
                  </a:moveTo>
                  <a:lnTo>
                    <a:pt x="236309" y="403167"/>
                  </a:lnTo>
                  <a:lnTo>
                    <a:pt x="371953" y="403167"/>
                  </a:lnTo>
                  <a:lnTo>
                    <a:pt x="372754" y="313203"/>
                  </a:lnTo>
                  <a:lnTo>
                    <a:pt x="237110" y="313203"/>
                  </a:lnTo>
                  <a:close/>
                  <a:moveTo>
                    <a:pt x="22519" y="313203"/>
                  </a:moveTo>
                  <a:lnTo>
                    <a:pt x="22519" y="403167"/>
                  </a:lnTo>
                  <a:lnTo>
                    <a:pt x="158163" y="403167"/>
                  </a:lnTo>
                  <a:lnTo>
                    <a:pt x="158964" y="313203"/>
                  </a:lnTo>
                  <a:lnTo>
                    <a:pt x="91498" y="313203"/>
                  </a:lnTo>
                  <a:cubicBezTo>
                    <a:pt x="91409" y="313203"/>
                    <a:pt x="91320" y="313203"/>
                    <a:pt x="91231" y="313203"/>
                  </a:cubicBezTo>
                  <a:cubicBezTo>
                    <a:pt x="91231" y="313203"/>
                    <a:pt x="90964" y="313203"/>
                    <a:pt x="90964" y="313203"/>
                  </a:cubicBezTo>
                  <a:lnTo>
                    <a:pt x="23320" y="313203"/>
                  </a:lnTo>
                  <a:close/>
                  <a:moveTo>
                    <a:pt x="91409" y="224751"/>
                  </a:moveTo>
                  <a:lnTo>
                    <a:pt x="530294" y="224751"/>
                  </a:lnTo>
                  <a:cubicBezTo>
                    <a:pt x="536435" y="224751"/>
                    <a:pt x="540084" y="228396"/>
                    <a:pt x="540084" y="234530"/>
                  </a:cubicBezTo>
                  <a:lnTo>
                    <a:pt x="540084" y="292135"/>
                  </a:lnTo>
                  <a:lnTo>
                    <a:pt x="586456" y="292135"/>
                  </a:lnTo>
                  <a:cubicBezTo>
                    <a:pt x="598917" y="292135"/>
                    <a:pt x="607639" y="300847"/>
                    <a:pt x="607639" y="313203"/>
                  </a:cubicBezTo>
                  <a:lnTo>
                    <a:pt x="607639" y="403167"/>
                  </a:lnTo>
                  <a:cubicBezTo>
                    <a:pt x="607639" y="415524"/>
                    <a:pt x="598917" y="426991"/>
                    <a:pt x="586456" y="426991"/>
                  </a:cubicBezTo>
                  <a:lnTo>
                    <a:pt x="451524" y="426991"/>
                  </a:lnTo>
                  <a:cubicBezTo>
                    <a:pt x="439152" y="426991"/>
                    <a:pt x="427582" y="415524"/>
                    <a:pt x="427582" y="403167"/>
                  </a:cubicBezTo>
                  <a:lnTo>
                    <a:pt x="427582" y="313203"/>
                  </a:lnTo>
                  <a:cubicBezTo>
                    <a:pt x="427582" y="300847"/>
                    <a:pt x="439152" y="292135"/>
                    <a:pt x="451524" y="292135"/>
                  </a:cubicBezTo>
                  <a:lnTo>
                    <a:pt x="517566" y="292135"/>
                  </a:lnTo>
                  <a:lnTo>
                    <a:pt x="517566" y="247242"/>
                  </a:lnTo>
                  <a:lnTo>
                    <a:pt x="315079" y="247242"/>
                  </a:lnTo>
                  <a:lnTo>
                    <a:pt x="315079" y="292135"/>
                  </a:lnTo>
                  <a:lnTo>
                    <a:pt x="372665" y="292135"/>
                  </a:lnTo>
                  <a:cubicBezTo>
                    <a:pt x="385126" y="292135"/>
                    <a:pt x="393849" y="300847"/>
                    <a:pt x="393849" y="313203"/>
                  </a:cubicBezTo>
                  <a:lnTo>
                    <a:pt x="393849" y="403167"/>
                  </a:lnTo>
                  <a:cubicBezTo>
                    <a:pt x="393849" y="415524"/>
                    <a:pt x="385126" y="426991"/>
                    <a:pt x="372665" y="426991"/>
                  </a:cubicBezTo>
                  <a:lnTo>
                    <a:pt x="237733" y="426991"/>
                  </a:lnTo>
                  <a:cubicBezTo>
                    <a:pt x="225362" y="426991"/>
                    <a:pt x="213791" y="415524"/>
                    <a:pt x="213791" y="403167"/>
                  </a:cubicBezTo>
                  <a:lnTo>
                    <a:pt x="213791" y="313203"/>
                  </a:lnTo>
                  <a:cubicBezTo>
                    <a:pt x="213791" y="300847"/>
                    <a:pt x="225362" y="292135"/>
                    <a:pt x="237733" y="292135"/>
                  </a:cubicBezTo>
                  <a:lnTo>
                    <a:pt x="292561" y="292135"/>
                  </a:lnTo>
                  <a:lnTo>
                    <a:pt x="292561" y="247242"/>
                  </a:lnTo>
                  <a:lnTo>
                    <a:pt x="101288" y="247242"/>
                  </a:lnTo>
                  <a:lnTo>
                    <a:pt x="101288" y="292135"/>
                  </a:lnTo>
                  <a:lnTo>
                    <a:pt x="158875" y="292135"/>
                  </a:lnTo>
                  <a:cubicBezTo>
                    <a:pt x="171335" y="292135"/>
                    <a:pt x="180058" y="300847"/>
                    <a:pt x="180058" y="313203"/>
                  </a:cubicBezTo>
                  <a:lnTo>
                    <a:pt x="180058" y="403167"/>
                  </a:lnTo>
                  <a:cubicBezTo>
                    <a:pt x="180058" y="415524"/>
                    <a:pt x="171335" y="426991"/>
                    <a:pt x="158875" y="426991"/>
                  </a:cubicBezTo>
                  <a:lnTo>
                    <a:pt x="24032" y="426991"/>
                  </a:lnTo>
                  <a:cubicBezTo>
                    <a:pt x="11571" y="426991"/>
                    <a:pt x="0" y="415524"/>
                    <a:pt x="0" y="403167"/>
                  </a:cubicBezTo>
                  <a:lnTo>
                    <a:pt x="0" y="313203"/>
                  </a:lnTo>
                  <a:cubicBezTo>
                    <a:pt x="0" y="300847"/>
                    <a:pt x="11571" y="292135"/>
                    <a:pt x="24032" y="292135"/>
                  </a:cubicBezTo>
                  <a:lnTo>
                    <a:pt x="78770" y="292135"/>
                  </a:lnTo>
                  <a:lnTo>
                    <a:pt x="78770" y="234530"/>
                  </a:lnTo>
                  <a:cubicBezTo>
                    <a:pt x="78770" y="228396"/>
                    <a:pt x="85178" y="224751"/>
                    <a:pt x="91409" y="224751"/>
                  </a:cubicBezTo>
                  <a:close/>
                  <a:moveTo>
                    <a:pt x="236326" y="21066"/>
                  </a:moveTo>
                  <a:lnTo>
                    <a:pt x="236326" y="111021"/>
                  </a:lnTo>
                  <a:lnTo>
                    <a:pt x="371758" y="111021"/>
                  </a:lnTo>
                  <a:lnTo>
                    <a:pt x="372380" y="21066"/>
                  </a:lnTo>
                  <a:lnTo>
                    <a:pt x="237127" y="21066"/>
                  </a:lnTo>
                  <a:close/>
                  <a:moveTo>
                    <a:pt x="237750" y="0"/>
                  </a:moveTo>
                  <a:lnTo>
                    <a:pt x="372647" y="0"/>
                  </a:lnTo>
                  <a:cubicBezTo>
                    <a:pt x="385105" y="0"/>
                    <a:pt x="393825" y="8711"/>
                    <a:pt x="393825" y="21066"/>
                  </a:cubicBezTo>
                  <a:lnTo>
                    <a:pt x="393825" y="111021"/>
                  </a:lnTo>
                  <a:cubicBezTo>
                    <a:pt x="393825" y="123376"/>
                    <a:pt x="385105" y="134843"/>
                    <a:pt x="372647" y="134843"/>
                  </a:cubicBezTo>
                  <a:lnTo>
                    <a:pt x="315076" y="134843"/>
                  </a:lnTo>
                  <a:lnTo>
                    <a:pt x="315076" y="191020"/>
                  </a:lnTo>
                  <a:lnTo>
                    <a:pt x="292563" y="191020"/>
                  </a:lnTo>
                  <a:lnTo>
                    <a:pt x="292563" y="134843"/>
                  </a:lnTo>
                  <a:lnTo>
                    <a:pt x="237750" y="134843"/>
                  </a:lnTo>
                  <a:cubicBezTo>
                    <a:pt x="225381" y="134843"/>
                    <a:pt x="213813" y="123376"/>
                    <a:pt x="213813" y="111021"/>
                  </a:cubicBezTo>
                  <a:lnTo>
                    <a:pt x="213813" y="21066"/>
                  </a:lnTo>
                  <a:cubicBezTo>
                    <a:pt x="213813" y="8711"/>
                    <a:pt x="225381" y="0"/>
                    <a:pt x="237750" y="0"/>
                  </a:cubicBezTo>
                  <a:close/>
                </a:path>
              </a:pathLst>
            </a:custGeom>
            <a:solidFill>
              <a:schemeClr val="accent3"/>
            </a:solidFill>
            <a:ln>
              <a:noFill/>
            </a:ln>
          </p:spPr>
          <p:txBody>
            <a:bodyPr wrap="square" lIns="91440" tIns="45720" rIns="91440" bIns="45720" anchor="ctr">
              <a:normAutofit fontScale="92500" lnSpcReduction="20000"/>
            </a:bodyPr>
            <a:lstStyle/>
            <a:p>
              <a:pPr algn="ctr"/>
              <a:endParaRPr/>
            </a:p>
          </p:txBody>
        </p:sp>
        <p:sp>
          <p:nvSpPr>
            <p:cNvPr id="35" name="îşļiḓé">
              <a:extLst>
                <a:ext uri="{FF2B5EF4-FFF2-40B4-BE49-F238E27FC236}">
                  <a16:creationId xmlns:a16="http://schemas.microsoft.com/office/drawing/2014/main" id="{29564906-62E4-4E03-A285-8B194F7F645E}"/>
                </a:ext>
              </a:extLst>
            </p:cNvPr>
            <p:cNvSpPr/>
            <p:nvPr/>
          </p:nvSpPr>
          <p:spPr bwMode="auto">
            <a:xfrm>
              <a:off x="1257090" y="3053912"/>
              <a:ext cx="3182318" cy="56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p>
              <a:pPr>
                <a:lnSpc>
                  <a:spcPct val="120000"/>
                </a:lnSpc>
              </a:pPr>
              <a:r>
                <a:rPr lang="zh-CN" altLang="en-US" sz="1600" dirty="0"/>
                <a:t>类名或对象名，后面跟 </a:t>
              </a:r>
              <a:r>
                <a:rPr lang="en-US" altLang="zh-CN" sz="1600" dirty="0"/>
                <a:t>:: </a:t>
              </a:r>
              <a:r>
                <a:rPr lang="zh-CN" altLang="en-US" sz="1600" dirty="0"/>
                <a:t>，然后跟方法名称</a:t>
              </a:r>
              <a:endParaRPr lang="en-US" altLang="zh-CN" sz="1600" dirty="0"/>
            </a:p>
          </p:txBody>
        </p:sp>
        <p:sp>
          <p:nvSpPr>
            <p:cNvPr id="36" name="işḷïḓè">
              <a:extLst>
                <a:ext uri="{FF2B5EF4-FFF2-40B4-BE49-F238E27FC236}">
                  <a16:creationId xmlns:a16="http://schemas.microsoft.com/office/drawing/2014/main" id="{B5D49751-7BFB-4010-83B0-CC4F15A2CF4B}"/>
                </a:ext>
              </a:extLst>
            </p:cNvPr>
            <p:cNvSpPr/>
            <p:nvPr/>
          </p:nvSpPr>
          <p:spPr bwMode="auto">
            <a:xfrm>
              <a:off x="1257090" y="4639157"/>
              <a:ext cx="3312849" cy="1498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p>
              <a:pPr marL="171450" indent="-171450">
                <a:lnSpc>
                  <a:spcPct val="120000"/>
                </a:lnSpc>
                <a:buFont typeface="Arial" panose="020B0604020202020204" pitchFamily="34" charset="0"/>
                <a:buChar char="•"/>
              </a:pPr>
              <a:r>
                <a:rPr lang="zh-CN" altLang="en-US" sz="1600" dirty="0"/>
                <a:t>静态方法</a:t>
              </a:r>
              <a:endParaRPr lang="en-US" altLang="zh-CN" sz="1600" dirty="0"/>
            </a:p>
            <a:p>
              <a:pPr marL="171450" indent="-171450">
                <a:lnSpc>
                  <a:spcPct val="120000"/>
                </a:lnSpc>
                <a:buFont typeface="Arial" panose="020B0604020202020204" pitchFamily="34" charset="0"/>
                <a:buChar char="•"/>
              </a:pPr>
              <a:r>
                <a:rPr lang="zh-CN" altLang="en-US" sz="1600" dirty="0"/>
                <a:t>实例化对象方法</a:t>
              </a:r>
              <a:endParaRPr lang="en-US" altLang="zh-CN" sz="1600" dirty="0"/>
            </a:p>
            <a:p>
              <a:pPr marL="171450" indent="-171450">
                <a:lnSpc>
                  <a:spcPct val="120000"/>
                </a:lnSpc>
                <a:buFont typeface="Arial" panose="020B0604020202020204" pitchFamily="34" charset="0"/>
                <a:buChar char="•"/>
              </a:pPr>
              <a:r>
                <a:rPr lang="zh-CN" altLang="en-US" sz="1600" dirty="0"/>
                <a:t>方法签名（入参类型和返回值类型）一致</a:t>
              </a:r>
              <a:endParaRPr lang="en-US" altLang="zh-CN" sz="1600" dirty="0"/>
            </a:p>
            <a:p>
              <a:pPr marL="171450" indent="-171450">
                <a:lnSpc>
                  <a:spcPct val="120000"/>
                </a:lnSpc>
                <a:buFont typeface="Arial" panose="020B0604020202020204" pitchFamily="34" charset="0"/>
                <a:buChar char="•"/>
              </a:pPr>
              <a:r>
                <a:rPr lang="zh-CN" altLang="en-US" sz="1600" dirty="0"/>
                <a:t>构造方法</a:t>
              </a:r>
              <a:endParaRPr lang="en-US" altLang="zh-CN" sz="1600" dirty="0"/>
            </a:p>
          </p:txBody>
        </p:sp>
      </p:grpSp>
    </p:spTree>
    <p:custDataLst>
      <p:tags r:id="rId1"/>
    </p:custDataLst>
    <p:extLst>
      <p:ext uri="{BB962C8B-B14F-4D97-AF65-F5344CB8AC3E}">
        <p14:creationId xmlns:p14="http://schemas.microsoft.com/office/powerpoint/2010/main" val="672824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思考</a:t>
            </a:r>
          </a:p>
        </p:txBody>
      </p:sp>
      <p:sp>
        <p:nvSpPr>
          <p:cNvPr id="3" name="页脚占位符 2"/>
          <p:cNvSpPr>
            <a:spLocks noGrp="1"/>
          </p:cNvSpPr>
          <p:nvPr>
            <p:ph type="ftr" sz="quarter" idx="11"/>
          </p:nvPr>
        </p:nvSpPr>
        <p:spPr/>
        <p:txBody>
          <a:bodyPr/>
          <a:lstStyle/>
          <a:p>
            <a:r>
              <a:rPr lang="zh-CN" altLang="en-US"/>
              <a:t>请在插入菜单</a:t>
            </a:r>
            <a:r>
              <a:rPr lang="en-US" altLang="zh-CN"/>
              <a:t>—</a:t>
            </a:r>
            <a:r>
              <a:rPr lang="zh-CN" altLang="en-US"/>
              <a:t>页眉和</a:t>
            </a:r>
            <a:r>
              <a:rPr lang="zh-CN" altLang="en-US" sz="100"/>
              <a:t> </a:t>
            </a:r>
            <a:r>
              <a:rPr lang="zh-CN" altLang="en-US"/>
              <a:t>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1</a:t>
            </a:fld>
            <a:endParaRPr lang="zh-CN" altLang="en-US"/>
          </a:p>
        </p:txBody>
      </p:sp>
      <p:grpSp>
        <p:nvGrpSpPr>
          <p:cNvPr id="5" name="b67488b9-9081-420b-9299-a187616de81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53138C6-6FE5-43F5-A80F-ED951D328064}"/>
              </a:ext>
            </a:extLst>
          </p:cNvPr>
          <p:cNvGrpSpPr>
            <a:grpSpLocks noChangeAspect="1"/>
          </p:cNvGrpSpPr>
          <p:nvPr>
            <p:custDataLst>
              <p:tags r:id="rId2"/>
            </p:custDataLst>
          </p:nvPr>
        </p:nvGrpSpPr>
        <p:grpSpPr>
          <a:xfrm>
            <a:off x="5826124" y="1189859"/>
            <a:ext cx="5694363" cy="4683125"/>
            <a:chOff x="3297238" y="1079501"/>
            <a:chExt cx="5694363" cy="4683125"/>
          </a:xfrm>
        </p:grpSpPr>
        <p:sp>
          <p:nvSpPr>
            <p:cNvPr id="6" name="îṡḷiḋe">
              <a:extLst>
                <a:ext uri="{FF2B5EF4-FFF2-40B4-BE49-F238E27FC236}">
                  <a16:creationId xmlns:a16="http://schemas.microsoft.com/office/drawing/2014/main" id="{6C3B41D2-AFE1-46FA-ACDC-0D0D600C8871}"/>
                </a:ext>
              </a:extLst>
            </p:cNvPr>
            <p:cNvSpPr/>
            <p:nvPr/>
          </p:nvSpPr>
          <p:spPr bwMode="auto">
            <a:xfrm>
              <a:off x="6702425" y="5641976"/>
              <a:ext cx="1139825" cy="112713"/>
            </a:xfrm>
            <a:prstGeom prst="ellipse">
              <a:avLst/>
            </a:prstGeom>
            <a:solidFill>
              <a:srgbClr val="4285F4">
                <a:alpha val="20000"/>
              </a:srgbClr>
            </a:solidFill>
            <a:ln>
              <a:noFill/>
            </a:ln>
          </p:spPr>
          <p:txBody>
            <a:bodyPr anchor="ctr"/>
            <a:lstStyle/>
            <a:p>
              <a:pPr algn="ctr"/>
              <a:endParaRPr/>
            </a:p>
          </p:txBody>
        </p:sp>
        <p:sp>
          <p:nvSpPr>
            <p:cNvPr id="7" name="îṣlîdé">
              <a:extLst>
                <a:ext uri="{FF2B5EF4-FFF2-40B4-BE49-F238E27FC236}">
                  <a16:creationId xmlns:a16="http://schemas.microsoft.com/office/drawing/2014/main" id="{2B6F18C5-A045-424B-B6F2-D685AD79AF7F}"/>
                </a:ext>
              </a:extLst>
            </p:cNvPr>
            <p:cNvSpPr/>
            <p:nvPr/>
          </p:nvSpPr>
          <p:spPr bwMode="auto">
            <a:xfrm>
              <a:off x="3297238" y="1079501"/>
              <a:ext cx="5694363" cy="4337050"/>
            </a:xfrm>
            <a:custGeom>
              <a:avLst/>
              <a:gdLst>
                <a:gd name="T0" fmla="*/ 1761 w 4093"/>
                <a:gd name="T1" fmla="*/ 67 h 3122"/>
                <a:gd name="T2" fmla="*/ 2350 w 4093"/>
                <a:gd name="T3" fmla="*/ 142 h 3122"/>
                <a:gd name="T4" fmla="*/ 3711 w 4093"/>
                <a:gd name="T5" fmla="*/ 1420 h 3122"/>
                <a:gd name="T6" fmla="*/ 3998 w 4093"/>
                <a:gd name="T7" fmla="*/ 2006 h 3122"/>
                <a:gd name="T8" fmla="*/ 3426 w 4093"/>
                <a:gd name="T9" fmla="*/ 3016 h 3122"/>
                <a:gd name="T10" fmla="*/ 2970 w 4093"/>
                <a:gd name="T11" fmla="*/ 3101 h 3122"/>
                <a:gd name="T12" fmla="*/ 2124 w 4093"/>
                <a:gd name="T13" fmla="*/ 3036 h 3122"/>
                <a:gd name="T14" fmla="*/ 1560 w 4093"/>
                <a:gd name="T15" fmla="*/ 2790 h 3122"/>
                <a:gd name="T16" fmla="*/ 273 w 4093"/>
                <a:gd name="T17" fmla="*/ 1710 h 3122"/>
                <a:gd name="T18" fmla="*/ 3 w 4093"/>
                <a:gd name="T19" fmla="*/ 1075 h 3122"/>
                <a:gd name="T20" fmla="*/ 384 w 4093"/>
                <a:gd name="T21" fmla="*/ 589 h 3122"/>
                <a:gd name="T22" fmla="*/ 690 w 4093"/>
                <a:gd name="T23" fmla="*/ 607 h 3122"/>
                <a:gd name="T24" fmla="*/ 1142 w 4093"/>
                <a:gd name="T25" fmla="*/ 647 h 3122"/>
                <a:gd name="T26" fmla="*/ 1523 w 4093"/>
                <a:gd name="T27" fmla="*/ 429 h 3122"/>
                <a:gd name="T28" fmla="*/ 1761 w 4093"/>
                <a:gd name="T29" fmla="*/ 67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93" h="3122">
                  <a:moveTo>
                    <a:pt x="1761" y="67"/>
                  </a:moveTo>
                  <a:cubicBezTo>
                    <a:pt x="1942" y="0"/>
                    <a:pt x="2162" y="57"/>
                    <a:pt x="2350" y="142"/>
                  </a:cubicBezTo>
                  <a:cubicBezTo>
                    <a:pt x="2940" y="406"/>
                    <a:pt x="3369" y="909"/>
                    <a:pt x="3711" y="1420"/>
                  </a:cubicBezTo>
                  <a:cubicBezTo>
                    <a:pt x="3834" y="1606"/>
                    <a:pt x="3952" y="1799"/>
                    <a:pt x="3998" y="2006"/>
                  </a:cubicBezTo>
                  <a:cubicBezTo>
                    <a:pt x="4093" y="2427"/>
                    <a:pt x="3846" y="2863"/>
                    <a:pt x="3426" y="3016"/>
                  </a:cubicBezTo>
                  <a:cubicBezTo>
                    <a:pt x="3284" y="3068"/>
                    <a:pt x="3127" y="3089"/>
                    <a:pt x="2970" y="3101"/>
                  </a:cubicBezTo>
                  <a:cubicBezTo>
                    <a:pt x="2690" y="3122"/>
                    <a:pt x="2401" y="3114"/>
                    <a:pt x="2124" y="3036"/>
                  </a:cubicBezTo>
                  <a:cubicBezTo>
                    <a:pt x="1927" y="2980"/>
                    <a:pt x="1740" y="2889"/>
                    <a:pt x="1560" y="2790"/>
                  </a:cubicBezTo>
                  <a:cubicBezTo>
                    <a:pt x="1060" y="2512"/>
                    <a:pt x="602" y="2151"/>
                    <a:pt x="273" y="1710"/>
                  </a:cubicBezTo>
                  <a:cubicBezTo>
                    <a:pt x="129" y="1516"/>
                    <a:pt x="7" y="1298"/>
                    <a:pt x="3" y="1075"/>
                  </a:cubicBezTo>
                  <a:cubicBezTo>
                    <a:pt x="0" y="852"/>
                    <a:pt x="145" y="627"/>
                    <a:pt x="384" y="589"/>
                  </a:cubicBezTo>
                  <a:cubicBezTo>
                    <a:pt x="483" y="574"/>
                    <a:pt x="588" y="590"/>
                    <a:pt x="690" y="607"/>
                  </a:cubicBezTo>
                  <a:cubicBezTo>
                    <a:pt x="841" y="631"/>
                    <a:pt x="993" y="657"/>
                    <a:pt x="1142" y="647"/>
                  </a:cubicBezTo>
                  <a:cubicBezTo>
                    <a:pt x="1295" y="635"/>
                    <a:pt x="1495" y="575"/>
                    <a:pt x="1523" y="429"/>
                  </a:cubicBezTo>
                  <a:cubicBezTo>
                    <a:pt x="1552" y="271"/>
                    <a:pt x="1581" y="134"/>
                    <a:pt x="1761" y="67"/>
                  </a:cubicBezTo>
                </a:path>
              </a:pathLst>
            </a:custGeom>
            <a:solidFill>
              <a:srgbClr val="4285F4">
                <a:alpha val="20000"/>
              </a:srgbClr>
            </a:solidFill>
            <a:ln>
              <a:noFill/>
            </a:ln>
          </p:spPr>
          <p:txBody>
            <a:bodyPr anchor="ctr"/>
            <a:lstStyle/>
            <a:p>
              <a:pPr algn="ctr"/>
              <a:endParaRPr/>
            </a:p>
          </p:txBody>
        </p:sp>
        <p:sp>
          <p:nvSpPr>
            <p:cNvPr id="8" name="íSḷiďè">
              <a:extLst>
                <a:ext uri="{FF2B5EF4-FFF2-40B4-BE49-F238E27FC236}">
                  <a16:creationId xmlns:a16="http://schemas.microsoft.com/office/drawing/2014/main" id="{21A5F988-FDF4-478D-A513-8BE46AC4D057}"/>
                </a:ext>
              </a:extLst>
            </p:cNvPr>
            <p:cNvSpPr/>
            <p:nvPr/>
          </p:nvSpPr>
          <p:spPr bwMode="auto">
            <a:xfrm>
              <a:off x="4654550" y="5360988"/>
              <a:ext cx="273050" cy="236538"/>
            </a:xfrm>
            <a:custGeom>
              <a:avLst/>
              <a:gdLst>
                <a:gd name="T0" fmla="*/ 4 w 197"/>
                <a:gd name="T1" fmla="*/ 12 h 171"/>
                <a:gd name="T2" fmla="*/ 174 w 197"/>
                <a:gd name="T3" fmla="*/ 136 h 171"/>
                <a:gd name="T4" fmla="*/ 157 w 197"/>
                <a:gd name="T5" fmla="*/ 171 h 171"/>
                <a:gd name="T6" fmla="*/ 137 w 197"/>
                <a:gd name="T7" fmla="*/ 164 h 171"/>
                <a:gd name="T8" fmla="*/ 116 w 197"/>
                <a:gd name="T9" fmla="*/ 165 h 171"/>
                <a:gd name="T10" fmla="*/ 91 w 197"/>
                <a:gd name="T11" fmla="*/ 154 h 171"/>
                <a:gd name="T12" fmla="*/ 15 w 197"/>
                <a:gd name="T13" fmla="*/ 43 h 171"/>
                <a:gd name="T14" fmla="*/ 0 w 197"/>
                <a:gd name="T15" fmla="*/ 19 h 171"/>
                <a:gd name="T16" fmla="*/ 33 w 197"/>
                <a:gd name="T17" fmla="*/ 33 h 171"/>
                <a:gd name="T18" fmla="*/ 31 w 197"/>
                <a:gd name="T19" fmla="*/ 76 h 171"/>
                <a:gd name="T20" fmla="*/ 38 w 197"/>
                <a:gd name="T21" fmla="*/ 35 h 171"/>
                <a:gd name="T22" fmla="*/ 55 w 197"/>
                <a:gd name="T23" fmla="*/ 43 h 171"/>
                <a:gd name="T24" fmla="*/ 50 w 197"/>
                <a:gd name="T25" fmla="*/ 113 h 171"/>
                <a:gd name="T26" fmla="*/ 61 w 197"/>
                <a:gd name="T27" fmla="*/ 46 h 171"/>
                <a:gd name="T28" fmla="*/ 84 w 197"/>
                <a:gd name="T29" fmla="*/ 59 h 171"/>
                <a:gd name="T30" fmla="*/ 77 w 197"/>
                <a:gd name="T31" fmla="*/ 136 h 171"/>
                <a:gd name="T32" fmla="*/ 89 w 197"/>
                <a:gd name="T33" fmla="*/ 62 h 171"/>
                <a:gd name="T34" fmla="*/ 109 w 197"/>
                <a:gd name="T35" fmla="*/ 78 h 171"/>
                <a:gd name="T36" fmla="*/ 101 w 197"/>
                <a:gd name="T37" fmla="*/ 149 h 171"/>
                <a:gd name="T38" fmla="*/ 114 w 197"/>
                <a:gd name="T39" fmla="*/ 82 h 171"/>
                <a:gd name="T40" fmla="*/ 135 w 197"/>
                <a:gd name="T41" fmla="*/ 105 h 171"/>
                <a:gd name="T42" fmla="*/ 129 w 197"/>
                <a:gd name="T43" fmla="*/ 151 h 171"/>
                <a:gd name="T44" fmla="*/ 139 w 197"/>
                <a:gd name="T45" fmla="*/ 110 h 171"/>
                <a:gd name="T46" fmla="*/ 159 w 197"/>
                <a:gd name="T47" fmla="*/ 156 h 171"/>
                <a:gd name="T48" fmla="*/ 144 w 197"/>
                <a:gd name="T49" fmla="*/ 107 h 171"/>
                <a:gd name="T50" fmla="*/ 171 w 197"/>
                <a:gd name="T51" fmla="*/ 122 h 171"/>
                <a:gd name="T52" fmla="*/ 139 w 197"/>
                <a:gd name="T53" fmla="*/ 101 h 171"/>
                <a:gd name="T54" fmla="*/ 120 w 197"/>
                <a:gd name="T55" fmla="*/ 79 h 171"/>
                <a:gd name="T56" fmla="*/ 167 w 197"/>
                <a:gd name="T57" fmla="*/ 84 h 171"/>
                <a:gd name="T58" fmla="*/ 115 w 197"/>
                <a:gd name="T59" fmla="*/ 74 h 171"/>
                <a:gd name="T60" fmla="*/ 94 w 197"/>
                <a:gd name="T61" fmla="*/ 58 h 171"/>
                <a:gd name="T62" fmla="*/ 149 w 197"/>
                <a:gd name="T63" fmla="*/ 58 h 171"/>
                <a:gd name="T64" fmla="*/ 89 w 197"/>
                <a:gd name="T65" fmla="*/ 54 h 171"/>
                <a:gd name="T66" fmla="*/ 67 w 197"/>
                <a:gd name="T67" fmla="*/ 40 h 171"/>
                <a:gd name="T68" fmla="*/ 119 w 197"/>
                <a:gd name="T69" fmla="*/ 36 h 171"/>
                <a:gd name="T70" fmla="*/ 60 w 197"/>
                <a:gd name="T71" fmla="*/ 37 h 171"/>
                <a:gd name="T72" fmla="*/ 44 w 197"/>
                <a:gd name="T73" fmla="*/ 30 h 171"/>
                <a:gd name="T74" fmla="*/ 75 w 197"/>
                <a:gd name="T75" fmla="*/ 24 h 171"/>
                <a:gd name="T76" fmla="*/ 82 w 197"/>
                <a:gd name="T77" fmla="*/ 22 h 171"/>
                <a:gd name="T78" fmla="*/ 37 w 197"/>
                <a:gd name="T79" fmla="*/ 27 h 171"/>
                <a:gd name="T80" fmla="*/ 4 w 197"/>
                <a:gd name="T81"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7" h="171">
                  <a:moveTo>
                    <a:pt x="4" y="12"/>
                  </a:moveTo>
                  <a:cubicBezTo>
                    <a:pt x="4" y="12"/>
                    <a:pt x="197" y="0"/>
                    <a:pt x="174" y="136"/>
                  </a:cubicBezTo>
                  <a:cubicBezTo>
                    <a:pt x="174" y="136"/>
                    <a:pt x="179" y="160"/>
                    <a:pt x="157" y="171"/>
                  </a:cubicBezTo>
                  <a:cubicBezTo>
                    <a:pt x="157" y="171"/>
                    <a:pt x="157" y="160"/>
                    <a:pt x="137" y="164"/>
                  </a:cubicBezTo>
                  <a:cubicBezTo>
                    <a:pt x="130" y="165"/>
                    <a:pt x="123" y="165"/>
                    <a:pt x="116" y="165"/>
                  </a:cubicBezTo>
                  <a:cubicBezTo>
                    <a:pt x="107" y="164"/>
                    <a:pt x="98" y="161"/>
                    <a:pt x="91" y="154"/>
                  </a:cubicBezTo>
                  <a:cubicBezTo>
                    <a:pt x="91" y="154"/>
                    <a:pt x="37" y="132"/>
                    <a:pt x="15" y="43"/>
                  </a:cubicBezTo>
                  <a:cubicBezTo>
                    <a:pt x="15" y="43"/>
                    <a:pt x="0" y="24"/>
                    <a:pt x="0" y="19"/>
                  </a:cubicBezTo>
                  <a:cubicBezTo>
                    <a:pt x="33" y="33"/>
                    <a:pt x="33" y="33"/>
                    <a:pt x="33" y="33"/>
                  </a:cubicBezTo>
                  <a:cubicBezTo>
                    <a:pt x="33" y="33"/>
                    <a:pt x="22" y="56"/>
                    <a:pt x="31" y="76"/>
                  </a:cubicBezTo>
                  <a:cubicBezTo>
                    <a:pt x="31" y="76"/>
                    <a:pt x="32" y="34"/>
                    <a:pt x="38" y="35"/>
                  </a:cubicBezTo>
                  <a:cubicBezTo>
                    <a:pt x="39" y="35"/>
                    <a:pt x="55" y="43"/>
                    <a:pt x="55" y="43"/>
                  </a:cubicBezTo>
                  <a:cubicBezTo>
                    <a:pt x="55" y="43"/>
                    <a:pt x="36" y="84"/>
                    <a:pt x="50" y="113"/>
                  </a:cubicBezTo>
                  <a:cubicBezTo>
                    <a:pt x="50" y="113"/>
                    <a:pt x="45" y="63"/>
                    <a:pt x="61" y="46"/>
                  </a:cubicBezTo>
                  <a:cubicBezTo>
                    <a:pt x="84" y="59"/>
                    <a:pt x="84" y="59"/>
                    <a:pt x="84" y="59"/>
                  </a:cubicBezTo>
                  <a:cubicBezTo>
                    <a:pt x="84" y="59"/>
                    <a:pt x="61" y="101"/>
                    <a:pt x="77" y="136"/>
                  </a:cubicBezTo>
                  <a:cubicBezTo>
                    <a:pt x="77" y="136"/>
                    <a:pt x="73" y="83"/>
                    <a:pt x="89" y="62"/>
                  </a:cubicBezTo>
                  <a:cubicBezTo>
                    <a:pt x="109" y="78"/>
                    <a:pt x="109" y="78"/>
                    <a:pt x="109" y="78"/>
                  </a:cubicBezTo>
                  <a:cubicBezTo>
                    <a:pt x="109" y="78"/>
                    <a:pt x="88" y="120"/>
                    <a:pt x="101" y="149"/>
                  </a:cubicBezTo>
                  <a:cubicBezTo>
                    <a:pt x="101" y="149"/>
                    <a:pt x="103" y="87"/>
                    <a:pt x="114" y="82"/>
                  </a:cubicBezTo>
                  <a:cubicBezTo>
                    <a:pt x="114" y="82"/>
                    <a:pt x="132" y="98"/>
                    <a:pt x="135" y="105"/>
                  </a:cubicBezTo>
                  <a:cubicBezTo>
                    <a:pt x="135" y="105"/>
                    <a:pt x="120" y="135"/>
                    <a:pt x="129" y="151"/>
                  </a:cubicBezTo>
                  <a:cubicBezTo>
                    <a:pt x="129" y="151"/>
                    <a:pt x="135" y="110"/>
                    <a:pt x="139" y="110"/>
                  </a:cubicBezTo>
                  <a:cubicBezTo>
                    <a:pt x="139" y="110"/>
                    <a:pt x="157" y="137"/>
                    <a:pt x="159" y="156"/>
                  </a:cubicBezTo>
                  <a:cubicBezTo>
                    <a:pt x="159" y="156"/>
                    <a:pt x="159" y="128"/>
                    <a:pt x="144" y="107"/>
                  </a:cubicBezTo>
                  <a:cubicBezTo>
                    <a:pt x="144" y="107"/>
                    <a:pt x="161" y="110"/>
                    <a:pt x="171" y="122"/>
                  </a:cubicBezTo>
                  <a:cubicBezTo>
                    <a:pt x="171" y="122"/>
                    <a:pt x="169" y="102"/>
                    <a:pt x="139" y="101"/>
                  </a:cubicBezTo>
                  <a:cubicBezTo>
                    <a:pt x="139" y="101"/>
                    <a:pt x="124" y="80"/>
                    <a:pt x="120" y="79"/>
                  </a:cubicBezTo>
                  <a:cubicBezTo>
                    <a:pt x="120" y="79"/>
                    <a:pt x="150" y="76"/>
                    <a:pt x="167" y="84"/>
                  </a:cubicBezTo>
                  <a:cubicBezTo>
                    <a:pt x="167" y="84"/>
                    <a:pt x="152" y="66"/>
                    <a:pt x="115" y="74"/>
                  </a:cubicBezTo>
                  <a:cubicBezTo>
                    <a:pt x="94" y="58"/>
                    <a:pt x="94" y="58"/>
                    <a:pt x="94" y="58"/>
                  </a:cubicBezTo>
                  <a:cubicBezTo>
                    <a:pt x="94" y="58"/>
                    <a:pt x="133" y="52"/>
                    <a:pt x="149" y="58"/>
                  </a:cubicBezTo>
                  <a:cubicBezTo>
                    <a:pt x="149" y="58"/>
                    <a:pt x="130" y="42"/>
                    <a:pt x="89" y="54"/>
                  </a:cubicBezTo>
                  <a:cubicBezTo>
                    <a:pt x="67" y="40"/>
                    <a:pt x="67" y="40"/>
                    <a:pt x="67" y="40"/>
                  </a:cubicBezTo>
                  <a:cubicBezTo>
                    <a:pt x="67" y="40"/>
                    <a:pt x="99" y="33"/>
                    <a:pt x="119" y="36"/>
                  </a:cubicBezTo>
                  <a:cubicBezTo>
                    <a:pt x="119" y="36"/>
                    <a:pt x="98" y="25"/>
                    <a:pt x="60" y="37"/>
                  </a:cubicBezTo>
                  <a:cubicBezTo>
                    <a:pt x="44" y="30"/>
                    <a:pt x="44" y="30"/>
                    <a:pt x="44" y="30"/>
                  </a:cubicBezTo>
                  <a:cubicBezTo>
                    <a:pt x="44" y="30"/>
                    <a:pt x="68" y="25"/>
                    <a:pt x="75" y="24"/>
                  </a:cubicBezTo>
                  <a:cubicBezTo>
                    <a:pt x="82" y="23"/>
                    <a:pt x="82" y="22"/>
                    <a:pt x="82" y="22"/>
                  </a:cubicBezTo>
                  <a:cubicBezTo>
                    <a:pt x="67" y="19"/>
                    <a:pt x="52" y="21"/>
                    <a:pt x="37" y="27"/>
                  </a:cubicBezTo>
                  <a:cubicBezTo>
                    <a:pt x="37" y="27"/>
                    <a:pt x="3" y="14"/>
                    <a:pt x="4" y="12"/>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ṩḻíďê">
              <a:extLst>
                <a:ext uri="{FF2B5EF4-FFF2-40B4-BE49-F238E27FC236}">
                  <a16:creationId xmlns:a16="http://schemas.microsoft.com/office/drawing/2014/main" id="{56F4F3A9-0D6F-4B7B-80E4-B5D79CE4B811}"/>
                </a:ext>
              </a:extLst>
            </p:cNvPr>
            <p:cNvSpPr/>
            <p:nvPr/>
          </p:nvSpPr>
          <p:spPr bwMode="auto">
            <a:xfrm>
              <a:off x="4654550" y="5583238"/>
              <a:ext cx="381000" cy="61913"/>
            </a:xfrm>
            <a:custGeom>
              <a:avLst/>
              <a:gdLst>
                <a:gd name="T0" fmla="*/ 169 w 274"/>
                <a:gd name="T1" fmla="*/ 0 h 45"/>
                <a:gd name="T2" fmla="*/ 157 w 274"/>
                <a:gd name="T3" fmla="*/ 11 h 45"/>
                <a:gd name="T4" fmla="*/ 145 w 274"/>
                <a:gd name="T5" fmla="*/ 3 h 45"/>
                <a:gd name="T6" fmla="*/ 137 w 274"/>
                <a:gd name="T7" fmla="*/ 4 h 45"/>
                <a:gd name="T8" fmla="*/ 123 w 274"/>
                <a:gd name="T9" fmla="*/ 5 h 45"/>
                <a:gd name="T10" fmla="*/ 116 w 274"/>
                <a:gd name="T11" fmla="*/ 5 h 45"/>
                <a:gd name="T12" fmla="*/ 99 w 274"/>
                <a:gd name="T13" fmla="*/ 0 h 45"/>
                <a:gd name="T14" fmla="*/ 0 w 274"/>
                <a:gd name="T15" fmla="*/ 22 h 45"/>
                <a:gd name="T16" fmla="*/ 137 w 274"/>
                <a:gd name="T17" fmla="*/ 45 h 45"/>
                <a:gd name="T18" fmla="*/ 274 w 274"/>
                <a:gd name="T19" fmla="*/ 22 h 45"/>
                <a:gd name="T20" fmla="*/ 169 w 27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45">
                  <a:moveTo>
                    <a:pt x="169" y="0"/>
                  </a:moveTo>
                  <a:cubicBezTo>
                    <a:pt x="167" y="4"/>
                    <a:pt x="163" y="8"/>
                    <a:pt x="157" y="11"/>
                  </a:cubicBezTo>
                  <a:cubicBezTo>
                    <a:pt x="157" y="11"/>
                    <a:pt x="157" y="3"/>
                    <a:pt x="145" y="3"/>
                  </a:cubicBezTo>
                  <a:cubicBezTo>
                    <a:pt x="143" y="3"/>
                    <a:pt x="140" y="3"/>
                    <a:pt x="137" y="4"/>
                  </a:cubicBezTo>
                  <a:cubicBezTo>
                    <a:pt x="133" y="5"/>
                    <a:pt x="128" y="5"/>
                    <a:pt x="123" y="5"/>
                  </a:cubicBezTo>
                  <a:cubicBezTo>
                    <a:pt x="121" y="5"/>
                    <a:pt x="119" y="5"/>
                    <a:pt x="116" y="5"/>
                  </a:cubicBezTo>
                  <a:cubicBezTo>
                    <a:pt x="110" y="5"/>
                    <a:pt x="105" y="3"/>
                    <a:pt x="99" y="0"/>
                  </a:cubicBezTo>
                  <a:cubicBezTo>
                    <a:pt x="42" y="3"/>
                    <a:pt x="0" y="12"/>
                    <a:pt x="0" y="22"/>
                  </a:cubicBezTo>
                  <a:cubicBezTo>
                    <a:pt x="0" y="35"/>
                    <a:pt x="62" y="45"/>
                    <a:pt x="137" y="45"/>
                  </a:cubicBezTo>
                  <a:cubicBezTo>
                    <a:pt x="213" y="45"/>
                    <a:pt x="274" y="35"/>
                    <a:pt x="274" y="22"/>
                  </a:cubicBezTo>
                  <a:cubicBezTo>
                    <a:pt x="274" y="11"/>
                    <a:pt x="229" y="2"/>
                    <a:pt x="169" y="0"/>
                  </a:cubicBezTo>
                </a:path>
              </a:pathLst>
            </a:custGeom>
            <a:solidFill>
              <a:srgbClr val="ECF3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íśḷîḍe">
              <a:extLst>
                <a:ext uri="{FF2B5EF4-FFF2-40B4-BE49-F238E27FC236}">
                  <a16:creationId xmlns:a16="http://schemas.microsoft.com/office/drawing/2014/main" id="{2F7C4660-FD99-420B-9CAF-E6F49A9AD558}"/>
                </a:ext>
              </a:extLst>
            </p:cNvPr>
            <p:cNvSpPr/>
            <p:nvPr/>
          </p:nvSpPr>
          <p:spPr bwMode="auto">
            <a:xfrm>
              <a:off x="4791075" y="5581651"/>
              <a:ext cx="98425" cy="15875"/>
            </a:xfrm>
            <a:custGeom>
              <a:avLst/>
              <a:gdLst>
                <a:gd name="T0" fmla="*/ 38 w 70"/>
                <a:gd name="T1" fmla="*/ 0 h 12"/>
                <a:gd name="T2" fmla="*/ 0 w 70"/>
                <a:gd name="T3" fmla="*/ 1 h 12"/>
                <a:gd name="T4" fmla="*/ 17 w 70"/>
                <a:gd name="T5" fmla="*/ 6 h 12"/>
                <a:gd name="T6" fmla="*/ 24 w 70"/>
                <a:gd name="T7" fmla="*/ 6 h 12"/>
                <a:gd name="T8" fmla="*/ 38 w 70"/>
                <a:gd name="T9" fmla="*/ 5 h 12"/>
                <a:gd name="T10" fmla="*/ 46 w 70"/>
                <a:gd name="T11" fmla="*/ 4 h 12"/>
                <a:gd name="T12" fmla="*/ 58 w 70"/>
                <a:gd name="T13" fmla="*/ 12 h 12"/>
                <a:gd name="T14" fmla="*/ 70 w 70"/>
                <a:gd name="T15" fmla="*/ 1 h 12"/>
                <a:gd name="T16" fmla="*/ 38 w 7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
                  <a:moveTo>
                    <a:pt x="38" y="0"/>
                  </a:moveTo>
                  <a:cubicBezTo>
                    <a:pt x="25" y="0"/>
                    <a:pt x="12" y="1"/>
                    <a:pt x="0" y="1"/>
                  </a:cubicBezTo>
                  <a:cubicBezTo>
                    <a:pt x="6" y="4"/>
                    <a:pt x="11" y="6"/>
                    <a:pt x="17" y="6"/>
                  </a:cubicBezTo>
                  <a:cubicBezTo>
                    <a:pt x="20" y="6"/>
                    <a:pt x="22" y="6"/>
                    <a:pt x="24" y="6"/>
                  </a:cubicBezTo>
                  <a:cubicBezTo>
                    <a:pt x="29" y="6"/>
                    <a:pt x="34" y="6"/>
                    <a:pt x="38" y="5"/>
                  </a:cubicBezTo>
                  <a:cubicBezTo>
                    <a:pt x="41" y="4"/>
                    <a:pt x="44" y="4"/>
                    <a:pt x="46" y="4"/>
                  </a:cubicBezTo>
                  <a:cubicBezTo>
                    <a:pt x="58" y="4"/>
                    <a:pt x="58" y="12"/>
                    <a:pt x="58" y="12"/>
                  </a:cubicBezTo>
                  <a:cubicBezTo>
                    <a:pt x="64" y="9"/>
                    <a:pt x="68" y="5"/>
                    <a:pt x="70" y="1"/>
                  </a:cubicBezTo>
                  <a:cubicBezTo>
                    <a:pt x="60" y="0"/>
                    <a:pt x="49" y="0"/>
                    <a:pt x="38" y="0"/>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ś1ïḍè">
              <a:extLst>
                <a:ext uri="{FF2B5EF4-FFF2-40B4-BE49-F238E27FC236}">
                  <a16:creationId xmlns:a16="http://schemas.microsoft.com/office/drawing/2014/main" id="{F4594F74-7C99-41C7-B416-15558E529E36}"/>
                </a:ext>
              </a:extLst>
            </p:cNvPr>
            <p:cNvSpPr/>
            <p:nvPr/>
          </p:nvSpPr>
          <p:spPr bwMode="auto">
            <a:xfrm>
              <a:off x="4297363" y="5241926"/>
              <a:ext cx="153988" cy="131763"/>
            </a:xfrm>
            <a:custGeom>
              <a:avLst/>
              <a:gdLst>
                <a:gd name="T0" fmla="*/ 2 w 111"/>
                <a:gd name="T1" fmla="*/ 6 h 95"/>
                <a:gd name="T2" fmla="*/ 98 w 111"/>
                <a:gd name="T3" fmla="*/ 76 h 95"/>
                <a:gd name="T4" fmla="*/ 89 w 111"/>
                <a:gd name="T5" fmla="*/ 95 h 95"/>
                <a:gd name="T6" fmla="*/ 78 w 111"/>
                <a:gd name="T7" fmla="*/ 92 h 95"/>
                <a:gd name="T8" fmla="*/ 66 w 111"/>
                <a:gd name="T9" fmla="*/ 92 h 95"/>
                <a:gd name="T10" fmla="*/ 51 w 111"/>
                <a:gd name="T11" fmla="*/ 86 h 95"/>
                <a:gd name="T12" fmla="*/ 9 w 111"/>
                <a:gd name="T13" fmla="*/ 24 h 95"/>
                <a:gd name="T14" fmla="*/ 0 w 111"/>
                <a:gd name="T15" fmla="*/ 10 h 95"/>
                <a:gd name="T16" fmla="*/ 19 w 111"/>
                <a:gd name="T17" fmla="*/ 18 h 95"/>
                <a:gd name="T18" fmla="*/ 17 w 111"/>
                <a:gd name="T19" fmla="*/ 42 h 95"/>
                <a:gd name="T20" fmla="*/ 21 w 111"/>
                <a:gd name="T21" fmla="*/ 19 h 95"/>
                <a:gd name="T22" fmla="*/ 31 w 111"/>
                <a:gd name="T23" fmla="*/ 24 h 95"/>
                <a:gd name="T24" fmla="*/ 28 w 111"/>
                <a:gd name="T25" fmla="*/ 64 h 95"/>
                <a:gd name="T26" fmla="*/ 34 w 111"/>
                <a:gd name="T27" fmla="*/ 25 h 95"/>
                <a:gd name="T28" fmla="*/ 47 w 111"/>
                <a:gd name="T29" fmla="*/ 33 h 95"/>
                <a:gd name="T30" fmla="*/ 43 w 111"/>
                <a:gd name="T31" fmla="*/ 76 h 95"/>
                <a:gd name="T32" fmla="*/ 50 w 111"/>
                <a:gd name="T33" fmla="*/ 35 h 95"/>
                <a:gd name="T34" fmla="*/ 62 w 111"/>
                <a:gd name="T35" fmla="*/ 44 h 95"/>
                <a:gd name="T36" fmla="*/ 57 w 111"/>
                <a:gd name="T37" fmla="*/ 84 h 95"/>
                <a:gd name="T38" fmla="*/ 64 w 111"/>
                <a:gd name="T39" fmla="*/ 46 h 95"/>
                <a:gd name="T40" fmla="*/ 76 w 111"/>
                <a:gd name="T41" fmla="*/ 59 h 95"/>
                <a:gd name="T42" fmla="*/ 73 w 111"/>
                <a:gd name="T43" fmla="*/ 85 h 95"/>
                <a:gd name="T44" fmla="*/ 79 w 111"/>
                <a:gd name="T45" fmla="*/ 62 h 95"/>
                <a:gd name="T46" fmla="*/ 90 w 111"/>
                <a:gd name="T47" fmla="*/ 88 h 95"/>
                <a:gd name="T48" fmla="*/ 81 w 111"/>
                <a:gd name="T49" fmla="*/ 60 h 95"/>
                <a:gd name="T50" fmla="*/ 97 w 111"/>
                <a:gd name="T51" fmla="*/ 68 h 95"/>
                <a:gd name="T52" fmla="*/ 79 w 111"/>
                <a:gd name="T53" fmla="*/ 56 h 95"/>
                <a:gd name="T54" fmla="*/ 68 w 111"/>
                <a:gd name="T55" fmla="*/ 44 h 95"/>
                <a:gd name="T56" fmla="*/ 94 w 111"/>
                <a:gd name="T57" fmla="*/ 47 h 95"/>
                <a:gd name="T58" fmla="*/ 65 w 111"/>
                <a:gd name="T59" fmla="*/ 42 h 95"/>
                <a:gd name="T60" fmla="*/ 53 w 111"/>
                <a:gd name="T61" fmla="*/ 32 h 95"/>
                <a:gd name="T62" fmla="*/ 84 w 111"/>
                <a:gd name="T63" fmla="*/ 32 h 95"/>
                <a:gd name="T64" fmla="*/ 50 w 111"/>
                <a:gd name="T65" fmla="*/ 30 h 95"/>
                <a:gd name="T66" fmla="*/ 38 w 111"/>
                <a:gd name="T67" fmla="*/ 22 h 95"/>
                <a:gd name="T68" fmla="*/ 67 w 111"/>
                <a:gd name="T69" fmla="*/ 20 h 95"/>
                <a:gd name="T70" fmla="*/ 34 w 111"/>
                <a:gd name="T71" fmla="*/ 20 h 95"/>
                <a:gd name="T72" fmla="*/ 25 w 111"/>
                <a:gd name="T73" fmla="*/ 16 h 95"/>
                <a:gd name="T74" fmla="*/ 42 w 111"/>
                <a:gd name="T75" fmla="*/ 13 h 95"/>
                <a:gd name="T76" fmla="*/ 47 w 111"/>
                <a:gd name="T77" fmla="*/ 12 h 95"/>
                <a:gd name="T78" fmla="*/ 21 w 111"/>
                <a:gd name="T79" fmla="*/ 15 h 95"/>
                <a:gd name="T80" fmla="*/ 2 w 111"/>
                <a:gd name="T81" fmla="*/ 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95">
                  <a:moveTo>
                    <a:pt x="2" y="6"/>
                  </a:moveTo>
                  <a:cubicBezTo>
                    <a:pt x="2" y="6"/>
                    <a:pt x="111" y="0"/>
                    <a:pt x="98" y="76"/>
                  </a:cubicBezTo>
                  <a:cubicBezTo>
                    <a:pt x="100" y="84"/>
                    <a:pt x="96" y="92"/>
                    <a:pt x="89" y="95"/>
                  </a:cubicBezTo>
                  <a:cubicBezTo>
                    <a:pt x="89" y="95"/>
                    <a:pt x="89" y="90"/>
                    <a:pt x="78" y="92"/>
                  </a:cubicBezTo>
                  <a:cubicBezTo>
                    <a:pt x="74" y="92"/>
                    <a:pt x="70" y="93"/>
                    <a:pt x="66" y="92"/>
                  </a:cubicBezTo>
                  <a:cubicBezTo>
                    <a:pt x="61" y="92"/>
                    <a:pt x="55" y="90"/>
                    <a:pt x="51" y="86"/>
                  </a:cubicBezTo>
                  <a:cubicBezTo>
                    <a:pt x="51" y="86"/>
                    <a:pt x="21" y="74"/>
                    <a:pt x="9" y="24"/>
                  </a:cubicBezTo>
                  <a:cubicBezTo>
                    <a:pt x="9" y="24"/>
                    <a:pt x="0" y="13"/>
                    <a:pt x="0" y="10"/>
                  </a:cubicBezTo>
                  <a:cubicBezTo>
                    <a:pt x="19" y="18"/>
                    <a:pt x="19" y="18"/>
                    <a:pt x="19" y="18"/>
                  </a:cubicBezTo>
                  <a:cubicBezTo>
                    <a:pt x="19" y="18"/>
                    <a:pt x="12" y="31"/>
                    <a:pt x="17" y="42"/>
                  </a:cubicBezTo>
                  <a:cubicBezTo>
                    <a:pt x="17" y="42"/>
                    <a:pt x="18" y="18"/>
                    <a:pt x="21" y="19"/>
                  </a:cubicBezTo>
                  <a:cubicBezTo>
                    <a:pt x="22" y="19"/>
                    <a:pt x="31" y="24"/>
                    <a:pt x="31" y="24"/>
                  </a:cubicBezTo>
                  <a:cubicBezTo>
                    <a:pt x="31" y="24"/>
                    <a:pt x="20" y="47"/>
                    <a:pt x="28" y="64"/>
                  </a:cubicBezTo>
                  <a:cubicBezTo>
                    <a:pt x="28" y="64"/>
                    <a:pt x="25" y="35"/>
                    <a:pt x="34" y="25"/>
                  </a:cubicBezTo>
                  <a:cubicBezTo>
                    <a:pt x="47" y="33"/>
                    <a:pt x="47" y="33"/>
                    <a:pt x="47" y="33"/>
                  </a:cubicBezTo>
                  <a:cubicBezTo>
                    <a:pt x="47" y="33"/>
                    <a:pt x="35" y="57"/>
                    <a:pt x="43" y="76"/>
                  </a:cubicBezTo>
                  <a:cubicBezTo>
                    <a:pt x="43" y="76"/>
                    <a:pt x="41" y="46"/>
                    <a:pt x="50" y="35"/>
                  </a:cubicBezTo>
                  <a:cubicBezTo>
                    <a:pt x="62" y="44"/>
                    <a:pt x="62" y="44"/>
                    <a:pt x="62" y="44"/>
                  </a:cubicBezTo>
                  <a:cubicBezTo>
                    <a:pt x="62" y="44"/>
                    <a:pt x="50" y="67"/>
                    <a:pt x="57" y="84"/>
                  </a:cubicBezTo>
                  <a:cubicBezTo>
                    <a:pt x="57" y="84"/>
                    <a:pt x="58" y="49"/>
                    <a:pt x="64" y="46"/>
                  </a:cubicBezTo>
                  <a:cubicBezTo>
                    <a:pt x="64" y="46"/>
                    <a:pt x="75" y="55"/>
                    <a:pt x="76" y="59"/>
                  </a:cubicBezTo>
                  <a:cubicBezTo>
                    <a:pt x="76" y="59"/>
                    <a:pt x="68" y="76"/>
                    <a:pt x="73" y="85"/>
                  </a:cubicBezTo>
                  <a:cubicBezTo>
                    <a:pt x="73" y="85"/>
                    <a:pt x="76" y="62"/>
                    <a:pt x="79" y="62"/>
                  </a:cubicBezTo>
                  <a:cubicBezTo>
                    <a:pt x="79" y="62"/>
                    <a:pt x="89" y="77"/>
                    <a:pt x="90" y="88"/>
                  </a:cubicBezTo>
                  <a:cubicBezTo>
                    <a:pt x="89" y="78"/>
                    <a:pt x="86" y="68"/>
                    <a:pt x="81" y="60"/>
                  </a:cubicBezTo>
                  <a:cubicBezTo>
                    <a:pt x="87" y="61"/>
                    <a:pt x="92" y="64"/>
                    <a:pt x="97" y="68"/>
                  </a:cubicBezTo>
                  <a:cubicBezTo>
                    <a:pt x="97" y="68"/>
                    <a:pt x="95" y="57"/>
                    <a:pt x="79" y="56"/>
                  </a:cubicBezTo>
                  <a:cubicBezTo>
                    <a:pt x="79" y="56"/>
                    <a:pt x="70" y="45"/>
                    <a:pt x="68" y="44"/>
                  </a:cubicBezTo>
                  <a:cubicBezTo>
                    <a:pt x="68" y="44"/>
                    <a:pt x="84" y="43"/>
                    <a:pt x="94" y="47"/>
                  </a:cubicBezTo>
                  <a:cubicBezTo>
                    <a:pt x="94" y="47"/>
                    <a:pt x="86" y="37"/>
                    <a:pt x="65" y="42"/>
                  </a:cubicBezTo>
                  <a:cubicBezTo>
                    <a:pt x="53" y="32"/>
                    <a:pt x="53" y="32"/>
                    <a:pt x="53" y="32"/>
                  </a:cubicBezTo>
                  <a:cubicBezTo>
                    <a:pt x="53" y="32"/>
                    <a:pt x="75" y="29"/>
                    <a:pt x="84" y="32"/>
                  </a:cubicBezTo>
                  <a:cubicBezTo>
                    <a:pt x="84" y="32"/>
                    <a:pt x="74" y="23"/>
                    <a:pt x="50" y="30"/>
                  </a:cubicBezTo>
                  <a:cubicBezTo>
                    <a:pt x="38" y="22"/>
                    <a:pt x="38" y="22"/>
                    <a:pt x="38" y="22"/>
                  </a:cubicBezTo>
                  <a:cubicBezTo>
                    <a:pt x="47" y="20"/>
                    <a:pt x="57" y="19"/>
                    <a:pt x="67" y="20"/>
                  </a:cubicBezTo>
                  <a:cubicBezTo>
                    <a:pt x="67" y="20"/>
                    <a:pt x="55" y="14"/>
                    <a:pt x="34" y="20"/>
                  </a:cubicBezTo>
                  <a:cubicBezTo>
                    <a:pt x="25" y="16"/>
                    <a:pt x="25" y="16"/>
                    <a:pt x="25" y="16"/>
                  </a:cubicBezTo>
                  <a:cubicBezTo>
                    <a:pt x="25" y="16"/>
                    <a:pt x="38" y="14"/>
                    <a:pt x="42" y="13"/>
                  </a:cubicBezTo>
                  <a:cubicBezTo>
                    <a:pt x="46" y="13"/>
                    <a:pt x="47" y="12"/>
                    <a:pt x="47" y="12"/>
                  </a:cubicBezTo>
                  <a:cubicBezTo>
                    <a:pt x="38" y="10"/>
                    <a:pt x="29" y="11"/>
                    <a:pt x="21" y="15"/>
                  </a:cubicBezTo>
                  <a:cubicBezTo>
                    <a:pt x="21" y="15"/>
                    <a:pt x="2" y="7"/>
                    <a:pt x="2" y="6"/>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sḷîde">
              <a:extLst>
                <a:ext uri="{FF2B5EF4-FFF2-40B4-BE49-F238E27FC236}">
                  <a16:creationId xmlns:a16="http://schemas.microsoft.com/office/drawing/2014/main" id="{58141FE2-41FC-4FE8-A2BE-D042E81599EA}"/>
                </a:ext>
              </a:extLst>
            </p:cNvPr>
            <p:cNvSpPr/>
            <p:nvPr/>
          </p:nvSpPr>
          <p:spPr bwMode="auto">
            <a:xfrm>
              <a:off x="4297363" y="5365751"/>
              <a:ext cx="212725" cy="36513"/>
            </a:xfrm>
            <a:custGeom>
              <a:avLst/>
              <a:gdLst>
                <a:gd name="T0" fmla="*/ 96 w 154"/>
                <a:gd name="T1" fmla="*/ 0 h 26"/>
                <a:gd name="T2" fmla="*/ 89 w 154"/>
                <a:gd name="T3" fmla="*/ 6 h 26"/>
                <a:gd name="T4" fmla="*/ 82 w 154"/>
                <a:gd name="T5" fmla="*/ 2 h 26"/>
                <a:gd name="T6" fmla="*/ 78 w 154"/>
                <a:gd name="T7" fmla="*/ 3 h 26"/>
                <a:gd name="T8" fmla="*/ 70 w 154"/>
                <a:gd name="T9" fmla="*/ 3 h 26"/>
                <a:gd name="T10" fmla="*/ 66 w 154"/>
                <a:gd name="T11" fmla="*/ 3 h 26"/>
                <a:gd name="T12" fmla="*/ 56 w 154"/>
                <a:gd name="T13" fmla="*/ 1 h 26"/>
                <a:gd name="T14" fmla="*/ 0 w 154"/>
                <a:gd name="T15" fmla="*/ 13 h 26"/>
                <a:gd name="T16" fmla="*/ 77 w 154"/>
                <a:gd name="T17" fmla="*/ 26 h 26"/>
                <a:gd name="T18" fmla="*/ 154 w 154"/>
                <a:gd name="T19" fmla="*/ 13 h 26"/>
                <a:gd name="T20" fmla="*/ 96 w 154"/>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6">
                  <a:moveTo>
                    <a:pt x="96" y="0"/>
                  </a:moveTo>
                  <a:cubicBezTo>
                    <a:pt x="94" y="3"/>
                    <a:pt x="92" y="5"/>
                    <a:pt x="89" y="6"/>
                  </a:cubicBezTo>
                  <a:cubicBezTo>
                    <a:pt x="89" y="6"/>
                    <a:pt x="89" y="2"/>
                    <a:pt x="82" y="2"/>
                  </a:cubicBezTo>
                  <a:cubicBezTo>
                    <a:pt x="81" y="2"/>
                    <a:pt x="79" y="2"/>
                    <a:pt x="78" y="3"/>
                  </a:cubicBezTo>
                  <a:cubicBezTo>
                    <a:pt x="75" y="3"/>
                    <a:pt x="72" y="3"/>
                    <a:pt x="70" y="3"/>
                  </a:cubicBezTo>
                  <a:cubicBezTo>
                    <a:pt x="68" y="3"/>
                    <a:pt x="67" y="3"/>
                    <a:pt x="66" y="3"/>
                  </a:cubicBezTo>
                  <a:cubicBezTo>
                    <a:pt x="62" y="3"/>
                    <a:pt x="59" y="2"/>
                    <a:pt x="56" y="1"/>
                  </a:cubicBezTo>
                  <a:cubicBezTo>
                    <a:pt x="24" y="2"/>
                    <a:pt x="0" y="7"/>
                    <a:pt x="0" y="13"/>
                  </a:cubicBezTo>
                  <a:cubicBezTo>
                    <a:pt x="0" y="20"/>
                    <a:pt x="35" y="26"/>
                    <a:pt x="77" y="26"/>
                  </a:cubicBezTo>
                  <a:cubicBezTo>
                    <a:pt x="120" y="26"/>
                    <a:pt x="154" y="20"/>
                    <a:pt x="154" y="13"/>
                  </a:cubicBezTo>
                  <a:cubicBezTo>
                    <a:pt x="154" y="7"/>
                    <a:pt x="129" y="2"/>
                    <a:pt x="96" y="0"/>
                  </a:cubicBezTo>
                </a:path>
              </a:pathLst>
            </a:custGeom>
            <a:solidFill>
              <a:srgbClr val="ECF3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śḻíḓe">
              <a:extLst>
                <a:ext uri="{FF2B5EF4-FFF2-40B4-BE49-F238E27FC236}">
                  <a16:creationId xmlns:a16="http://schemas.microsoft.com/office/drawing/2014/main" id="{6D6F5A13-C15E-4A31-84E9-3458989D6B34}"/>
                </a:ext>
              </a:extLst>
            </p:cNvPr>
            <p:cNvSpPr/>
            <p:nvPr/>
          </p:nvSpPr>
          <p:spPr bwMode="auto">
            <a:xfrm>
              <a:off x="4375150" y="5365751"/>
              <a:ext cx="55563" cy="7938"/>
            </a:xfrm>
            <a:custGeom>
              <a:avLst/>
              <a:gdLst>
                <a:gd name="T0" fmla="*/ 21 w 40"/>
                <a:gd name="T1" fmla="*/ 0 h 6"/>
                <a:gd name="T2" fmla="*/ 0 w 40"/>
                <a:gd name="T3" fmla="*/ 1 h 6"/>
                <a:gd name="T4" fmla="*/ 10 w 40"/>
                <a:gd name="T5" fmla="*/ 3 h 6"/>
                <a:gd name="T6" fmla="*/ 14 w 40"/>
                <a:gd name="T7" fmla="*/ 3 h 6"/>
                <a:gd name="T8" fmla="*/ 22 w 40"/>
                <a:gd name="T9" fmla="*/ 3 h 6"/>
                <a:gd name="T10" fmla="*/ 26 w 40"/>
                <a:gd name="T11" fmla="*/ 2 h 6"/>
                <a:gd name="T12" fmla="*/ 33 w 40"/>
                <a:gd name="T13" fmla="*/ 6 h 6"/>
                <a:gd name="T14" fmla="*/ 40 w 40"/>
                <a:gd name="T15" fmla="*/ 0 h 6"/>
                <a:gd name="T16" fmla="*/ 21 w 4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
                  <a:moveTo>
                    <a:pt x="21" y="0"/>
                  </a:moveTo>
                  <a:cubicBezTo>
                    <a:pt x="14" y="0"/>
                    <a:pt x="7" y="0"/>
                    <a:pt x="0" y="1"/>
                  </a:cubicBezTo>
                  <a:cubicBezTo>
                    <a:pt x="3" y="2"/>
                    <a:pt x="6" y="3"/>
                    <a:pt x="10" y="3"/>
                  </a:cubicBezTo>
                  <a:cubicBezTo>
                    <a:pt x="11" y="3"/>
                    <a:pt x="12" y="3"/>
                    <a:pt x="14" y="3"/>
                  </a:cubicBezTo>
                  <a:cubicBezTo>
                    <a:pt x="16" y="3"/>
                    <a:pt x="19" y="3"/>
                    <a:pt x="22" y="3"/>
                  </a:cubicBezTo>
                  <a:cubicBezTo>
                    <a:pt x="23" y="2"/>
                    <a:pt x="25" y="2"/>
                    <a:pt x="26" y="2"/>
                  </a:cubicBezTo>
                  <a:cubicBezTo>
                    <a:pt x="33" y="2"/>
                    <a:pt x="33" y="6"/>
                    <a:pt x="33" y="6"/>
                  </a:cubicBezTo>
                  <a:cubicBezTo>
                    <a:pt x="36" y="5"/>
                    <a:pt x="38" y="3"/>
                    <a:pt x="40" y="0"/>
                  </a:cubicBezTo>
                  <a:cubicBezTo>
                    <a:pt x="34" y="0"/>
                    <a:pt x="28" y="0"/>
                    <a:pt x="21" y="0"/>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ïşļiḑè">
              <a:extLst>
                <a:ext uri="{FF2B5EF4-FFF2-40B4-BE49-F238E27FC236}">
                  <a16:creationId xmlns:a16="http://schemas.microsoft.com/office/drawing/2014/main" id="{ABA665B5-6E62-49E4-AF92-5611779D2D06}"/>
                </a:ext>
              </a:extLst>
            </p:cNvPr>
            <p:cNvSpPr/>
            <p:nvPr/>
          </p:nvSpPr>
          <p:spPr bwMode="auto">
            <a:xfrm>
              <a:off x="8020050" y="5340351"/>
              <a:ext cx="188913" cy="161925"/>
            </a:xfrm>
            <a:custGeom>
              <a:avLst/>
              <a:gdLst>
                <a:gd name="T0" fmla="*/ 3 w 135"/>
                <a:gd name="T1" fmla="*/ 8 h 116"/>
                <a:gd name="T2" fmla="*/ 119 w 135"/>
                <a:gd name="T3" fmla="*/ 92 h 116"/>
                <a:gd name="T4" fmla="*/ 107 w 135"/>
                <a:gd name="T5" fmla="*/ 116 h 116"/>
                <a:gd name="T6" fmla="*/ 94 w 135"/>
                <a:gd name="T7" fmla="*/ 112 h 116"/>
                <a:gd name="T8" fmla="*/ 80 w 135"/>
                <a:gd name="T9" fmla="*/ 112 h 116"/>
                <a:gd name="T10" fmla="*/ 62 w 135"/>
                <a:gd name="T11" fmla="*/ 105 h 116"/>
                <a:gd name="T12" fmla="*/ 11 w 135"/>
                <a:gd name="T13" fmla="*/ 29 h 116"/>
                <a:gd name="T14" fmla="*/ 1 w 135"/>
                <a:gd name="T15" fmla="*/ 13 h 116"/>
                <a:gd name="T16" fmla="*/ 23 w 135"/>
                <a:gd name="T17" fmla="*/ 22 h 116"/>
                <a:gd name="T18" fmla="*/ 21 w 135"/>
                <a:gd name="T19" fmla="*/ 52 h 116"/>
                <a:gd name="T20" fmla="*/ 26 w 135"/>
                <a:gd name="T21" fmla="*/ 24 h 116"/>
                <a:gd name="T22" fmla="*/ 38 w 135"/>
                <a:gd name="T23" fmla="*/ 29 h 116"/>
                <a:gd name="T24" fmla="*/ 35 w 135"/>
                <a:gd name="T25" fmla="*/ 77 h 116"/>
                <a:gd name="T26" fmla="*/ 42 w 135"/>
                <a:gd name="T27" fmla="*/ 31 h 116"/>
                <a:gd name="T28" fmla="*/ 57 w 135"/>
                <a:gd name="T29" fmla="*/ 40 h 116"/>
                <a:gd name="T30" fmla="*/ 53 w 135"/>
                <a:gd name="T31" fmla="*/ 92 h 116"/>
                <a:gd name="T32" fmla="*/ 61 w 135"/>
                <a:gd name="T33" fmla="*/ 42 h 116"/>
                <a:gd name="T34" fmla="*/ 75 w 135"/>
                <a:gd name="T35" fmla="*/ 53 h 116"/>
                <a:gd name="T36" fmla="*/ 69 w 135"/>
                <a:gd name="T37" fmla="*/ 101 h 116"/>
                <a:gd name="T38" fmla="*/ 78 w 135"/>
                <a:gd name="T39" fmla="*/ 56 h 116"/>
                <a:gd name="T40" fmla="*/ 92 w 135"/>
                <a:gd name="T41" fmla="*/ 72 h 116"/>
                <a:gd name="T42" fmla="*/ 88 w 135"/>
                <a:gd name="T43" fmla="*/ 103 h 116"/>
                <a:gd name="T44" fmla="*/ 95 w 135"/>
                <a:gd name="T45" fmla="*/ 75 h 116"/>
                <a:gd name="T46" fmla="*/ 109 w 135"/>
                <a:gd name="T47" fmla="*/ 106 h 116"/>
                <a:gd name="T48" fmla="*/ 98 w 135"/>
                <a:gd name="T49" fmla="*/ 73 h 116"/>
                <a:gd name="T50" fmla="*/ 117 w 135"/>
                <a:gd name="T51" fmla="*/ 83 h 116"/>
                <a:gd name="T52" fmla="*/ 95 w 135"/>
                <a:gd name="T53" fmla="*/ 69 h 116"/>
                <a:gd name="T54" fmla="*/ 82 w 135"/>
                <a:gd name="T55" fmla="*/ 54 h 116"/>
                <a:gd name="T56" fmla="*/ 114 w 135"/>
                <a:gd name="T57" fmla="*/ 58 h 116"/>
                <a:gd name="T58" fmla="*/ 79 w 135"/>
                <a:gd name="T59" fmla="*/ 51 h 116"/>
                <a:gd name="T60" fmla="*/ 65 w 135"/>
                <a:gd name="T61" fmla="*/ 40 h 116"/>
                <a:gd name="T62" fmla="*/ 102 w 135"/>
                <a:gd name="T63" fmla="*/ 40 h 116"/>
                <a:gd name="T64" fmla="*/ 61 w 135"/>
                <a:gd name="T65" fmla="*/ 37 h 116"/>
                <a:gd name="T66" fmla="*/ 46 w 135"/>
                <a:gd name="T67" fmla="*/ 28 h 116"/>
                <a:gd name="T68" fmla="*/ 81 w 135"/>
                <a:gd name="T69" fmla="*/ 25 h 116"/>
                <a:gd name="T70" fmla="*/ 41 w 135"/>
                <a:gd name="T71" fmla="*/ 26 h 116"/>
                <a:gd name="T72" fmla="*/ 30 w 135"/>
                <a:gd name="T73" fmla="*/ 21 h 116"/>
                <a:gd name="T74" fmla="*/ 52 w 135"/>
                <a:gd name="T75" fmla="*/ 17 h 116"/>
                <a:gd name="T76" fmla="*/ 57 w 135"/>
                <a:gd name="T77" fmla="*/ 15 h 116"/>
                <a:gd name="T78" fmla="*/ 26 w 135"/>
                <a:gd name="T79" fmla="*/ 19 h 116"/>
                <a:gd name="T80" fmla="*/ 3 w 135"/>
                <a:gd name="T81" fmla="*/ 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116">
                  <a:moveTo>
                    <a:pt x="3" y="8"/>
                  </a:moveTo>
                  <a:cubicBezTo>
                    <a:pt x="3" y="8"/>
                    <a:pt x="135" y="0"/>
                    <a:pt x="119" y="92"/>
                  </a:cubicBezTo>
                  <a:cubicBezTo>
                    <a:pt x="121" y="102"/>
                    <a:pt x="116" y="112"/>
                    <a:pt x="107" y="116"/>
                  </a:cubicBezTo>
                  <a:cubicBezTo>
                    <a:pt x="107" y="116"/>
                    <a:pt x="107" y="109"/>
                    <a:pt x="94" y="112"/>
                  </a:cubicBezTo>
                  <a:cubicBezTo>
                    <a:pt x="89" y="112"/>
                    <a:pt x="84" y="113"/>
                    <a:pt x="80" y="112"/>
                  </a:cubicBezTo>
                  <a:cubicBezTo>
                    <a:pt x="73" y="112"/>
                    <a:pt x="67" y="109"/>
                    <a:pt x="62" y="105"/>
                  </a:cubicBezTo>
                  <a:cubicBezTo>
                    <a:pt x="62" y="105"/>
                    <a:pt x="25" y="90"/>
                    <a:pt x="11" y="29"/>
                  </a:cubicBezTo>
                  <a:cubicBezTo>
                    <a:pt x="11" y="29"/>
                    <a:pt x="0" y="16"/>
                    <a:pt x="1" y="13"/>
                  </a:cubicBezTo>
                  <a:cubicBezTo>
                    <a:pt x="23" y="22"/>
                    <a:pt x="23" y="22"/>
                    <a:pt x="23" y="22"/>
                  </a:cubicBezTo>
                  <a:cubicBezTo>
                    <a:pt x="23" y="22"/>
                    <a:pt x="15" y="38"/>
                    <a:pt x="21" y="52"/>
                  </a:cubicBezTo>
                  <a:cubicBezTo>
                    <a:pt x="21" y="52"/>
                    <a:pt x="22" y="23"/>
                    <a:pt x="26" y="24"/>
                  </a:cubicBezTo>
                  <a:cubicBezTo>
                    <a:pt x="27" y="24"/>
                    <a:pt x="38" y="29"/>
                    <a:pt x="38" y="29"/>
                  </a:cubicBezTo>
                  <a:cubicBezTo>
                    <a:pt x="38" y="29"/>
                    <a:pt x="25" y="57"/>
                    <a:pt x="35" y="77"/>
                  </a:cubicBezTo>
                  <a:cubicBezTo>
                    <a:pt x="35" y="77"/>
                    <a:pt x="31" y="43"/>
                    <a:pt x="42" y="31"/>
                  </a:cubicBezTo>
                  <a:cubicBezTo>
                    <a:pt x="57" y="40"/>
                    <a:pt x="57" y="40"/>
                    <a:pt x="57" y="40"/>
                  </a:cubicBezTo>
                  <a:cubicBezTo>
                    <a:pt x="57" y="40"/>
                    <a:pt x="42" y="69"/>
                    <a:pt x="53" y="92"/>
                  </a:cubicBezTo>
                  <a:cubicBezTo>
                    <a:pt x="53" y="92"/>
                    <a:pt x="50" y="56"/>
                    <a:pt x="61" y="42"/>
                  </a:cubicBezTo>
                  <a:cubicBezTo>
                    <a:pt x="75" y="53"/>
                    <a:pt x="75" y="53"/>
                    <a:pt x="75" y="53"/>
                  </a:cubicBezTo>
                  <a:cubicBezTo>
                    <a:pt x="75" y="53"/>
                    <a:pt x="60" y="82"/>
                    <a:pt x="69" y="101"/>
                  </a:cubicBezTo>
                  <a:cubicBezTo>
                    <a:pt x="69" y="101"/>
                    <a:pt x="70" y="60"/>
                    <a:pt x="78" y="56"/>
                  </a:cubicBezTo>
                  <a:cubicBezTo>
                    <a:pt x="78" y="56"/>
                    <a:pt x="90" y="67"/>
                    <a:pt x="92" y="72"/>
                  </a:cubicBezTo>
                  <a:cubicBezTo>
                    <a:pt x="92" y="72"/>
                    <a:pt x="82" y="92"/>
                    <a:pt x="88" y="103"/>
                  </a:cubicBezTo>
                  <a:cubicBezTo>
                    <a:pt x="88" y="103"/>
                    <a:pt x="92" y="75"/>
                    <a:pt x="95" y="75"/>
                  </a:cubicBezTo>
                  <a:cubicBezTo>
                    <a:pt x="95" y="75"/>
                    <a:pt x="107" y="94"/>
                    <a:pt x="109" y="106"/>
                  </a:cubicBezTo>
                  <a:cubicBezTo>
                    <a:pt x="108" y="95"/>
                    <a:pt x="104" y="83"/>
                    <a:pt x="98" y="73"/>
                  </a:cubicBezTo>
                  <a:cubicBezTo>
                    <a:pt x="105" y="75"/>
                    <a:pt x="112" y="78"/>
                    <a:pt x="117" y="83"/>
                  </a:cubicBezTo>
                  <a:cubicBezTo>
                    <a:pt x="117" y="83"/>
                    <a:pt x="115" y="70"/>
                    <a:pt x="95" y="69"/>
                  </a:cubicBezTo>
                  <a:cubicBezTo>
                    <a:pt x="95" y="69"/>
                    <a:pt x="85" y="55"/>
                    <a:pt x="82" y="54"/>
                  </a:cubicBezTo>
                  <a:cubicBezTo>
                    <a:pt x="82" y="54"/>
                    <a:pt x="102" y="52"/>
                    <a:pt x="114" y="58"/>
                  </a:cubicBezTo>
                  <a:cubicBezTo>
                    <a:pt x="114" y="58"/>
                    <a:pt x="104" y="45"/>
                    <a:pt x="79" y="51"/>
                  </a:cubicBezTo>
                  <a:cubicBezTo>
                    <a:pt x="65" y="40"/>
                    <a:pt x="65" y="40"/>
                    <a:pt x="65" y="40"/>
                  </a:cubicBezTo>
                  <a:cubicBezTo>
                    <a:pt x="65" y="40"/>
                    <a:pt x="91" y="36"/>
                    <a:pt x="102" y="40"/>
                  </a:cubicBezTo>
                  <a:cubicBezTo>
                    <a:pt x="102" y="40"/>
                    <a:pt x="89" y="29"/>
                    <a:pt x="61" y="37"/>
                  </a:cubicBezTo>
                  <a:cubicBezTo>
                    <a:pt x="46" y="28"/>
                    <a:pt x="46" y="28"/>
                    <a:pt x="46" y="28"/>
                  </a:cubicBezTo>
                  <a:cubicBezTo>
                    <a:pt x="46" y="28"/>
                    <a:pt x="68" y="23"/>
                    <a:pt x="81" y="25"/>
                  </a:cubicBezTo>
                  <a:cubicBezTo>
                    <a:pt x="81" y="25"/>
                    <a:pt x="67" y="17"/>
                    <a:pt x="41" y="26"/>
                  </a:cubicBezTo>
                  <a:cubicBezTo>
                    <a:pt x="30" y="21"/>
                    <a:pt x="30" y="21"/>
                    <a:pt x="30" y="21"/>
                  </a:cubicBezTo>
                  <a:cubicBezTo>
                    <a:pt x="30" y="21"/>
                    <a:pt x="47" y="17"/>
                    <a:pt x="52" y="17"/>
                  </a:cubicBezTo>
                  <a:cubicBezTo>
                    <a:pt x="56" y="16"/>
                    <a:pt x="57" y="15"/>
                    <a:pt x="57" y="15"/>
                  </a:cubicBezTo>
                  <a:cubicBezTo>
                    <a:pt x="46" y="13"/>
                    <a:pt x="36" y="15"/>
                    <a:pt x="26" y="19"/>
                  </a:cubicBezTo>
                  <a:cubicBezTo>
                    <a:pt x="26" y="19"/>
                    <a:pt x="3" y="10"/>
                    <a:pt x="3" y="8"/>
                  </a:cubicBezTo>
                  <a:close/>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ľïḑê">
              <a:extLst>
                <a:ext uri="{FF2B5EF4-FFF2-40B4-BE49-F238E27FC236}">
                  <a16:creationId xmlns:a16="http://schemas.microsoft.com/office/drawing/2014/main" id="{7A0074C3-C593-45E8-BFE4-B5F1EEBEB459}"/>
                </a:ext>
              </a:extLst>
            </p:cNvPr>
            <p:cNvSpPr/>
            <p:nvPr/>
          </p:nvSpPr>
          <p:spPr bwMode="auto">
            <a:xfrm>
              <a:off x="8021638" y="5492751"/>
              <a:ext cx="258763" cy="42863"/>
            </a:xfrm>
            <a:prstGeom prst="ellipse">
              <a:avLst/>
            </a:prstGeom>
            <a:solidFill>
              <a:srgbClr val="4285F4">
                <a:alpha val="20000"/>
              </a:srgbClr>
            </a:solidFill>
            <a:ln>
              <a:noFill/>
            </a:ln>
          </p:spPr>
          <p:txBody>
            <a:bodyPr anchor="ctr"/>
            <a:lstStyle/>
            <a:p>
              <a:pPr algn="ctr"/>
              <a:endParaRPr/>
            </a:p>
          </p:txBody>
        </p:sp>
        <p:sp>
          <p:nvSpPr>
            <p:cNvPr id="16" name="ísliḑê">
              <a:extLst>
                <a:ext uri="{FF2B5EF4-FFF2-40B4-BE49-F238E27FC236}">
                  <a16:creationId xmlns:a16="http://schemas.microsoft.com/office/drawing/2014/main" id="{E5175A07-911E-466C-9D83-C67CFBA3F929}"/>
                </a:ext>
              </a:extLst>
            </p:cNvPr>
            <p:cNvSpPr/>
            <p:nvPr/>
          </p:nvSpPr>
          <p:spPr bwMode="auto">
            <a:xfrm>
              <a:off x="6691313" y="3413126"/>
              <a:ext cx="111125" cy="87313"/>
            </a:xfrm>
            <a:custGeom>
              <a:avLst/>
              <a:gdLst>
                <a:gd name="T0" fmla="*/ 0 w 80"/>
                <a:gd name="T1" fmla="*/ 43 h 62"/>
                <a:gd name="T2" fmla="*/ 80 w 80"/>
                <a:gd name="T3" fmla="*/ 5 h 62"/>
                <a:gd name="T4" fmla="*/ 80 w 80"/>
                <a:gd name="T5" fmla="*/ 62 h 62"/>
                <a:gd name="T6" fmla="*/ 45 w 80"/>
                <a:gd name="T7" fmla="*/ 62 h 62"/>
                <a:gd name="T8" fmla="*/ 18 w 80"/>
                <a:gd name="T9" fmla="*/ 55 h 62"/>
                <a:gd name="T10" fmla="*/ 0 w 80"/>
                <a:gd name="T11" fmla="*/ 43 h 62"/>
              </a:gdLst>
              <a:ahLst/>
              <a:cxnLst>
                <a:cxn ang="0">
                  <a:pos x="T0" y="T1"/>
                </a:cxn>
                <a:cxn ang="0">
                  <a:pos x="T2" y="T3"/>
                </a:cxn>
                <a:cxn ang="0">
                  <a:pos x="T4" y="T5"/>
                </a:cxn>
                <a:cxn ang="0">
                  <a:pos x="T6" y="T7"/>
                </a:cxn>
                <a:cxn ang="0">
                  <a:pos x="T8" y="T9"/>
                </a:cxn>
                <a:cxn ang="0">
                  <a:pos x="T10" y="T11"/>
                </a:cxn>
              </a:cxnLst>
              <a:rect l="0" t="0" r="r" b="b"/>
              <a:pathLst>
                <a:path w="80" h="62">
                  <a:moveTo>
                    <a:pt x="0" y="43"/>
                  </a:moveTo>
                  <a:cubicBezTo>
                    <a:pt x="17" y="15"/>
                    <a:pt x="48" y="0"/>
                    <a:pt x="80" y="5"/>
                  </a:cubicBezTo>
                  <a:cubicBezTo>
                    <a:pt x="80" y="62"/>
                    <a:pt x="80" y="62"/>
                    <a:pt x="80" y="62"/>
                  </a:cubicBezTo>
                  <a:cubicBezTo>
                    <a:pt x="45" y="62"/>
                    <a:pt x="45" y="62"/>
                    <a:pt x="45" y="62"/>
                  </a:cubicBezTo>
                  <a:cubicBezTo>
                    <a:pt x="18" y="55"/>
                    <a:pt x="18" y="55"/>
                    <a:pt x="18" y="55"/>
                  </a:cubicBezTo>
                  <a:cubicBezTo>
                    <a:pt x="0" y="43"/>
                    <a:pt x="0" y="43"/>
                    <a:pt x="0" y="43"/>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îṩļíḋê">
              <a:extLst>
                <a:ext uri="{FF2B5EF4-FFF2-40B4-BE49-F238E27FC236}">
                  <a16:creationId xmlns:a16="http://schemas.microsoft.com/office/drawing/2014/main" id="{4100932C-DA91-45A5-A510-6000090FF2DC}"/>
                </a:ext>
              </a:extLst>
            </p:cNvPr>
            <p:cNvSpPr/>
            <p:nvPr/>
          </p:nvSpPr>
          <p:spPr bwMode="auto">
            <a:xfrm>
              <a:off x="6691313" y="3421063"/>
              <a:ext cx="111125" cy="57150"/>
            </a:xfrm>
            <a:custGeom>
              <a:avLst/>
              <a:gdLst>
                <a:gd name="T0" fmla="*/ 33 w 80"/>
                <a:gd name="T1" fmla="*/ 7 h 41"/>
                <a:gd name="T2" fmla="*/ 0 w 80"/>
                <a:gd name="T3" fmla="*/ 38 h 41"/>
                <a:gd name="T4" fmla="*/ 0 w 80"/>
                <a:gd name="T5" fmla="*/ 38 h 41"/>
                <a:gd name="T6" fmla="*/ 20 w 80"/>
                <a:gd name="T7" fmla="*/ 41 h 41"/>
                <a:gd name="T8" fmla="*/ 39 w 80"/>
                <a:gd name="T9" fmla="*/ 38 h 41"/>
                <a:gd name="T10" fmla="*/ 38 w 80"/>
                <a:gd name="T11" fmla="*/ 31 h 41"/>
                <a:gd name="T12" fmla="*/ 33 w 80"/>
                <a:gd name="T13" fmla="*/ 7 h 41"/>
                <a:gd name="T14" fmla="*/ 77 w 80"/>
                <a:gd name="T15" fmla="*/ 0 h 41"/>
                <a:gd name="T16" fmla="*/ 78 w 80"/>
                <a:gd name="T17" fmla="*/ 3 h 41"/>
                <a:gd name="T18" fmla="*/ 80 w 80"/>
                <a:gd name="T19" fmla="*/ 0 h 41"/>
                <a:gd name="T20" fmla="*/ 77 w 80"/>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1">
                  <a:moveTo>
                    <a:pt x="33" y="7"/>
                  </a:moveTo>
                  <a:cubicBezTo>
                    <a:pt x="20" y="14"/>
                    <a:pt x="8" y="24"/>
                    <a:pt x="0" y="38"/>
                  </a:cubicBezTo>
                  <a:cubicBezTo>
                    <a:pt x="0" y="38"/>
                    <a:pt x="0" y="38"/>
                    <a:pt x="0" y="38"/>
                  </a:cubicBezTo>
                  <a:cubicBezTo>
                    <a:pt x="7" y="40"/>
                    <a:pt x="14" y="41"/>
                    <a:pt x="20" y="41"/>
                  </a:cubicBezTo>
                  <a:cubicBezTo>
                    <a:pt x="27" y="41"/>
                    <a:pt x="33" y="40"/>
                    <a:pt x="39" y="38"/>
                  </a:cubicBezTo>
                  <a:cubicBezTo>
                    <a:pt x="39" y="36"/>
                    <a:pt x="39" y="33"/>
                    <a:pt x="38" y="31"/>
                  </a:cubicBezTo>
                  <a:cubicBezTo>
                    <a:pt x="37" y="24"/>
                    <a:pt x="36" y="15"/>
                    <a:pt x="33" y="7"/>
                  </a:cubicBezTo>
                  <a:moveTo>
                    <a:pt x="77" y="0"/>
                  </a:moveTo>
                  <a:cubicBezTo>
                    <a:pt x="78" y="1"/>
                    <a:pt x="78" y="2"/>
                    <a:pt x="78" y="3"/>
                  </a:cubicBezTo>
                  <a:cubicBezTo>
                    <a:pt x="79" y="1"/>
                    <a:pt x="80" y="0"/>
                    <a:pt x="80" y="0"/>
                  </a:cubicBezTo>
                  <a:cubicBezTo>
                    <a:pt x="79" y="0"/>
                    <a:pt x="78" y="0"/>
                    <a:pt x="77"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šlïḋé">
              <a:extLst>
                <a:ext uri="{FF2B5EF4-FFF2-40B4-BE49-F238E27FC236}">
                  <a16:creationId xmlns:a16="http://schemas.microsoft.com/office/drawing/2014/main" id="{F5034423-9618-4F6D-9B1E-B04948DF8867}"/>
                </a:ext>
              </a:extLst>
            </p:cNvPr>
            <p:cNvSpPr/>
            <p:nvPr/>
          </p:nvSpPr>
          <p:spPr bwMode="auto">
            <a:xfrm>
              <a:off x="6456363" y="3241676"/>
              <a:ext cx="347663" cy="241300"/>
            </a:xfrm>
            <a:custGeom>
              <a:avLst/>
              <a:gdLst>
                <a:gd name="T0" fmla="*/ 251 w 251"/>
                <a:gd name="T1" fmla="*/ 144 h 174"/>
                <a:gd name="T2" fmla="*/ 209 w 251"/>
                <a:gd name="T3" fmla="*/ 174 h 174"/>
                <a:gd name="T4" fmla="*/ 207 w 251"/>
                <a:gd name="T5" fmla="*/ 160 h 174"/>
                <a:gd name="T6" fmla="*/ 190 w 251"/>
                <a:gd name="T7" fmla="*/ 117 h 174"/>
                <a:gd name="T8" fmla="*/ 62 w 251"/>
                <a:gd name="T9" fmla="*/ 22 h 174"/>
                <a:gd name="T10" fmla="*/ 219 w 251"/>
                <a:gd name="T11" fmla="*/ 73 h 174"/>
                <a:gd name="T12" fmla="*/ 231 w 251"/>
                <a:gd name="T13" fmla="*/ 90 h 174"/>
                <a:gd name="T14" fmla="*/ 245 w 251"/>
                <a:gd name="T15" fmla="*/ 125 h 174"/>
                <a:gd name="T16" fmla="*/ 251 w 251"/>
                <a:gd name="T17" fmla="*/ 14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74">
                  <a:moveTo>
                    <a:pt x="251" y="144"/>
                  </a:moveTo>
                  <a:cubicBezTo>
                    <a:pt x="209" y="174"/>
                    <a:pt x="209" y="174"/>
                    <a:pt x="209" y="174"/>
                  </a:cubicBezTo>
                  <a:cubicBezTo>
                    <a:pt x="209" y="174"/>
                    <a:pt x="208" y="168"/>
                    <a:pt x="207" y="160"/>
                  </a:cubicBezTo>
                  <a:cubicBezTo>
                    <a:pt x="205" y="145"/>
                    <a:pt x="201" y="121"/>
                    <a:pt x="190" y="117"/>
                  </a:cubicBezTo>
                  <a:cubicBezTo>
                    <a:pt x="175" y="110"/>
                    <a:pt x="0" y="44"/>
                    <a:pt x="62" y="22"/>
                  </a:cubicBezTo>
                  <a:cubicBezTo>
                    <a:pt x="124" y="0"/>
                    <a:pt x="219" y="73"/>
                    <a:pt x="219" y="73"/>
                  </a:cubicBezTo>
                  <a:cubicBezTo>
                    <a:pt x="219" y="73"/>
                    <a:pt x="224" y="74"/>
                    <a:pt x="231" y="90"/>
                  </a:cubicBezTo>
                  <a:cubicBezTo>
                    <a:pt x="235" y="99"/>
                    <a:pt x="241" y="113"/>
                    <a:pt x="245" y="125"/>
                  </a:cubicBezTo>
                  <a:cubicBezTo>
                    <a:pt x="249" y="136"/>
                    <a:pt x="251" y="144"/>
                    <a:pt x="251" y="144"/>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sļïḓè">
              <a:extLst>
                <a:ext uri="{FF2B5EF4-FFF2-40B4-BE49-F238E27FC236}">
                  <a16:creationId xmlns:a16="http://schemas.microsoft.com/office/drawing/2014/main" id="{5138D824-71B4-4B92-953A-6D34F27E8C0C}"/>
                </a:ext>
              </a:extLst>
            </p:cNvPr>
            <p:cNvSpPr/>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close/>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îṧḷîḋe">
              <a:extLst>
                <a:ext uri="{FF2B5EF4-FFF2-40B4-BE49-F238E27FC236}">
                  <a16:creationId xmlns:a16="http://schemas.microsoft.com/office/drawing/2014/main" id="{DC3EB593-47B0-44D0-A738-0A64DDD5CD4A}"/>
                </a:ext>
              </a:extLst>
            </p:cNvPr>
            <p:cNvSpPr/>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Sļîḍe">
              <a:extLst>
                <a:ext uri="{FF2B5EF4-FFF2-40B4-BE49-F238E27FC236}">
                  <a16:creationId xmlns:a16="http://schemas.microsoft.com/office/drawing/2014/main" id="{3D9C3A0E-F80E-45BF-857B-04588D49EC3C}"/>
                </a:ext>
              </a:extLst>
            </p:cNvPr>
            <p:cNvSpPr/>
            <p:nvPr/>
          </p:nvSpPr>
          <p:spPr bwMode="auto">
            <a:xfrm>
              <a:off x="7118350" y="5434013"/>
              <a:ext cx="142875" cy="271463"/>
            </a:xfrm>
            <a:custGeom>
              <a:avLst/>
              <a:gdLst>
                <a:gd name="T0" fmla="*/ 50 w 102"/>
                <a:gd name="T1" fmla="*/ 1 h 196"/>
                <a:gd name="T2" fmla="*/ 33 w 102"/>
                <a:gd name="T3" fmla="*/ 19 h 196"/>
                <a:gd name="T4" fmla="*/ 21 w 102"/>
                <a:gd name="T5" fmla="*/ 91 h 196"/>
                <a:gd name="T6" fmla="*/ 12 w 102"/>
                <a:gd name="T7" fmla="*/ 131 h 196"/>
                <a:gd name="T8" fmla="*/ 42 w 102"/>
                <a:gd name="T9" fmla="*/ 190 h 196"/>
                <a:gd name="T10" fmla="*/ 102 w 102"/>
                <a:gd name="T11" fmla="*/ 168 h 196"/>
                <a:gd name="T12" fmla="*/ 100 w 102"/>
                <a:gd name="T13" fmla="*/ 39 h 196"/>
                <a:gd name="T14" fmla="*/ 50 w 102"/>
                <a:gd name="T15" fmla="*/ 1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96">
                  <a:moveTo>
                    <a:pt x="50" y="1"/>
                  </a:moveTo>
                  <a:cubicBezTo>
                    <a:pt x="50" y="1"/>
                    <a:pt x="38" y="0"/>
                    <a:pt x="33" y="19"/>
                  </a:cubicBezTo>
                  <a:cubicBezTo>
                    <a:pt x="28" y="38"/>
                    <a:pt x="21" y="91"/>
                    <a:pt x="21" y="91"/>
                  </a:cubicBezTo>
                  <a:cubicBezTo>
                    <a:pt x="21" y="91"/>
                    <a:pt x="18" y="123"/>
                    <a:pt x="12" y="131"/>
                  </a:cubicBezTo>
                  <a:cubicBezTo>
                    <a:pt x="6" y="138"/>
                    <a:pt x="0" y="184"/>
                    <a:pt x="42" y="190"/>
                  </a:cubicBezTo>
                  <a:cubicBezTo>
                    <a:pt x="84" y="196"/>
                    <a:pt x="102" y="168"/>
                    <a:pt x="102" y="168"/>
                  </a:cubicBezTo>
                  <a:cubicBezTo>
                    <a:pt x="100" y="39"/>
                    <a:pt x="100" y="39"/>
                    <a:pt x="100" y="39"/>
                  </a:cubicBezTo>
                  <a:cubicBezTo>
                    <a:pt x="50" y="1"/>
                    <a:pt x="50" y="1"/>
                    <a:pt x="50" y="1"/>
                  </a:cubicBezTo>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Sḷiďè">
              <a:extLst>
                <a:ext uri="{FF2B5EF4-FFF2-40B4-BE49-F238E27FC236}">
                  <a16:creationId xmlns:a16="http://schemas.microsoft.com/office/drawing/2014/main" id="{EB397803-156E-47A2-8DF7-8EE42E3D0C76}"/>
                </a:ext>
              </a:extLst>
            </p:cNvPr>
            <p:cNvSpPr/>
            <p:nvPr/>
          </p:nvSpPr>
          <p:spPr bwMode="auto">
            <a:xfrm>
              <a:off x="7299325" y="5443538"/>
              <a:ext cx="134938" cy="319088"/>
            </a:xfrm>
            <a:custGeom>
              <a:avLst/>
              <a:gdLst>
                <a:gd name="T0" fmla="*/ 66 w 97"/>
                <a:gd name="T1" fmla="*/ 0 h 230"/>
                <a:gd name="T2" fmla="*/ 92 w 97"/>
                <a:gd name="T3" fmla="*/ 60 h 230"/>
                <a:gd name="T4" fmla="*/ 89 w 97"/>
                <a:gd name="T5" fmla="*/ 135 h 230"/>
                <a:gd name="T6" fmla="*/ 92 w 97"/>
                <a:gd name="T7" fmla="*/ 158 h 230"/>
                <a:gd name="T8" fmla="*/ 92 w 97"/>
                <a:gd name="T9" fmla="*/ 187 h 230"/>
                <a:gd name="T10" fmla="*/ 7 w 97"/>
                <a:gd name="T11" fmla="*/ 184 h 230"/>
                <a:gd name="T12" fmla="*/ 3 w 97"/>
                <a:gd name="T13" fmla="*/ 140 h 230"/>
                <a:gd name="T14" fmla="*/ 15 w 97"/>
                <a:gd name="T15" fmla="*/ 46 h 230"/>
                <a:gd name="T16" fmla="*/ 66 w 97"/>
                <a:gd name="T1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0">
                  <a:moveTo>
                    <a:pt x="66" y="0"/>
                  </a:moveTo>
                  <a:cubicBezTo>
                    <a:pt x="66" y="0"/>
                    <a:pt x="93" y="28"/>
                    <a:pt x="92" y="60"/>
                  </a:cubicBezTo>
                  <a:cubicBezTo>
                    <a:pt x="92" y="92"/>
                    <a:pt x="89" y="135"/>
                    <a:pt x="89" y="135"/>
                  </a:cubicBezTo>
                  <a:cubicBezTo>
                    <a:pt x="89" y="135"/>
                    <a:pt x="87" y="153"/>
                    <a:pt x="92" y="158"/>
                  </a:cubicBezTo>
                  <a:cubicBezTo>
                    <a:pt x="97" y="163"/>
                    <a:pt x="92" y="187"/>
                    <a:pt x="92" y="187"/>
                  </a:cubicBezTo>
                  <a:cubicBezTo>
                    <a:pt x="92" y="187"/>
                    <a:pt x="46" y="230"/>
                    <a:pt x="7" y="184"/>
                  </a:cubicBezTo>
                  <a:cubicBezTo>
                    <a:pt x="7" y="184"/>
                    <a:pt x="0" y="157"/>
                    <a:pt x="3" y="140"/>
                  </a:cubicBezTo>
                  <a:cubicBezTo>
                    <a:pt x="6" y="123"/>
                    <a:pt x="15" y="46"/>
                    <a:pt x="15" y="46"/>
                  </a:cubicBezTo>
                  <a:lnTo>
                    <a:pt x="66" y="0"/>
                  </a:lnTo>
                  <a:close/>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ṡḷïḍé">
              <a:extLst>
                <a:ext uri="{FF2B5EF4-FFF2-40B4-BE49-F238E27FC236}">
                  <a16:creationId xmlns:a16="http://schemas.microsoft.com/office/drawing/2014/main" id="{F60DFAB0-3EB0-475F-B641-4D5EAF07F0F8}"/>
                </a:ext>
              </a:extLst>
            </p:cNvPr>
            <p:cNvSpPr/>
            <p:nvPr/>
          </p:nvSpPr>
          <p:spPr bwMode="auto">
            <a:xfrm>
              <a:off x="7142163" y="4592638"/>
              <a:ext cx="338138" cy="1049338"/>
            </a:xfrm>
            <a:custGeom>
              <a:avLst/>
              <a:gdLst>
                <a:gd name="T0" fmla="*/ 244 w 244"/>
                <a:gd name="T1" fmla="*/ 27 h 755"/>
                <a:gd name="T2" fmla="*/ 206 w 244"/>
                <a:gd name="T3" fmla="*/ 118 h 755"/>
                <a:gd name="T4" fmla="*/ 187 w 244"/>
                <a:gd name="T5" fmla="*/ 166 h 755"/>
                <a:gd name="T6" fmla="*/ 177 w 244"/>
                <a:gd name="T7" fmla="*/ 229 h 755"/>
                <a:gd name="T8" fmla="*/ 174 w 244"/>
                <a:gd name="T9" fmla="*/ 272 h 755"/>
                <a:gd name="T10" fmla="*/ 148 w 244"/>
                <a:gd name="T11" fmla="*/ 493 h 755"/>
                <a:gd name="T12" fmla="*/ 107 w 244"/>
                <a:gd name="T13" fmla="*/ 545 h 755"/>
                <a:gd name="T14" fmla="*/ 92 w 244"/>
                <a:gd name="T15" fmla="*/ 597 h 755"/>
                <a:gd name="T16" fmla="*/ 84 w 244"/>
                <a:gd name="T17" fmla="*/ 644 h 755"/>
                <a:gd name="T18" fmla="*/ 82 w 244"/>
                <a:gd name="T19" fmla="*/ 703 h 755"/>
                <a:gd name="T20" fmla="*/ 82 w 244"/>
                <a:gd name="T21" fmla="*/ 749 h 755"/>
                <a:gd name="T22" fmla="*/ 2 w 244"/>
                <a:gd name="T23" fmla="*/ 744 h 755"/>
                <a:gd name="T24" fmla="*/ 11 w 244"/>
                <a:gd name="T25" fmla="*/ 692 h 755"/>
                <a:gd name="T26" fmla="*/ 18 w 244"/>
                <a:gd name="T27" fmla="*/ 651 h 755"/>
                <a:gd name="T28" fmla="*/ 27 w 244"/>
                <a:gd name="T29" fmla="*/ 621 h 755"/>
                <a:gd name="T30" fmla="*/ 33 w 244"/>
                <a:gd name="T31" fmla="*/ 595 h 755"/>
                <a:gd name="T32" fmla="*/ 44 w 244"/>
                <a:gd name="T33" fmla="*/ 561 h 755"/>
                <a:gd name="T34" fmla="*/ 60 w 244"/>
                <a:gd name="T35" fmla="*/ 354 h 755"/>
                <a:gd name="T36" fmla="*/ 110 w 244"/>
                <a:gd name="T37" fmla="*/ 0 h 755"/>
                <a:gd name="T38" fmla="*/ 244 w 244"/>
                <a:gd name="T39" fmla="*/ 27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755">
                  <a:moveTo>
                    <a:pt x="244" y="27"/>
                  </a:moveTo>
                  <a:cubicBezTo>
                    <a:pt x="244" y="27"/>
                    <a:pt x="218" y="101"/>
                    <a:pt x="206" y="118"/>
                  </a:cubicBezTo>
                  <a:cubicBezTo>
                    <a:pt x="195" y="135"/>
                    <a:pt x="187" y="166"/>
                    <a:pt x="187" y="166"/>
                  </a:cubicBezTo>
                  <a:cubicBezTo>
                    <a:pt x="177" y="229"/>
                    <a:pt x="177" y="229"/>
                    <a:pt x="177" y="229"/>
                  </a:cubicBezTo>
                  <a:cubicBezTo>
                    <a:pt x="175" y="243"/>
                    <a:pt x="174" y="258"/>
                    <a:pt x="174" y="272"/>
                  </a:cubicBezTo>
                  <a:cubicBezTo>
                    <a:pt x="174" y="286"/>
                    <a:pt x="148" y="493"/>
                    <a:pt x="148" y="493"/>
                  </a:cubicBezTo>
                  <a:cubicBezTo>
                    <a:pt x="107" y="545"/>
                    <a:pt x="107" y="545"/>
                    <a:pt x="107" y="545"/>
                  </a:cubicBezTo>
                  <a:cubicBezTo>
                    <a:pt x="107" y="545"/>
                    <a:pt x="89" y="582"/>
                    <a:pt x="92" y="597"/>
                  </a:cubicBezTo>
                  <a:cubicBezTo>
                    <a:pt x="95" y="613"/>
                    <a:pt x="90" y="637"/>
                    <a:pt x="84" y="644"/>
                  </a:cubicBezTo>
                  <a:cubicBezTo>
                    <a:pt x="84" y="644"/>
                    <a:pt x="83" y="692"/>
                    <a:pt x="82" y="703"/>
                  </a:cubicBezTo>
                  <a:cubicBezTo>
                    <a:pt x="80" y="714"/>
                    <a:pt x="87" y="744"/>
                    <a:pt x="82" y="749"/>
                  </a:cubicBezTo>
                  <a:cubicBezTo>
                    <a:pt x="76" y="755"/>
                    <a:pt x="4" y="752"/>
                    <a:pt x="2" y="744"/>
                  </a:cubicBezTo>
                  <a:cubicBezTo>
                    <a:pt x="0" y="735"/>
                    <a:pt x="11" y="692"/>
                    <a:pt x="11" y="692"/>
                  </a:cubicBezTo>
                  <a:cubicBezTo>
                    <a:pt x="18" y="651"/>
                    <a:pt x="18" y="651"/>
                    <a:pt x="18" y="651"/>
                  </a:cubicBezTo>
                  <a:cubicBezTo>
                    <a:pt x="18" y="651"/>
                    <a:pt x="30" y="629"/>
                    <a:pt x="27" y="621"/>
                  </a:cubicBezTo>
                  <a:cubicBezTo>
                    <a:pt x="24" y="614"/>
                    <a:pt x="33" y="597"/>
                    <a:pt x="33" y="595"/>
                  </a:cubicBezTo>
                  <a:cubicBezTo>
                    <a:pt x="34" y="594"/>
                    <a:pt x="47" y="570"/>
                    <a:pt x="44" y="561"/>
                  </a:cubicBezTo>
                  <a:cubicBezTo>
                    <a:pt x="42" y="551"/>
                    <a:pt x="60" y="354"/>
                    <a:pt x="60" y="354"/>
                  </a:cubicBezTo>
                  <a:cubicBezTo>
                    <a:pt x="110" y="0"/>
                    <a:pt x="110" y="0"/>
                    <a:pt x="110" y="0"/>
                  </a:cubicBezTo>
                  <a:cubicBezTo>
                    <a:pt x="244" y="27"/>
                    <a:pt x="244" y="27"/>
                    <a:pt x="244" y="27"/>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išḻïďè">
              <a:extLst>
                <a:ext uri="{FF2B5EF4-FFF2-40B4-BE49-F238E27FC236}">
                  <a16:creationId xmlns:a16="http://schemas.microsoft.com/office/drawing/2014/main" id="{4B7538D3-707C-42E6-AC29-97FA1820EA67}"/>
                </a:ext>
              </a:extLst>
            </p:cNvPr>
            <p:cNvSpPr/>
            <p:nvPr/>
          </p:nvSpPr>
          <p:spPr bwMode="auto">
            <a:xfrm>
              <a:off x="7370763" y="4659313"/>
              <a:ext cx="100013" cy="425450"/>
            </a:xfrm>
            <a:custGeom>
              <a:avLst/>
              <a:gdLst>
                <a:gd name="T0" fmla="*/ 2 w 72"/>
                <a:gd name="T1" fmla="*/ 291 h 307"/>
                <a:gd name="T2" fmla="*/ 0 w 72"/>
                <a:gd name="T3" fmla="*/ 307 h 307"/>
                <a:gd name="T4" fmla="*/ 0 w 72"/>
                <a:gd name="T5" fmla="*/ 307 h 307"/>
                <a:gd name="T6" fmla="*/ 0 w 72"/>
                <a:gd name="T7" fmla="*/ 307 h 307"/>
                <a:gd name="T8" fmla="*/ 2 w 72"/>
                <a:gd name="T9" fmla="*/ 291 h 307"/>
                <a:gd name="T10" fmla="*/ 9 w 72"/>
                <a:gd name="T11" fmla="*/ 223 h 307"/>
                <a:gd name="T12" fmla="*/ 9 w 72"/>
                <a:gd name="T13" fmla="*/ 225 h 307"/>
                <a:gd name="T14" fmla="*/ 9 w 72"/>
                <a:gd name="T15" fmla="*/ 225 h 307"/>
                <a:gd name="T16" fmla="*/ 9 w 72"/>
                <a:gd name="T17" fmla="*/ 223 h 307"/>
                <a:gd name="T18" fmla="*/ 41 w 72"/>
                <a:gd name="T19" fmla="*/ 71 h 307"/>
                <a:gd name="T20" fmla="*/ 29 w 72"/>
                <a:gd name="T21" fmla="*/ 97 h 307"/>
                <a:gd name="T22" fmla="*/ 41 w 72"/>
                <a:gd name="T23" fmla="*/ 71 h 307"/>
                <a:gd name="T24" fmla="*/ 72 w 72"/>
                <a:gd name="T25" fmla="*/ 0 h 307"/>
                <a:gd name="T26" fmla="*/ 70 w 72"/>
                <a:gd name="T27" fmla="*/ 6 h 307"/>
                <a:gd name="T28" fmla="*/ 70 w 72"/>
                <a:gd name="T29" fmla="*/ 6 h 307"/>
                <a:gd name="T30" fmla="*/ 41 w 72"/>
                <a:gd name="T31" fmla="*/ 71 h 307"/>
                <a:gd name="T32" fmla="*/ 70 w 72"/>
                <a:gd name="T33" fmla="*/ 6 h 307"/>
                <a:gd name="T34" fmla="*/ 72 w 72"/>
                <a:gd name="T35" fmla="*/ 0 h 307"/>
                <a:gd name="T36" fmla="*/ 72 w 72"/>
                <a:gd name="T3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307">
                  <a:moveTo>
                    <a:pt x="2" y="291"/>
                  </a:moveTo>
                  <a:cubicBezTo>
                    <a:pt x="1" y="296"/>
                    <a:pt x="1" y="302"/>
                    <a:pt x="0" y="307"/>
                  </a:cubicBezTo>
                  <a:cubicBezTo>
                    <a:pt x="0" y="307"/>
                    <a:pt x="0" y="307"/>
                    <a:pt x="0" y="307"/>
                  </a:cubicBezTo>
                  <a:cubicBezTo>
                    <a:pt x="0" y="307"/>
                    <a:pt x="0" y="307"/>
                    <a:pt x="0" y="307"/>
                  </a:cubicBezTo>
                  <a:cubicBezTo>
                    <a:pt x="1" y="302"/>
                    <a:pt x="1" y="296"/>
                    <a:pt x="2" y="291"/>
                  </a:cubicBezTo>
                  <a:moveTo>
                    <a:pt x="9" y="223"/>
                  </a:moveTo>
                  <a:cubicBezTo>
                    <a:pt x="9" y="224"/>
                    <a:pt x="9" y="224"/>
                    <a:pt x="9" y="225"/>
                  </a:cubicBezTo>
                  <a:cubicBezTo>
                    <a:pt x="9" y="225"/>
                    <a:pt x="9" y="225"/>
                    <a:pt x="9" y="225"/>
                  </a:cubicBezTo>
                  <a:cubicBezTo>
                    <a:pt x="9" y="224"/>
                    <a:pt x="9" y="224"/>
                    <a:pt x="9" y="223"/>
                  </a:cubicBezTo>
                  <a:moveTo>
                    <a:pt x="41" y="71"/>
                  </a:moveTo>
                  <a:cubicBezTo>
                    <a:pt x="37" y="79"/>
                    <a:pt x="32" y="88"/>
                    <a:pt x="29" y="97"/>
                  </a:cubicBezTo>
                  <a:cubicBezTo>
                    <a:pt x="33" y="88"/>
                    <a:pt x="37" y="79"/>
                    <a:pt x="41" y="71"/>
                  </a:cubicBezTo>
                  <a:moveTo>
                    <a:pt x="72" y="0"/>
                  </a:moveTo>
                  <a:cubicBezTo>
                    <a:pt x="71" y="2"/>
                    <a:pt x="70" y="4"/>
                    <a:pt x="70" y="6"/>
                  </a:cubicBezTo>
                  <a:cubicBezTo>
                    <a:pt x="70" y="6"/>
                    <a:pt x="70" y="6"/>
                    <a:pt x="70" y="6"/>
                  </a:cubicBezTo>
                  <a:cubicBezTo>
                    <a:pt x="61" y="29"/>
                    <a:pt x="48" y="61"/>
                    <a:pt x="41" y="71"/>
                  </a:cubicBezTo>
                  <a:cubicBezTo>
                    <a:pt x="48" y="61"/>
                    <a:pt x="61" y="29"/>
                    <a:pt x="70" y="6"/>
                  </a:cubicBezTo>
                  <a:cubicBezTo>
                    <a:pt x="70" y="4"/>
                    <a:pt x="71" y="2"/>
                    <a:pt x="72" y="0"/>
                  </a:cubicBezTo>
                  <a:cubicBezTo>
                    <a:pt x="72" y="0"/>
                    <a:pt x="72" y="0"/>
                    <a:pt x="72"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ṥľïḍé">
              <a:extLst>
                <a:ext uri="{FF2B5EF4-FFF2-40B4-BE49-F238E27FC236}">
                  <a16:creationId xmlns:a16="http://schemas.microsoft.com/office/drawing/2014/main" id="{0A3561A0-260A-4C70-8294-2D941A98EA22}"/>
                </a:ext>
              </a:extLst>
            </p:cNvPr>
            <p:cNvSpPr/>
            <p:nvPr/>
          </p:nvSpPr>
          <p:spPr bwMode="auto">
            <a:xfrm>
              <a:off x="7332663" y="4660901"/>
              <a:ext cx="134938" cy="423863"/>
            </a:xfrm>
            <a:custGeom>
              <a:avLst/>
              <a:gdLst>
                <a:gd name="T0" fmla="*/ 0 w 97"/>
                <a:gd name="T1" fmla="*/ 0 h 305"/>
                <a:gd name="T2" fmla="*/ 0 w 97"/>
                <a:gd name="T3" fmla="*/ 0 h 305"/>
                <a:gd name="T4" fmla="*/ 0 w 97"/>
                <a:gd name="T5" fmla="*/ 1 h 305"/>
                <a:gd name="T6" fmla="*/ 10 w 97"/>
                <a:gd name="T7" fmla="*/ 109 h 305"/>
                <a:gd name="T8" fmla="*/ 20 w 97"/>
                <a:gd name="T9" fmla="*/ 203 h 305"/>
                <a:gd name="T10" fmla="*/ 19 w 97"/>
                <a:gd name="T11" fmla="*/ 252 h 305"/>
                <a:gd name="T12" fmla="*/ 27 w 97"/>
                <a:gd name="T13" fmla="*/ 305 h 305"/>
                <a:gd name="T14" fmla="*/ 29 w 97"/>
                <a:gd name="T15" fmla="*/ 289 h 305"/>
                <a:gd name="T16" fmla="*/ 36 w 97"/>
                <a:gd name="T17" fmla="*/ 223 h 305"/>
                <a:gd name="T18" fmla="*/ 36 w 97"/>
                <a:gd name="T19" fmla="*/ 223 h 305"/>
                <a:gd name="T20" fmla="*/ 36 w 97"/>
                <a:gd name="T21" fmla="*/ 223 h 305"/>
                <a:gd name="T22" fmla="*/ 36 w 97"/>
                <a:gd name="T23" fmla="*/ 221 h 305"/>
                <a:gd name="T24" fmla="*/ 39 w 97"/>
                <a:gd name="T25" fmla="*/ 180 h 305"/>
                <a:gd name="T26" fmla="*/ 49 w 97"/>
                <a:gd name="T27" fmla="*/ 117 h 305"/>
                <a:gd name="T28" fmla="*/ 56 w 97"/>
                <a:gd name="T29" fmla="*/ 95 h 305"/>
                <a:gd name="T30" fmla="*/ 68 w 97"/>
                <a:gd name="T31" fmla="*/ 69 h 305"/>
                <a:gd name="T32" fmla="*/ 68 w 97"/>
                <a:gd name="T33" fmla="*/ 69 h 305"/>
                <a:gd name="T34" fmla="*/ 68 w 97"/>
                <a:gd name="T35" fmla="*/ 69 h 305"/>
                <a:gd name="T36" fmla="*/ 97 w 97"/>
                <a:gd name="T37" fmla="*/ 4 h 305"/>
                <a:gd name="T38" fmla="*/ 0 w 97"/>
                <a:gd name="T3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305">
                  <a:moveTo>
                    <a:pt x="0" y="0"/>
                  </a:moveTo>
                  <a:cubicBezTo>
                    <a:pt x="0" y="0"/>
                    <a:pt x="0" y="0"/>
                    <a:pt x="0" y="0"/>
                  </a:cubicBezTo>
                  <a:cubicBezTo>
                    <a:pt x="0" y="0"/>
                    <a:pt x="0" y="1"/>
                    <a:pt x="0" y="1"/>
                  </a:cubicBezTo>
                  <a:cubicBezTo>
                    <a:pt x="0" y="34"/>
                    <a:pt x="5" y="93"/>
                    <a:pt x="10" y="109"/>
                  </a:cubicBezTo>
                  <a:cubicBezTo>
                    <a:pt x="17" y="131"/>
                    <a:pt x="23" y="197"/>
                    <a:pt x="20" y="203"/>
                  </a:cubicBezTo>
                  <a:cubicBezTo>
                    <a:pt x="18" y="210"/>
                    <a:pt x="19" y="252"/>
                    <a:pt x="19" y="252"/>
                  </a:cubicBezTo>
                  <a:cubicBezTo>
                    <a:pt x="24" y="270"/>
                    <a:pt x="26" y="287"/>
                    <a:pt x="27" y="305"/>
                  </a:cubicBezTo>
                  <a:cubicBezTo>
                    <a:pt x="28" y="300"/>
                    <a:pt x="28" y="294"/>
                    <a:pt x="29" y="289"/>
                  </a:cubicBezTo>
                  <a:cubicBezTo>
                    <a:pt x="33" y="255"/>
                    <a:pt x="36" y="228"/>
                    <a:pt x="36" y="223"/>
                  </a:cubicBezTo>
                  <a:cubicBezTo>
                    <a:pt x="36" y="223"/>
                    <a:pt x="36" y="223"/>
                    <a:pt x="36" y="223"/>
                  </a:cubicBezTo>
                  <a:cubicBezTo>
                    <a:pt x="36" y="223"/>
                    <a:pt x="36" y="223"/>
                    <a:pt x="36" y="223"/>
                  </a:cubicBezTo>
                  <a:cubicBezTo>
                    <a:pt x="36" y="222"/>
                    <a:pt x="36" y="222"/>
                    <a:pt x="36" y="221"/>
                  </a:cubicBezTo>
                  <a:cubicBezTo>
                    <a:pt x="36" y="208"/>
                    <a:pt x="37" y="194"/>
                    <a:pt x="39" y="180"/>
                  </a:cubicBezTo>
                  <a:cubicBezTo>
                    <a:pt x="49" y="117"/>
                    <a:pt x="49" y="117"/>
                    <a:pt x="49" y="117"/>
                  </a:cubicBezTo>
                  <a:cubicBezTo>
                    <a:pt x="49" y="117"/>
                    <a:pt x="52" y="107"/>
                    <a:pt x="56" y="95"/>
                  </a:cubicBezTo>
                  <a:cubicBezTo>
                    <a:pt x="59" y="86"/>
                    <a:pt x="64" y="77"/>
                    <a:pt x="68" y="69"/>
                  </a:cubicBezTo>
                  <a:cubicBezTo>
                    <a:pt x="68" y="69"/>
                    <a:pt x="68" y="69"/>
                    <a:pt x="68" y="69"/>
                  </a:cubicBezTo>
                  <a:cubicBezTo>
                    <a:pt x="68" y="69"/>
                    <a:pt x="68" y="69"/>
                    <a:pt x="68" y="69"/>
                  </a:cubicBezTo>
                  <a:cubicBezTo>
                    <a:pt x="75" y="59"/>
                    <a:pt x="88" y="27"/>
                    <a:pt x="97" y="4"/>
                  </a:cubicBezTo>
                  <a:cubicBezTo>
                    <a:pt x="70" y="2"/>
                    <a:pt x="34" y="1"/>
                    <a:pt x="0"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išlíḑe">
              <a:extLst>
                <a:ext uri="{FF2B5EF4-FFF2-40B4-BE49-F238E27FC236}">
                  <a16:creationId xmlns:a16="http://schemas.microsoft.com/office/drawing/2014/main" id="{6545C25C-FFAF-401E-849C-4B162AEDF945}"/>
                </a:ext>
              </a:extLst>
            </p:cNvPr>
            <p:cNvSpPr/>
            <p:nvPr/>
          </p:nvSpPr>
          <p:spPr bwMode="auto">
            <a:xfrm>
              <a:off x="7202488" y="5124451"/>
              <a:ext cx="82550" cy="252413"/>
            </a:xfrm>
            <a:custGeom>
              <a:avLst/>
              <a:gdLst>
                <a:gd name="T0" fmla="*/ 58 w 59"/>
                <a:gd name="T1" fmla="*/ 174 h 182"/>
                <a:gd name="T2" fmla="*/ 55 w 59"/>
                <a:gd name="T3" fmla="*/ 182 h 182"/>
                <a:gd name="T4" fmla="*/ 59 w 59"/>
                <a:gd name="T5" fmla="*/ 174 h 182"/>
                <a:gd name="T6" fmla="*/ 58 w 59"/>
                <a:gd name="T7" fmla="*/ 174 h 182"/>
                <a:gd name="T8" fmla="*/ 13 w 59"/>
                <a:gd name="T9" fmla="*/ 0 h 182"/>
                <a:gd name="T10" fmla="*/ 13 w 59"/>
                <a:gd name="T11" fmla="*/ 1 h 182"/>
                <a:gd name="T12" fmla="*/ 0 w 59"/>
                <a:gd name="T13" fmla="*/ 176 h 182"/>
                <a:gd name="T14" fmla="*/ 13 w 59"/>
                <a:gd name="T15" fmla="*/ 1 h 182"/>
                <a:gd name="T16" fmla="*/ 13 w 59"/>
                <a:gd name="T17" fmla="*/ 1 h 182"/>
                <a:gd name="T18" fmla="*/ 13 w 59"/>
                <a:gd name="T19"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82">
                  <a:moveTo>
                    <a:pt x="58" y="174"/>
                  </a:moveTo>
                  <a:cubicBezTo>
                    <a:pt x="57" y="176"/>
                    <a:pt x="56" y="179"/>
                    <a:pt x="55" y="182"/>
                  </a:cubicBezTo>
                  <a:cubicBezTo>
                    <a:pt x="56" y="179"/>
                    <a:pt x="57" y="176"/>
                    <a:pt x="59" y="174"/>
                  </a:cubicBezTo>
                  <a:cubicBezTo>
                    <a:pt x="58" y="174"/>
                    <a:pt x="58" y="174"/>
                    <a:pt x="58" y="174"/>
                  </a:cubicBezTo>
                  <a:moveTo>
                    <a:pt x="13" y="0"/>
                  </a:moveTo>
                  <a:cubicBezTo>
                    <a:pt x="13" y="0"/>
                    <a:pt x="13" y="0"/>
                    <a:pt x="13" y="1"/>
                  </a:cubicBezTo>
                  <a:cubicBezTo>
                    <a:pt x="9" y="53"/>
                    <a:pt x="0" y="159"/>
                    <a:pt x="0" y="176"/>
                  </a:cubicBezTo>
                  <a:cubicBezTo>
                    <a:pt x="0" y="159"/>
                    <a:pt x="9" y="53"/>
                    <a:pt x="13" y="1"/>
                  </a:cubicBezTo>
                  <a:cubicBezTo>
                    <a:pt x="13" y="1"/>
                    <a:pt x="13" y="1"/>
                    <a:pt x="13" y="1"/>
                  </a:cubicBezTo>
                  <a:cubicBezTo>
                    <a:pt x="13" y="1"/>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Sľídè">
              <a:extLst>
                <a:ext uri="{FF2B5EF4-FFF2-40B4-BE49-F238E27FC236}">
                  <a16:creationId xmlns:a16="http://schemas.microsoft.com/office/drawing/2014/main" id="{9CB5D8FC-1F70-46AC-830C-11FABE880B2A}"/>
                </a:ext>
              </a:extLst>
            </p:cNvPr>
            <p:cNvSpPr/>
            <p:nvPr/>
          </p:nvSpPr>
          <p:spPr bwMode="auto">
            <a:xfrm>
              <a:off x="7180263" y="5400676"/>
              <a:ext cx="17463" cy="38100"/>
            </a:xfrm>
            <a:custGeom>
              <a:avLst/>
              <a:gdLst>
                <a:gd name="T0" fmla="*/ 12 w 12"/>
                <a:gd name="T1" fmla="*/ 0 h 27"/>
                <a:gd name="T2" fmla="*/ 12 w 12"/>
                <a:gd name="T3" fmla="*/ 0 h 27"/>
                <a:gd name="T4" fmla="*/ 5 w 12"/>
                <a:gd name="T5" fmla="*/ 14 h 27"/>
                <a:gd name="T6" fmla="*/ 0 w 12"/>
                <a:gd name="T7" fmla="*/ 27 h 27"/>
                <a:gd name="T8" fmla="*/ 0 w 12"/>
                <a:gd name="T9" fmla="*/ 27 h 27"/>
                <a:gd name="T10" fmla="*/ 5 w 12"/>
                <a:gd name="T11" fmla="*/ 14 h 27"/>
                <a:gd name="T12" fmla="*/ 12 w 12"/>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12" y="0"/>
                  </a:moveTo>
                  <a:cubicBezTo>
                    <a:pt x="12" y="0"/>
                    <a:pt x="12" y="0"/>
                    <a:pt x="12" y="0"/>
                  </a:cubicBezTo>
                  <a:cubicBezTo>
                    <a:pt x="9" y="7"/>
                    <a:pt x="5" y="14"/>
                    <a:pt x="5" y="14"/>
                  </a:cubicBezTo>
                  <a:cubicBezTo>
                    <a:pt x="5" y="15"/>
                    <a:pt x="2" y="21"/>
                    <a:pt x="0" y="27"/>
                  </a:cubicBezTo>
                  <a:cubicBezTo>
                    <a:pt x="0" y="27"/>
                    <a:pt x="0" y="27"/>
                    <a:pt x="0" y="27"/>
                  </a:cubicBezTo>
                  <a:cubicBezTo>
                    <a:pt x="2" y="21"/>
                    <a:pt x="5" y="15"/>
                    <a:pt x="5" y="14"/>
                  </a:cubicBezTo>
                  <a:cubicBezTo>
                    <a:pt x="5" y="14"/>
                    <a:pt x="9" y="7"/>
                    <a:pt x="1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şliḍè">
              <a:extLst>
                <a:ext uri="{FF2B5EF4-FFF2-40B4-BE49-F238E27FC236}">
                  <a16:creationId xmlns:a16="http://schemas.microsoft.com/office/drawing/2014/main" id="{E177208F-9A04-430F-9B80-D7C215550F3D}"/>
                </a:ext>
              </a:extLst>
            </p:cNvPr>
            <p:cNvSpPr/>
            <p:nvPr/>
          </p:nvSpPr>
          <p:spPr bwMode="auto">
            <a:xfrm>
              <a:off x="7197725" y="5375276"/>
              <a:ext cx="6350" cy="25400"/>
            </a:xfrm>
            <a:custGeom>
              <a:avLst/>
              <a:gdLst>
                <a:gd name="T0" fmla="*/ 5 w 5"/>
                <a:gd name="T1" fmla="*/ 0 h 18"/>
                <a:gd name="T2" fmla="*/ 0 w 5"/>
                <a:gd name="T3" fmla="*/ 18 h 18"/>
                <a:gd name="T4" fmla="*/ 0 w 5"/>
                <a:gd name="T5" fmla="*/ 18 h 18"/>
                <a:gd name="T6" fmla="*/ 5 w 5"/>
                <a:gd name="T7" fmla="*/ 0 h 18"/>
              </a:gdLst>
              <a:ahLst/>
              <a:cxnLst>
                <a:cxn ang="0">
                  <a:pos x="T0" y="T1"/>
                </a:cxn>
                <a:cxn ang="0">
                  <a:pos x="T2" y="T3"/>
                </a:cxn>
                <a:cxn ang="0">
                  <a:pos x="T4" y="T5"/>
                </a:cxn>
                <a:cxn ang="0">
                  <a:pos x="T6" y="T7"/>
                </a:cxn>
              </a:cxnLst>
              <a:rect l="0" t="0" r="r" b="b"/>
              <a:pathLst>
                <a:path w="5" h="18">
                  <a:moveTo>
                    <a:pt x="5" y="0"/>
                  </a:moveTo>
                  <a:cubicBezTo>
                    <a:pt x="5" y="5"/>
                    <a:pt x="2" y="12"/>
                    <a:pt x="0" y="18"/>
                  </a:cubicBezTo>
                  <a:cubicBezTo>
                    <a:pt x="0" y="18"/>
                    <a:pt x="0" y="18"/>
                    <a:pt x="0" y="18"/>
                  </a:cubicBezTo>
                  <a:cubicBezTo>
                    <a:pt x="2" y="12"/>
                    <a:pt x="5" y="5"/>
                    <a:pt x="5"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îṧľïḑè">
              <a:extLst>
                <a:ext uri="{FF2B5EF4-FFF2-40B4-BE49-F238E27FC236}">
                  <a16:creationId xmlns:a16="http://schemas.microsoft.com/office/drawing/2014/main" id="{6EAA924A-D78E-488E-B373-72BE6A8886C0}"/>
                </a:ext>
              </a:extLst>
            </p:cNvPr>
            <p:cNvSpPr/>
            <p:nvPr/>
          </p:nvSpPr>
          <p:spPr bwMode="auto">
            <a:xfrm>
              <a:off x="7269163" y="5419726"/>
              <a:ext cx="1588" cy="19050"/>
            </a:xfrm>
            <a:custGeom>
              <a:avLst/>
              <a:gdLst>
                <a:gd name="T0" fmla="*/ 0 w 1"/>
                <a:gd name="T1" fmla="*/ 0 h 13"/>
                <a:gd name="T2" fmla="*/ 0 w 1"/>
                <a:gd name="T3" fmla="*/ 2 h 13"/>
                <a:gd name="T4" fmla="*/ 1 w 1"/>
                <a:gd name="T5" fmla="*/ 13 h 13"/>
                <a:gd name="T6" fmla="*/ 0 w 1"/>
                <a:gd name="T7" fmla="*/ 2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1"/>
                    <a:pt x="0" y="2"/>
                    <a:pt x="0" y="2"/>
                  </a:cubicBezTo>
                  <a:cubicBezTo>
                    <a:pt x="1" y="5"/>
                    <a:pt x="1" y="9"/>
                    <a:pt x="1" y="13"/>
                  </a:cubicBezTo>
                  <a:cubicBezTo>
                    <a:pt x="1" y="9"/>
                    <a:pt x="1" y="5"/>
                    <a:pt x="0" y="2"/>
                  </a:cubicBezTo>
                  <a:cubicBezTo>
                    <a:pt x="0" y="1"/>
                    <a:pt x="0" y="1"/>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sliḋê">
              <a:extLst>
                <a:ext uri="{FF2B5EF4-FFF2-40B4-BE49-F238E27FC236}">
                  <a16:creationId xmlns:a16="http://schemas.microsoft.com/office/drawing/2014/main" id="{B9ED2A32-4F9B-403C-952C-963280A56213}"/>
                </a:ext>
              </a:extLst>
            </p:cNvPr>
            <p:cNvSpPr/>
            <p:nvPr/>
          </p:nvSpPr>
          <p:spPr bwMode="auto">
            <a:xfrm>
              <a:off x="7143750" y="5438776"/>
              <a:ext cx="114300" cy="184150"/>
            </a:xfrm>
            <a:custGeom>
              <a:avLst/>
              <a:gdLst>
                <a:gd name="T0" fmla="*/ 79 w 82"/>
                <a:gd name="T1" fmla="*/ 97 h 133"/>
                <a:gd name="T2" fmla="*/ 82 w 82"/>
                <a:gd name="T3" fmla="*/ 133 h 133"/>
                <a:gd name="T4" fmla="*/ 79 w 82"/>
                <a:gd name="T5" fmla="*/ 97 h 133"/>
                <a:gd name="T6" fmla="*/ 25 w 82"/>
                <a:gd name="T7" fmla="*/ 14 h 133"/>
                <a:gd name="T8" fmla="*/ 16 w 82"/>
                <a:gd name="T9" fmla="*/ 43 h 133"/>
                <a:gd name="T10" fmla="*/ 9 w 82"/>
                <a:gd name="T11" fmla="*/ 84 h 133"/>
                <a:gd name="T12" fmla="*/ 0 w 82"/>
                <a:gd name="T13" fmla="*/ 133 h 133"/>
                <a:gd name="T14" fmla="*/ 9 w 82"/>
                <a:gd name="T15" fmla="*/ 84 h 133"/>
                <a:gd name="T16" fmla="*/ 16 w 82"/>
                <a:gd name="T17" fmla="*/ 43 h 133"/>
                <a:gd name="T18" fmla="*/ 25 w 82"/>
                <a:gd name="T19" fmla="*/ 14 h 133"/>
                <a:gd name="T20" fmla="*/ 26 w 82"/>
                <a:gd name="T21" fmla="*/ 0 h 133"/>
                <a:gd name="T22" fmla="*/ 26 w 82"/>
                <a:gd name="T23" fmla="*/ 0 h 133"/>
                <a:gd name="T24" fmla="*/ 25 w 82"/>
                <a:gd name="T25" fmla="*/ 13 h 133"/>
                <a:gd name="T26" fmla="*/ 26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79" y="97"/>
                  </a:moveTo>
                  <a:cubicBezTo>
                    <a:pt x="79" y="106"/>
                    <a:pt x="82" y="123"/>
                    <a:pt x="82" y="133"/>
                  </a:cubicBezTo>
                  <a:cubicBezTo>
                    <a:pt x="82" y="123"/>
                    <a:pt x="79" y="106"/>
                    <a:pt x="79" y="97"/>
                  </a:cubicBezTo>
                  <a:moveTo>
                    <a:pt x="25" y="14"/>
                  </a:moveTo>
                  <a:cubicBezTo>
                    <a:pt x="28" y="21"/>
                    <a:pt x="16" y="43"/>
                    <a:pt x="16" y="43"/>
                  </a:cubicBezTo>
                  <a:cubicBezTo>
                    <a:pt x="9" y="84"/>
                    <a:pt x="9" y="84"/>
                    <a:pt x="9" y="84"/>
                  </a:cubicBezTo>
                  <a:cubicBezTo>
                    <a:pt x="9" y="84"/>
                    <a:pt x="0" y="120"/>
                    <a:pt x="0" y="133"/>
                  </a:cubicBezTo>
                  <a:cubicBezTo>
                    <a:pt x="0" y="120"/>
                    <a:pt x="9" y="84"/>
                    <a:pt x="9" y="84"/>
                  </a:cubicBezTo>
                  <a:cubicBezTo>
                    <a:pt x="16" y="43"/>
                    <a:pt x="16" y="43"/>
                    <a:pt x="16" y="43"/>
                  </a:cubicBezTo>
                  <a:cubicBezTo>
                    <a:pt x="16" y="43"/>
                    <a:pt x="28" y="21"/>
                    <a:pt x="25" y="14"/>
                  </a:cubicBezTo>
                  <a:moveTo>
                    <a:pt x="26" y="0"/>
                  </a:moveTo>
                  <a:cubicBezTo>
                    <a:pt x="26" y="0"/>
                    <a:pt x="26" y="0"/>
                    <a:pt x="26" y="0"/>
                  </a:cubicBezTo>
                  <a:cubicBezTo>
                    <a:pt x="25" y="4"/>
                    <a:pt x="24" y="10"/>
                    <a:pt x="25" y="13"/>
                  </a:cubicBezTo>
                  <a:cubicBezTo>
                    <a:pt x="24" y="10"/>
                    <a:pt x="25" y="4"/>
                    <a:pt x="26"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îšļiďê">
              <a:extLst>
                <a:ext uri="{FF2B5EF4-FFF2-40B4-BE49-F238E27FC236}">
                  <a16:creationId xmlns:a16="http://schemas.microsoft.com/office/drawing/2014/main" id="{57D01C44-B29A-4637-BC72-32B89D800644}"/>
                </a:ext>
              </a:extLst>
            </p:cNvPr>
            <p:cNvSpPr/>
            <p:nvPr/>
          </p:nvSpPr>
          <p:spPr bwMode="auto">
            <a:xfrm>
              <a:off x="7143750" y="5126038"/>
              <a:ext cx="139700" cy="512763"/>
            </a:xfrm>
            <a:custGeom>
              <a:avLst/>
              <a:gdLst>
                <a:gd name="T0" fmla="*/ 55 w 100"/>
                <a:gd name="T1" fmla="*/ 0 h 369"/>
                <a:gd name="T2" fmla="*/ 42 w 100"/>
                <a:gd name="T3" fmla="*/ 175 h 369"/>
                <a:gd name="T4" fmla="*/ 42 w 100"/>
                <a:gd name="T5" fmla="*/ 178 h 369"/>
                <a:gd name="T6" fmla="*/ 43 w 100"/>
                <a:gd name="T7" fmla="*/ 180 h 369"/>
                <a:gd name="T8" fmla="*/ 38 w 100"/>
                <a:gd name="T9" fmla="*/ 198 h 369"/>
                <a:gd name="T10" fmla="*/ 31 w 100"/>
                <a:gd name="T11" fmla="*/ 212 h 369"/>
                <a:gd name="T12" fmla="*/ 26 w 100"/>
                <a:gd name="T13" fmla="*/ 225 h 369"/>
                <a:gd name="T14" fmla="*/ 25 w 100"/>
                <a:gd name="T15" fmla="*/ 238 h 369"/>
                <a:gd name="T16" fmla="*/ 25 w 100"/>
                <a:gd name="T17" fmla="*/ 238 h 369"/>
                <a:gd name="T18" fmla="*/ 25 w 100"/>
                <a:gd name="T19" fmla="*/ 239 h 369"/>
                <a:gd name="T20" fmla="*/ 16 w 100"/>
                <a:gd name="T21" fmla="*/ 268 h 369"/>
                <a:gd name="T22" fmla="*/ 9 w 100"/>
                <a:gd name="T23" fmla="*/ 309 h 369"/>
                <a:gd name="T24" fmla="*/ 0 w 100"/>
                <a:gd name="T25" fmla="*/ 358 h 369"/>
                <a:gd name="T26" fmla="*/ 0 w 100"/>
                <a:gd name="T27" fmla="*/ 360 h 369"/>
                <a:gd name="T28" fmla="*/ 55 w 100"/>
                <a:gd name="T29" fmla="*/ 369 h 369"/>
                <a:gd name="T30" fmla="*/ 80 w 100"/>
                <a:gd name="T31" fmla="*/ 366 h 369"/>
                <a:gd name="T32" fmla="*/ 82 w 100"/>
                <a:gd name="T33" fmla="*/ 358 h 369"/>
                <a:gd name="T34" fmla="*/ 79 w 100"/>
                <a:gd name="T35" fmla="*/ 322 h 369"/>
                <a:gd name="T36" fmla="*/ 80 w 100"/>
                <a:gd name="T37" fmla="*/ 320 h 369"/>
                <a:gd name="T38" fmla="*/ 82 w 100"/>
                <a:gd name="T39" fmla="*/ 261 h 369"/>
                <a:gd name="T40" fmla="*/ 91 w 100"/>
                <a:gd name="T41" fmla="*/ 225 h 369"/>
                <a:gd name="T42" fmla="*/ 90 w 100"/>
                <a:gd name="T43" fmla="*/ 214 h 369"/>
                <a:gd name="T44" fmla="*/ 90 w 100"/>
                <a:gd name="T45" fmla="*/ 212 h 369"/>
                <a:gd name="T46" fmla="*/ 97 w 100"/>
                <a:gd name="T47" fmla="*/ 181 h 369"/>
                <a:gd name="T48" fmla="*/ 100 w 100"/>
                <a:gd name="T49" fmla="*/ 173 h 369"/>
                <a:gd name="T50" fmla="*/ 93 w 100"/>
                <a:gd name="T51" fmla="*/ 151 h 369"/>
                <a:gd name="T52" fmla="*/ 55 w 100"/>
                <a:gd name="T5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69">
                  <a:moveTo>
                    <a:pt x="55" y="0"/>
                  </a:moveTo>
                  <a:cubicBezTo>
                    <a:pt x="51" y="52"/>
                    <a:pt x="42" y="158"/>
                    <a:pt x="42" y="175"/>
                  </a:cubicBezTo>
                  <a:cubicBezTo>
                    <a:pt x="42" y="176"/>
                    <a:pt x="42" y="177"/>
                    <a:pt x="42" y="178"/>
                  </a:cubicBezTo>
                  <a:cubicBezTo>
                    <a:pt x="43" y="178"/>
                    <a:pt x="43" y="179"/>
                    <a:pt x="43" y="180"/>
                  </a:cubicBezTo>
                  <a:cubicBezTo>
                    <a:pt x="43" y="185"/>
                    <a:pt x="40" y="192"/>
                    <a:pt x="38" y="198"/>
                  </a:cubicBezTo>
                  <a:cubicBezTo>
                    <a:pt x="35" y="205"/>
                    <a:pt x="31" y="212"/>
                    <a:pt x="31" y="212"/>
                  </a:cubicBezTo>
                  <a:cubicBezTo>
                    <a:pt x="31" y="213"/>
                    <a:pt x="28" y="219"/>
                    <a:pt x="26" y="225"/>
                  </a:cubicBezTo>
                  <a:cubicBezTo>
                    <a:pt x="25" y="229"/>
                    <a:pt x="24" y="235"/>
                    <a:pt x="25" y="238"/>
                  </a:cubicBezTo>
                  <a:cubicBezTo>
                    <a:pt x="25" y="238"/>
                    <a:pt x="25" y="238"/>
                    <a:pt x="25" y="238"/>
                  </a:cubicBezTo>
                  <a:cubicBezTo>
                    <a:pt x="25" y="238"/>
                    <a:pt x="25" y="238"/>
                    <a:pt x="25" y="239"/>
                  </a:cubicBezTo>
                  <a:cubicBezTo>
                    <a:pt x="28" y="246"/>
                    <a:pt x="16" y="268"/>
                    <a:pt x="16" y="268"/>
                  </a:cubicBezTo>
                  <a:cubicBezTo>
                    <a:pt x="9" y="309"/>
                    <a:pt x="9" y="309"/>
                    <a:pt x="9" y="309"/>
                  </a:cubicBezTo>
                  <a:cubicBezTo>
                    <a:pt x="9" y="309"/>
                    <a:pt x="0" y="345"/>
                    <a:pt x="0" y="358"/>
                  </a:cubicBezTo>
                  <a:cubicBezTo>
                    <a:pt x="0" y="359"/>
                    <a:pt x="0" y="360"/>
                    <a:pt x="0" y="360"/>
                  </a:cubicBezTo>
                  <a:cubicBezTo>
                    <a:pt x="2" y="366"/>
                    <a:pt x="32" y="369"/>
                    <a:pt x="55" y="369"/>
                  </a:cubicBezTo>
                  <a:cubicBezTo>
                    <a:pt x="67" y="369"/>
                    <a:pt x="78" y="368"/>
                    <a:pt x="80" y="366"/>
                  </a:cubicBezTo>
                  <a:cubicBezTo>
                    <a:pt x="81" y="365"/>
                    <a:pt x="82" y="362"/>
                    <a:pt x="82" y="358"/>
                  </a:cubicBezTo>
                  <a:cubicBezTo>
                    <a:pt x="82" y="348"/>
                    <a:pt x="79" y="331"/>
                    <a:pt x="79" y="322"/>
                  </a:cubicBezTo>
                  <a:cubicBezTo>
                    <a:pt x="79" y="321"/>
                    <a:pt x="80" y="320"/>
                    <a:pt x="80" y="320"/>
                  </a:cubicBezTo>
                  <a:cubicBezTo>
                    <a:pt x="81" y="309"/>
                    <a:pt x="82" y="261"/>
                    <a:pt x="82" y="261"/>
                  </a:cubicBezTo>
                  <a:cubicBezTo>
                    <a:pt x="87" y="255"/>
                    <a:pt x="91" y="239"/>
                    <a:pt x="91" y="225"/>
                  </a:cubicBezTo>
                  <a:cubicBezTo>
                    <a:pt x="91" y="221"/>
                    <a:pt x="91" y="217"/>
                    <a:pt x="90" y="214"/>
                  </a:cubicBezTo>
                  <a:cubicBezTo>
                    <a:pt x="90" y="214"/>
                    <a:pt x="90" y="213"/>
                    <a:pt x="90" y="212"/>
                  </a:cubicBezTo>
                  <a:cubicBezTo>
                    <a:pt x="89" y="204"/>
                    <a:pt x="93" y="191"/>
                    <a:pt x="97" y="181"/>
                  </a:cubicBezTo>
                  <a:cubicBezTo>
                    <a:pt x="98" y="178"/>
                    <a:pt x="99" y="175"/>
                    <a:pt x="100" y="173"/>
                  </a:cubicBezTo>
                  <a:cubicBezTo>
                    <a:pt x="93" y="151"/>
                    <a:pt x="93" y="151"/>
                    <a:pt x="93" y="151"/>
                  </a:cubicBezTo>
                  <a:cubicBezTo>
                    <a:pt x="82" y="126"/>
                    <a:pt x="66" y="54"/>
                    <a:pt x="55"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şḻíḍè">
              <a:extLst>
                <a:ext uri="{FF2B5EF4-FFF2-40B4-BE49-F238E27FC236}">
                  <a16:creationId xmlns:a16="http://schemas.microsoft.com/office/drawing/2014/main" id="{14F2D828-029F-421A-84E5-566066461B9F}"/>
                </a:ext>
              </a:extLst>
            </p:cNvPr>
            <p:cNvSpPr/>
            <p:nvPr/>
          </p:nvSpPr>
          <p:spPr bwMode="auto">
            <a:xfrm>
              <a:off x="7124700" y="4625976"/>
              <a:ext cx="296863" cy="1046163"/>
            </a:xfrm>
            <a:custGeom>
              <a:avLst/>
              <a:gdLst>
                <a:gd name="T0" fmla="*/ 212 w 213"/>
                <a:gd name="T1" fmla="*/ 739 h 752"/>
                <a:gd name="T2" fmla="*/ 133 w 213"/>
                <a:gd name="T3" fmla="*/ 746 h 752"/>
                <a:gd name="T4" fmla="*/ 133 w 213"/>
                <a:gd name="T5" fmla="*/ 668 h 752"/>
                <a:gd name="T6" fmla="*/ 138 w 213"/>
                <a:gd name="T7" fmla="*/ 634 h 752"/>
                <a:gd name="T8" fmla="*/ 129 w 213"/>
                <a:gd name="T9" fmla="*/ 601 h 752"/>
                <a:gd name="T10" fmla="*/ 126 w 213"/>
                <a:gd name="T11" fmla="*/ 568 h 752"/>
                <a:gd name="T12" fmla="*/ 115 w 213"/>
                <a:gd name="T13" fmla="*/ 532 h 752"/>
                <a:gd name="T14" fmla="*/ 107 w 213"/>
                <a:gd name="T15" fmla="*/ 510 h 752"/>
                <a:gd name="T16" fmla="*/ 69 w 213"/>
                <a:gd name="T17" fmla="*/ 359 h 752"/>
                <a:gd name="T18" fmla="*/ 60 w 213"/>
                <a:gd name="T19" fmla="*/ 295 h 752"/>
                <a:gd name="T20" fmla="*/ 56 w 213"/>
                <a:gd name="T21" fmla="*/ 222 h 752"/>
                <a:gd name="T22" fmla="*/ 37 w 213"/>
                <a:gd name="T23" fmla="*/ 136 h 752"/>
                <a:gd name="T24" fmla="*/ 7 w 213"/>
                <a:gd name="T25" fmla="*/ 39 h 752"/>
                <a:gd name="T26" fmla="*/ 0 w 213"/>
                <a:gd name="T27" fmla="*/ 10 h 752"/>
                <a:gd name="T28" fmla="*/ 119 w 213"/>
                <a:gd name="T29" fmla="*/ 1 h 752"/>
                <a:gd name="T30" fmla="*/ 152 w 213"/>
                <a:gd name="T31" fmla="*/ 2 h 752"/>
                <a:gd name="T32" fmla="*/ 150 w 213"/>
                <a:gd name="T33" fmla="*/ 26 h 752"/>
                <a:gd name="T34" fmla="*/ 160 w 213"/>
                <a:gd name="T35" fmla="*/ 134 h 752"/>
                <a:gd name="T36" fmla="*/ 170 w 213"/>
                <a:gd name="T37" fmla="*/ 228 h 752"/>
                <a:gd name="T38" fmla="*/ 169 w 213"/>
                <a:gd name="T39" fmla="*/ 277 h 752"/>
                <a:gd name="T40" fmla="*/ 177 w 213"/>
                <a:gd name="T41" fmla="*/ 330 h 752"/>
                <a:gd name="T42" fmla="*/ 175 w 213"/>
                <a:gd name="T43" fmla="*/ 426 h 752"/>
                <a:gd name="T44" fmla="*/ 181 w 213"/>
                <a:gd name="T45" fmla="*/ 556 h 752"/>
                <a:gd name="T46" fmla="*/ 196 w 213"/>
                <a:gd name="T47" fmla="*/ 609 h 752"/>
                <a:gd name="T48" fmla="*/ 201 w 213"/>
                <a:gd name="T49" fmla="*/ 663 h 752"/>
                <a:gd name="T50" fmla="*/ 212 w 213"/>
                <a:gd name="T51" fmla="*/ 7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 h="752">
                  <a:moveTo>
                    <a:pt x="212" y="739"/>
                  </a:moveTo>
                  <a:cubicBezTo>
                    <a:pt x="213" y="744"/>
                    <a:pt x="143" y="752"/>
                    <a:pt x="133" y="746"/>
                  </a:cubicBezTo>
                  <a:cubicBezTo>
                    <a:pt x="123" y="740"/>
                    <a:pt x="133" y="668"/>
                    <a:pt x="133" y="668"/>
                  </a:cubicBezTo>
                  <a:cubicBezTo>
                    <a:pt x="138" y="634"/>
                    <a:pt x="138" y="634"/>
                    <a:pt x="138" y="634"/>
                  </a:cubicBezTo>
                  <a:cubicBezTo>
                    <a:pt x="133" y="634"/>
                    <a:pt x="126" y="607"/>
                    <a:pt x="129" y="601"/>
                  </a:cubicBezTo>
                  <a:cubicBezTo>
                    <a:pt x="132" y="595"/>
                    <a:pt x="126" y="568"/>
                    <a:pt x="126" y="568"/>
                  </a:cubicBezTo>
                  <a:cubicBezTo>
                    <a:pt x="115" y="532"/>
                    <a:pt x="115" y="532"/>
                    <a:pt x="115" y="532"/>
                  </a:cubicBezTo>
                  <a:cubicBezTo>
                    <a:pt x="107" y="510"/>
                    <a:pt x="107" y="510"/>
                    <a:pt x="107" y="510"/>
                  </a:cubicBezTo>
                  <a:cubicBezTo>
                    <a:pt x="96" y="484"/>
                    <a:pt x="79" y="412"/>
                    <a:pt x="69" y="359"/>
                  </a:cubicBezTo>
                  <a:cubicBezTo>
                    <a:pt x="63" y="325"/>
                    <a:pt x="59" y="298"/>
                    <a:pt x="60" y="295"/>
                  </a:cubicBezTo>
                  <a:cubicBezTo>
                    <a:pt x="62" y="286"/>
                    <a:pt x="56" y="222"/>
                    <a:pt x="56" y="222"/>
                  </a:cubicBezTo>
                  <a:cubicBezTo>
                    <a:pt x="56" y="222"/>
                    <a:pt x="48" y="157"/>
                    <a:pt x="37" y="136"/>
                  </a:cubicBezTo>
                  <a:cubicBezTo>
                    <a:pt x="30" y="123"/>
                    <a:pt x="16" y="72"/>
                    <a:pt x="7" y="39"/>
                  </a:cubicBezTo>
                  <a:cubicBezTo>
                    <a:pt x="3" y="22"/>
                    <a:pt x="0" y="10"/>
                    <a:pt x="0" y="10"/>
                  </a:cubicBezTo>
                  <a:cubicBezTo>
                    <a:pt x="0" y="10"/>
                    <a:pt x="74" y="4"/>
                    <a:pt x="119" y="1"/>
                  </a:cubicBezTo>
                  <a:cubicBezTo>
                    <a:pt x="139" y="0"/>
                    <a:pt x="154" y="0"/>
                    <a:pt x="152" y="2"/>
                  </a:cubicBezTo>
                  <a:cubicBezTo>
                    <a:pt x="150" y="4"/>
                    <a:pt x="150" y="13"/>
                    <a:pt x="150" y="26"/>
                  </a:cubicBezTo>
                  <a:cubicBezTo>
                    <a:pt x="150" y="59"/>
                    <a:pt x="155" y="118"/>
                    <a:pt x="160" y="134"/>
                  </a:cubicBezTo>
                  <a:cubicBezTo>
                    <a:pt x="167" y="156"/>
                    <a:pt x="173" y="222"/>
                    <a:pt x="170" y="228"/>
                  </a:cubicBezTo>
                  <a:cubicBezTo>
                    <a:pt x="168" y="235"/>
                    <a:pt x="169" y="277"/>
                    <a:pt x="169" y="277"/>
                  </a:cubicBezTo>
                  <a:cubicBezTo>
                    <a:pt x="174" y="295"/>
                    <a:pt x="176" y="312"/>
                    <a:pt x="177" y="330"/>
                  </a:cubicBezTo>
                  <a:cubicBezTo>
                    <a:pt x="179" y="362"/>
                    <a:pt x="178" y="394"/>
                    <a:pt x="175" y="426"/>
                  </a:cubicBezTo>
                  <a:cubicBezTo>
                    <a:pt x="175" y="426"/>
                    <a:pt x="183" y="545"/>
                    <a:pt x="181" y="556"/>
                  </a:cubicBezTo>
                  <a:cubicBezTo>
                    <a:pt x="179" y="567"/>
                    <a:pt x="196" y="603"/>
                    <a:pt x="196" y="609"/>
                  </a:cubicBezTo>
                  <a:cubicBezTo>
                    <a:pt x="196" y="616"/>
                    <a:pt x="201" y="663"/>
                    <a:pt x="201" y="663"/>
                  </a:cubicBezTo>
                  <a:cubicBezTo>
                    <a:pt x="201" y="663"/>
                    <a:pt x="212" y="734"/>
                    <a:pt x="212" y="739"/>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íṧḷîďê">
              <a:extLst>
                <a:ext uri="{FF2B5EF4-FFF2-40B4-BE49-F238E27FC236}">
                  <a16:creationId xmlns:a16="http://schemas.microsoft.com/office/drawing/2014/main" id="{02413D67-6682-457B-9B3C-BDAFA34B9EEC}"/>
                </a:ext>
              </a:extLst>
            </p:cNvPr>
            <p:cNvSpPr/>
            <p:nvPr/>
          </p:nvSpPr>
          <p:spPr bwMode="auto">
            <a:xfrm>
              <a:off x="7218363" y="3351213"/>
              <a:ext cx="268288" cy="398463"/>
            </a:xfrm>
            <a:custGeom>
              <a:avLst/>
              <a:gdLst>
                <a:gd name="T0" fmla="*/ 184 w 193"/>
                <a:gd name="T1" fmla="*/ 228 h 287"/>
                <a:gd name="T2" fmla="*/ 175 w 193"/>
                <a:gd name="T3" fmla="*/ 237 h 287"/>
                <a:gd name="T4" fmla="*/ 170 w 193"/>
                <a:gd name="T5" fmla="*/ 243 h 287"/>
                <a:gd name="T6" fmla="*/ 138 w 193"/>
                <a:gd name="T7" fmla="*/ 278 h 287"/>
                <a:gd name="T8" fmla="*/ 55 w 193"/>
                <a:gd name="T9" fmla="*/ 287 h 287"/>
                <a:gd name="T10" fmla="*/ 11 w 193"/>
                <a:gd name="T11" fmla="*/ 275 h 287"/>
                <a:gd name="T12" fmla="*/ 0 w 193"/>
                <a:gd name="T13" fmla="*/ 272 h 287"/>
                <a:gd name="T14" fmla="*/ 2 w 193"/>
                <a:gd name="T15" fmla="*/ 224 h 287"/>
                <a:gd name="T16" fmla="*/ 28 w 193"/>
                <a:gd name="T17" fmla="*/ 137 h 287"/>
                <a:gd name="T18" fmla="*/ 46 w 193"/>
                <a:gd name="T19" fmla="*/ 114 h 287"/>
                <a:gd name="T20" fmla="*/ 54 w 193"/>
                <a:gd name="T21" fmla="*/ 94 h 287"/>
                <a:gd name="T22" fmla="*/ 55 w 193"/>
                <a:gd name="T23" fmla="*/ 91 h 287"/>
                <a:gd name="T24" fmla="*/ 63 w 193"/>
                <a:gd name="T25" fmla="*/ 55 h 287"/>
                <a:gd name="T26" fmla="*/ 88 w 193"/>
                <a:gd name="T27" fmla="*/ 42 h 287"/>
                <a:gd name="T28" fmla="*/ 170 w 193"/>
                <a:gd name="T29" fmla="*/ 55 h 287"/>
                <a:gd name="T30" fmla="*/ 161 w 193"/>
                <a:gd name="T31" fmla="*/ 80 h 287"/>
                <a:gd name="T32" fmla="*/ 160 w 193"/>
                <a:gd name="T33" fmla="*/ 83 h 287"/>
                <a:gd name="T34" fmla="*/ 163 w 193"/>
                <a:gd name="T35" fmla="*/ 143 h 287"/>
                <a:gd name="T36" fmla="*/ 166 w 193"/>
                <a:gd name="T37" fmla="*/ 148 h 287"/>
                <a:gd name="T38" fmla="*/ 172 w 193"/>
                <a:gd name="T39" fmla="*/ 154 h 287"/>
                <a:gd name="T40" fmla="*/ 181 w 193"/>
                <a:gd name="T41" fmla="*/ 214 h 287"/>
                <a:gd name="T42" fmla="*/ 182 w 193"/>
                <a:gd name="T43" fmla="*/ 219 h 287"/>
                <a:gd name="T44" fmla="*/ 184 w 193"/>
                <a:gd name="T45" fmla="*/ 22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287">
                  <a:moveTo>
                    <a:pt x="184" y="228"/>
                  </a:moveTo>
                  <a:cubicBezTo>
                    <a:pt x="175" y="237"/>
                    <a:pt x="175" y="237"/>
                    <a:pt x="175" y="237"/>
                  </a:cubicBezTo>
                  <a:cubicBezTo>
                    <a:pt x="170" y="243"/>
                    <a:pt x="170" y="243"/>
                    <a:pt x="170" y="243"/>
                  </a:cubicBezTo>
                  <a:cubicBezTo>
                    <a:pt x="138" y="278"/>
                    <a:pt x="138" y="278"/>
                    <a:pt x="138" y="278"/>
                  </a:cubicBezTo>
                  <a:cubicBezTo>
                    <a:pt x="55" y="287"/>
                    <a:pt x="55" y="287"/>
                    <a:pt x="55" y="287"/>
                  </a:cubicBezTo>
                  <a:cubicBezTo>
                    <a:pt x="11" y="275"/>
                    <a:pt x="11" y="275"/>
                    <a:pt x="11" y="275"/>
                  </a:cubicBezTo>
                  <a:cubicBezTo>
                    <a:pt x="0" y="272"/>
                    <a:pt x="0" y="272"/>
                    <a:pt x="0" y="272"/>
                  </a:cubicBezTo>
                  <a:cubicBezTo>
                    <a:pt x="0" y="272"/>
                    <a:pt x="0" y="250"/>
                    <a:pt x="2" y="224"/>
                  </a:cubicBezTo>
                  <a:cubicBezTo>
                    <a:pt x="5" y="190"/>
                    <a:pt x="12" y="148"/>
                    <a:pt x="28" y="137"/>
                  </a:cubicBezTo>
                  <a:cubicBezTo>
                    <a:pt x="36" y="131"/>
                    <a:pt x="42" y="123"/>
                    <a:pt x="46" y="114"/>
                  </a:cubicBezTo>
                  <a:cubicBezTo>
                    <a:pt x="50" y="107"/>
                    <a:pt x="52" y="101"/>
                    <a:pt x="54" y="94"/>
                  </a:cubicBezTo>
                  <a:cubicBezTo>
                    <a:pt x="55" y="93"/>
                    <a:pt x="55" y="92"/>
                    <a:pt x="55" y="91"/>
                  </a:cubicBezTo>
                  <a:cubicBezTo>
                    <a:pt x="59" y="79"/>
                    <a:pt x="61" y="67"/>
                    <a:pt x="63" y="55"/>
                  </a:cubicBezTo>
                  <a:cubicBezTo>
                    <a:pt x="63" y="55"/>
                    <a:pt x="73" y="49"/>
                    <a:pt x="88" y="42"/>
                  </a:cubicBezTo>
                  <a:cubicBezTo>
                    <a:pt x="126" y="24"/>
                    <a:pt x="193" y="0"/>
                    <a:pt x="170" y="55"/>
                  </a:cubicBezTo>
                  <a:cubicBezTo>
                    <a:pt x="166" y="63"/>
                    <a:pt x="163" y="71"/>
                    <a:pt x="161" y="80"/>
                  </a:cubicBezTo>
                  <a:cubicBezTo>
                    <a:pt x="161" y="81"/>
                    <a:pt x="160" y="82"/>
                    <a:pt x="160" y="83"/>
                  </a:cubicBezTo>
                  <a:cubicBezTo>
                    <a:pt x="152" y="114"/>
                    <a:pt x="157" y="133"/>
                    <a:pt x="163" y="143"/>
                  </a:cubicBezTo>
                  <a:cubicBezTo>
                    <a:pt x="164" y="145"/>
                    <a:pt x="165" y="147"/>
                    <a:pt x="166" y="148"/>
                  </a:cubicBezTo>
                  <a:cubicBezTo>
                    <a:pt x="168" y="150"/>
                    <a:pt x="170" y="152"/>
                    <a:pt x="172" y="154"/>
                  </a:cubicBezTo>
                  <a:cubicBezTo>
                    <a:pt x="181" y="214"/>
                    <a:pt x="181" y="214"/>
                    <a:pt x="181" y="214"/>
                  </a:cubicBezTo>
                  <a:cubicBezTo>
                    <a:pt x="182" y="219"/>
                    <a:pt x="182" y="219"/>
                    <a:pt x="182" y="219"/>
                  </a:cubicBezTo>
                  <a:cubicBezTo>
                    <a:pt x="184" y="228"/>
                    <a:pt x="184" y="228"/>
                    <a:pt x="184" y="228"/>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ś1iḋé">
              <a:extLst>
                <a:ext uri="{FF2B5EF4-FFF2-40B4-BE49-F238E27FC236}">
                  <a16:creationId xmlns:a16="http://schemas.microsoft.com/office/drawing/2014/main" id="{7C99CB8E-5DC2-4B5B-A714-82B163F6E58B}"/>
                </a:ext>
              </a:extLst>
            </p:cNvPr>
            <p:cNvSpPr/>
            <p:nvPr/>
          </p:nvSpPr>
          <p:spPr bwMode="auto">
            <a:xfrm>
              <a:off x="7292975" y="3479801"/>
              <a:ext cx="74613" cy="19050"/>
            </a:xfrm>
            <a:custGeom>
              <a:avLst/>
              <a:gdLst>
                <a:gd name="T0" fmla="*/ 2 w 54"/>
                <a:gd name="T1" fmla="*/ 0 h 14"/>
                <a:gd name="T2" fmla="*/ 0 w 54"/>
                <a:gd name="T3" fmla="*/ 5 h 14"/>
                <a:gd name="T4" fmla="*/ 34 w 54"/>
                <a:gd name="T5" fmla="*/ 14 h 14"/>
                <a:gd name="T6" fmla="*/ 54 w 54"/>
                <a:gd name="T7" fmla="*/ 8 h 14"/>
                <a:gd name="T8" fmla="*/ 44 w 54"/>
                <a:gd name="T9" fmla="*/ 8 h 14"/>
                <a:gd name="T10" fmla="*/ 2 w 54"/>
                <a:gd name="T11" fmla="*/ 0 h 14"/>
              </a:gdLst>
              <a:ahLst/>
              <a:cxnLst>
                <a:cxn ang="0">
                  <a:pos x="T0" y="T1"/>
                </a:cxn>
                <a:cxn ang="0">
                  <a:pos x="T2" y="T3"/>
                </a:cxn>
                <a:cxn ang="0">
                  <a:pos x="T4" y="T5"/>
                </a:cxn>
                <a:cxn ang="0">
                  <a:pos x="T6" y="T7"/>
                </a:cxn>
                <a:cxn ang="0">
                  <a:pos x="T8" y="T9"/>
                </a:cxn>
                <a:cxn ang="0">
                  <a:pos x="T10" y="T11"/>
                </a:cxn>
              </a:cxnLst>
              <a:rect l="0" t="0" r="r" b="b"/>
              <a:pathLst>
                <a:path w="54" h="14">
                  <a:moveTo>
                    <a:pt x="2" y="0"/>
                  </a:moveTo>
                  <a:cubicBezTo>
                    <a:pt x="1" y="1"/>
                    <a:pt x="1" y="3"/>
                    <a:pt x="0" y="5"/>
                  </a:cubicBezTo>
                  <a:cubicBezTo>
                    <a:pt x="14" y="11"/>
                    <a:pt x="18" y="14"/>
                    <a:pt x="34" y="14"/>
                  </a:cubicBezTo>
                  <a:cubicBezTo>
                    <a:pt x="40" y="14"/>
                    <a:pt x="47" y="11"/>
                    <a:pt x="54" y="8"/>
                  </a:cubicBezTo>
                  <a:cubicBezTo>
                    <a:pt x="51" y="8"/>
                    <a:pt x="48" y="8"/>
                    <a:pt x="44" y="8"/>
                  </a:cubicBezTo>
                  <a:cubicBezTo>
                    <a:pt x="29" y="8"/>
                    <a:pt x="15" y="5"/>
                    <a:pt x="2"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í$lïḋè">
              <a:extLst>
                <a:ext uri="{FF2B5EF4-FFF2-40B4-BE49-F238E27FC236}">
                  <a16:creationId xmlns:a16="http://schemas.microsoft.com/office/drawing/2014/main" id="{BCD0014F-18D2-4E23-BBBF-29B650E162A7}"/>
                </a:ext>
              </a:extLst>
            </p:cNvPr>
            <p:cNvSpPr/>
            <p:nvPr/>
          </p:nvSpPr>
          <p:spPr bwMode="auto">
            <a:xfrm>
              <a:off x="7207250" y="3194051"/>
              <a:ext cx="295275" cy="296863"/>
            </a:xfrm>
            <a:custGeom>
              <a:avLst/>
              <a:gdLst>
                <a:gd name="T0" fmla="*/ 213 w 213"/>
                <a:gd name="T1" fmla="*/ 107 h 213"/>
                <a:gd name="T2" fmla="*/ 117 w 213"/>
                <a:gd name="T3" fmla="*/ 213 h 213"/>
                <a:gd name="T4" fmla="*/ 106 w 213"/>
                <a:gd name="T5" fmla="*/ 213 h 213"/>
                <a:gd name="T6" fmla="*/ 0 w 213"/>
                <a:gd name="T7" fmla="*/ 107 h 213"/>
                <a:gd name="T8" fmla="*/ 106 w 213"/>
                <a:gd name="T9" fmla="*/ 0 h 213"/>
                <a:gd name="T10" fmla="*/ 213 w 213"/>
                <a:gd name="T11" fmla="*/ 107 h 213"/>
              </a:gdLst>
              <a:ahLst/>
              <a:cxnLst>
                <a:cxn ang="0">
                  <a:pos x="T0" y="T1"/>
                </a:cxn>
                <a:cxn ang="0">
                  <a:pos x="T2" y="T3"/>
                </a:cxn>
                <a:cxn ang="0">
                  <a:pos x="T4" y="T5"/>
                </a:cxn>
                <a:cxn ang="0">
                  <a:pos x="T6" y="T7"/>
                </a:cxn>
                <a:cxn ang="0">
                  <a:pos x="T8" y="T9"/>
                </a:cxn>
                <a:cxn ang="0">
                  <a:pos x="T10" y="T11"/>
                </a:cxn>
              </a:cxnLst>
              <a:rect l="0" t="0" r="r" b="b"/>
              <a:pathLst>
                <a:path w="213" h="213">
                  <a:moveTo>
                    <a:pt x="213" y="107"/>
                  </a:moveTo>
                  <a:cubicBezTo>
                    <a:pt x="213" y="161"/>
                    <a:pt x="172" y="207"/>
                    <a:pt x="117" y="213"/>
                  </a:cubicBezTo>
                  <a:cubicBezTo>
                    <a:pt x="114" y="213"/>
                    <a:pt x="110" y="213"/>
                    <a:pt x="106" y="213"/>
                  </a:cubicBezTo>
                  <a:cubicBezTo>
                    <a:pt x="47" y="213"/>
                    <a:pt x="0" y="166"/>
                    <a:pt x="0" y="107"/>
                  </a:cubicBezTo>
                  <a:cubicBezTo>
                    <a:pt x="0" y="48"/>
                    <a:pt x="47" y="0"/>
                    <a:pt x="106" y="0"/>
                  </a:cubicBezTo>
                  <a:cubicBezTo>
                    <a:pt x="165" y="0"/>
                    <a:pt x="213" y="48"/>
                    <a:pt x="213" y="107"/>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ṡḷîḓe">
              <a:extLst>
                <a:ext uri="{FF2B5EF4-FFF2-40B4-BE49-F238E27FC236}">
                  <a16:creationId xmlns:a16="http://schemas.microsoft.com/office/drawing/2014/main" id="{0E9E40B5-F1A4-4C1A-92ED-22CA95C7E90D}"/>
                </a:ext>
              </a:extLst>
            </p:cNvPr>
            <p:cNvSpPr/>
            <p:nvPr/>
          </p:nvSpPr>
          <p:spPr bwMode="auto">
            <a:xfrm>
              <a:off x="7173913" y="3652838"/>
              <a:ext cx="47625" cy="90488"/>
            </a:xfrm>
            <a:custGeom>
              <a:avLst/>
              <a:gdLst>
                <a:gd name="T0" fmla="*/ 35 w 35"/>
                <a:gd name="T1" fmla="*/ 0 h 65"/>
                <a:gd name="T2" fmla="*/ 12 w 35"/>
                <a:gd name="T3" fmla="*/ 16 h 65"/>
                <a:gd name="T4" fmla="*/ 0 w 35"/>
                <a:gd name="T5" fmla="*/ 60 h 65"/>
                <a:gd name="T6" fmla="*/ 1 w 35"/>
                <a:gd name="T7" fmla="*/ 65 h 65"/>
                <a:gd name="T8" fmla="*/ 12 w 35"/>
                <a:gd name="T9" fmla="*/ 23 h 65"/>
                <a:gd name="T10" fmla="*/ 34 w 35"/>
                <a:gd name="T11" fmla="*/ 7 h 65"/>
                <a:gd name="T12" fmla="*/ 34 w 35"/>
                <a:gd name="T13" fmla="*/ 7 h 65"/>
                <a:gd name="T14" fmla="*/ 35 w 35"/>
                <a:gd name="T15" fmla="*/ 0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5" y="0"/>
                  </a:moveTo>
                  <a:cubicBezTo>
                    <a:pt x="12" y="16"/>
                    <a:pt x="12" y="16"/>
                    <a:pt x="12" y="16"/>
                  </a:cubicBezTo>
                  <a:cubicBezTo>
                    <a:pt x="0" y="60"/>
                    <a:pt x="0" y="60"/>
                    <a:pt x="0" y="60"/>
                  </a:cubicBezTo>
                  <a:cubicBezTo>
                    <a:pt x="0" y="60"/>
                    <a:pt x="0" y="62"/>
                    <a:pt x="1" y="65"/>
                  </a:cubicBezTo>
                  <a:cubicBezTo>
                    <a:pt x="12" y="23"/>
                    <a:pt x="12" y="23"/>
                    <a:pt x="12" y="23"/>
                  </a:cubicBezTo>
                  <a:cubicBezTo>
                    <a:pt x="34" y="7"/>
                    <a:pt x="34" y="7"/>
                    <a:pt x="34" y="7"/>
                  </a:cubicBezTo>
                  <a:cubicBezTo>
                    <a:pt x="34" y="7"/>
                    <a:pt x="34" y="7"/>
                    <a:pt x="34" y="7"/>
                  </a:cubicBezTo>
                  <a:cubicBezTo>
                    <a:pt x="34" y="5"/>
                    <a:pt x="35" y="2"/>
                    <a:pt x="35"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š1ídè">
              <a:extLst>
                <a:ext uri="{FF2B5EF4-FFF2-40B4-BE49-F238E27FC236}">
                  <a16:creationId xmlns:a16="http://schemas.microsoft.com/office/drawing/2014/main" id="{81F9592A-605E-48CF-812F-2653BFC870BA}"/>
                </a:ext>
              </a:extLst>
            </p:cNvPr>
            <p:cNvSpPr/>
            <p:nvPr/>
          </p:nvSpPr>
          <p:spPr bwMode="auto">
            <a:xfrm>
              <a:off x="7219950" y="3644901"/>
              <a:ext cx="228600" cy="73025"/>
            </a:xfrm>
            <a:custGeom>
              <a:avLst/>
              <a:gdLst>
                <a:gd name="T0" fmla="*/ 1 w 164"/>
                <a:gd name="T1" fmla="*/ 6 h 53"/>
                <a:gd name="T2" fmla="*/ 1 w 164"/>
                <a:gd name="T3" fmla="*/ 6 h 53"/>
                <a:gd name="T4" fmla="*/ 0 w 164"/>
                <a:gd name="T5" fmla="*/ 13 h 53"/>
                <a:gd name="T6" fmla="*/ 0 w 164"/>
                <a:gd name="T7" fmla="*/ 13 h 53"/>
                <a:gd name="T8" fmla="*/ 0 w 164"/>
                <a:gd name="T9" fmla="*/ 13 h 53"/>
                <a:gd name="T10" fmla="*/ 1 w 164"/>
                <a:gd name="T11" fmla="*/ 6 h 53"/>
                <a:gd name="T12" fmla="*/ 161 w 164"/>
                <a:gd name="T13" fmla="*/ 0 h 53"/>
                <a:gd name="T14" fmla="*/ 93 w 164"/>
                <a:gd name="T15" fmla="*/ 44 h 53"/>
                <a:gd name="T16" fmla="*/ 84 w 164"/>
                <a:gd name="T17" fmla="*/ 47 h 53"/>
                <a:gd name="T18" fmla="*/ 55 w 164"/>
                <a:gd name="T19" fmla="*/ 37 h 53"/>
                <a:gd name="T20" fmla="*/ 34 w 164"/>
                <a:gd name="T21" fmla="*/ 24 h 53"/>
                <a:gd name="T22" fmla="*/ 23 w 164"/>
                <a:gd name="T23" fmla="*/ 16 h 53"/>
                <a:gd name="T24" fmla="*/ 22 w 164"/>
                <a:gd name="T25" fmla="*/ 20 h 53"/>
                <a:gd name="T26" fmla="*/ 22 w 164"/>
                <a:gd name="T27" fmla="*/ 20 h 53"/>
                <a:gd name="T28" fmla="*/ 34 w 164"/>
                <a:gd name="T29" fmla="*/ 30 h 53"/>
                <a:gd name="T30" fmla="*/ 55 w 164"/>
                <a:gd name="T31" fmla="*/ 43 h 53"/>
                <a:gd name="T32" fmla="*/ 85 w 164"/>
                <a:gd name="T33" fmla="*/ 53 h 53"/>
                <a:gd name="T34" fmla="*/ 93 w 164"/>
                <a:gd name="T35" fmla="*/ 51 h 53"/>
                <a:gd name="T36" fmla="*/ 164 w 164"/>
                <a:gd name="T37" fmla="*/ 4 h 53"/>
                <a:gd name="T38" fmla="*/ 164 w 164"/>
                <a:gd name="T39" fmla="*/ 4 h 53"/>
                <a:gd name="T40" fmla="*/ 164 w 164"/>
                <a:gd name="T41" fmla="*/ 2 h 53"/>
                <a:gd name="T42" fmla="*/ 161 w 164"/>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53">
                  <a:moveTo>
                    <a:pt x="1" y="6"/>
                  </a:moveTo>
                  <a:cubicBezTo>
                    <a:pt x="1" y="6"/>
                    <a:pt x="1" y="6"/>
                    <a:pt x="1" y="6"/>
                  </a:cubicBezTo>
                  <a:cubicBezTo>
                    <a:pt x="1" y="8"/>
                    <a:pt x="0" y="11"/>
                    <a:pt x="0" y="13"/>
                  </a:cubicBezTo>
                  <a:cubicBezTo>
                    <a:pt x="0" y="13"/>
                    <a:pt x="0" y="13"/>
                    <a:pt x="0" y="13"/>
                  </a:cubicBezTo>
                  <a:cubicBezTo>
                    <a:pt x="0" y="13"/>
                    <a:pt x="0" y="13"/>
                    <a:pt x="0" y="13"/>
                  </a:cubicBezTo>
                  <a:cubicBezTo>
                    <a:pt x="0" y="11"/>
                    <a:pt x="1" y="8"/>
                    <a:pt x="1" y="6"/>
                  </a:cubicBezTo>
                  <a:moveTo>
                    <a:pt x="161" y="0"/>
                  </a:moveTo>
                  <a:cubicBezTo>
                    <a:pt x="139" y="13"/>
                    <a:pt x="100" y="37"/>
                    <a:pt x="93" y="44"/>
                  </a:cubicBezTo>
                  <a:cubicBezTo>
                    <a:pt x="91" y="47"/>
                    <a:pt x="88" y="47"/>
                    <a:pt x="84" y="47"/>
                  </a:cubicBezTo>
                  <a:cubicBezTo>
                    <a:pt x="72" y="47"/>
                    <a:pt x="55" y="37"/>
                    <a:pt x="55" y="37"/>
                  </a:cubicBezTo>
                  <a:cubicBezTo>
                    <a:pt x="55" y="37"/>
                    <a:pt x="43" y="26"/>
                    <a:pt x="34" y="24"/>
                  </a:cubicBezTo>
                  <a:cubicBezTo>
                    <a:pt x="31" y="23"/>
                    <a:pt x="27" y="20"/>
                    <a:pt x="23" y="16"/>
                  </a:cubicBezTo>
                  <a:cubicBezTo>
                    <a:pt x="23" y="17"/>
                    <a:pt x="22" y="19"/>
                    <a:pt x="22" y="20"/>
                  </a:cubicBezTo>
                  <a:cubicBezTo>
                    <a:pt x="22" y="20"/>
                    <a:pt x="22" y="20"/>
                    <a:pt x="22" y="20"/>
                  </a:cubicBezTo>
                  <a:cubicBezTo>
                    <a:pt x="25" y="25"/>
                    <a:pt x="29" y="28"/>
                    <a:pt x="34" y="30"/>
                  </a:cubicBezTo>
                  <a:cubicBezTo>
                    <a:pt x="43" y="32"/>
                    <a:pt x="55" y="43"/>
                    <a:pt x="55" y="43"/>
                  </a:cubicBezTo>
                  <a:cubicBezTo>
                    <a:pt x="55" y="43"/>
                    <a:pt x="72" y="53"/>
                    <a:pt x="85" y="53"/>
                  </a:cubicBezTo>
                  <a:cubicBezTo>
                    <a:pt x="88" y="53"/>
                    <a:pt x="91" y="53"/>
                    <a:pt x="93" y="51"/>
                  </a:cubicBezTo>
                  <a:cubicBezTo>
                    <a:pt x="100" y="43"/>
                    <a:pt x="144" y="16"/>
                    <a:pt x="164" y="4"/>
                  </a:cubicBezTo>
                  <a:cubicBezTo>
                    <a:pt x="164" y="4"/>
                    <a:pt x="164" y="4"/>
                    <a:pt x="164" y="4"/>
                  </a:cubicBezTo>
                  <a:cubicBezTo>
                    <a:pt x="164" y="2"/>
                    <a:pt x="164" y="2"/>
                    <a:pt x="164" y="2"/>
                  </a:cubicBezTo>
                  <a:cubicBezTo>
                    <a:pt x="163" y="1"/>
                    <a:pt x="162" y="1"/>
                    <a:pt x="161"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ľiḑé">
              <a:extLst>
                <a:ext uri="{FF2B5EF4-FFF2-40B4-BE49-F238E27FC236}">
                  <a16:creationId xmlns:a16="http://schemas.microsoft.com/office/drawing/2014/main" id="{FEE48807-0CC7-49CA-A8BE-F14024DD3764}"/>
                </a:ext>
              </a:extLst>
            </p:cNvPr>
            <p:cNvSpPr/>
            <p:nvPr/>
          </p:nvSpPr>
          <p:spPr bwMode="auto">
            <a:xfrm>
              <a:off x="7154863" y="3822701"/>
              <a:ext cx="26988" cy="198438"/>
            </a:xfrm>
            <a:custGeom>
              <a:avLst/>
              <a:gdLst>
                <a:gd name="T0" fmla="*/ 19 w 19"/>
                <a:gd name="T1" fmla="*/ 0 h 143"/>
                <a:gd name="T2" fmla="*/ 12 w 19"/>
                <a:gd name="T3" fmla="*/ 78 h 143"/>
                <a:gd name="T4" fmla="*/ 1 w 19"/>
                <a:gd name="T5" fmla="*/ 143 h 143"/>
                <a:gd name="T6" fmla="*/ 1 w 19"/>
                <a:gd name="T7" fmla="*/ 143 h 143"/>
                <a:gd name="T8" fmla="*/ 12 w 19"/>
                <a:gd name="T9" fmla="*/ 84 h 143"/>
                <a:gd name="T10" fmla="*/ 19 w 19"/>
                <a:gd name="T11" fmla="*/ 3 h 143"/>
                <a:gd name="T12" fmla="*/ 19 w 19"/>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9" h="143">
                  <a:moveTo>
                    <a:pt x="19" y="0"/>
                  </a:moveTo>
                  <a:cubicBezTo>
                    <a:pt x="18" y="15"/>
                    <a:pt x="12" y="78"/>
                    <a:pt x="12" y="78"/>
                  </a:cubicBezTo>
                  <a:cubicBezTo>
                    <a:pt x="12" y="78"/>
                    <a:pt x="0" y="117"/>
                    <a:pt x="1" y="143"/>
                  </a:cubicBezTo>
                  <a:cubicBezTo>
                    <a:pt x="1" y="143"/>
                    <a:pt x="1" y="143"/>
                    <a:pt x="1" y="143"/>
                  </a:cubicBezTo>
                  <a:cubicBezTo>
                    <a:pt x="2" y="118"/>
                    <a:pt x="12" y="84"/>
                    <a:pt x="12" y="84"/>
                  </a:cubicBezTo>
                  <a:cubicBezTo>
                    <a:pt x="12" y="84"/>
                    <a:pt x="19" y="6"/>
                    <a:pt x="19" y="3"/>
                  </a:cubicBezTo>
                  <a:cubicBezTo>
                    <a:pt x="19" y="2"/>
                    <a:pt x="19" y="1"/>
                    <a:pt x="19"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ṥlíďê">
              <a:extLst>
                <a:ext uri="{FF2B5EF4-FFF2-40B4-BE49-F238E27FC236}">
                  <a16:creationId xmlns:a16="http://schemas.microsoft.com/office/drawing/2014/main" id="{CAAD4E25-0140-4331-8DF6-864F1BB68725}"/>
                </a:ext>
              </a:extLst>
            </p:cNvPr>
            <p:cNvSpPr/>
            <p:nvPr/>
          </p:nvSpPr>
          <p:spPr bwMode="auto">
            <a:xfrm>
              <a:off x="7154863" y="3641726"/>
              <a:ext cx="368300" cy="425450"/>
            </a:xfrm>
            <a:custGeom>
              <a:avLst/>
              <a:gdLst>
                <a:gd name="T0" fmla="*/ 265 w 265"/>
                <a:gd name="T1" fmla="*/ 263 h 306"/>
                <a:gd name="T2" fmla="*/ 250 w 265"/>
                <a:gd name="T3" fmla="*/ 303 h 306"/>
                <a:gd name="T4" fmla="*/ 218 w 265"/>
                <a:gd name="T5" fmla="*/ 304 h 306"/>
                <a:gd name="T6" fmla="*/ 216 w 265"/>
                <a:gd name="T7" fmla="*/ 304 h 306"/>
                <a:gd name="T8" fmla="*/ 188 w 265"/>
                <a:gd name="T9" fmla="*/ 305 h 306"/>
                <a:gd name="T10" fmla="*/ 28 w 265"/>
                <a:gd name="T11" fmla="*/ 301 h 306"/>
                <a:gd name="T12" fmla="*/ 3 w 265"/>
                <a:gd name="T13" fmla="*/ 292 h 306"/>
                <a:gd name="T14" fmla="*/ 2 w 265"/>
                <a:gd name="T15" fmla="*/ 285 h 306"/>
                <a:gd name="T16" fmla="*/ 1 w 265"/>
                <a:gd name="T17" fmla="*/ 279 h 306"/>
                <a:gd name="T18" fmla="*/ 12 w 265"/>
                <a:gd name="T19" fmla="*/ 214 h 306"/>
                <a:gd name="T20" fmla="*/ 19 w 265"/>
                <a:gd name="T21" fmla="*/ 133 h 306"/>
                <a:gd name="T22" fmla="*/ 13 w 265"/>
                <a:gd name="T23" fmla="*/ 74 h 306"/>
                <a:gd name="T24" fmla="*/ 25 w 265"/>
                <a:gd name="T25" fmla="*/ 30 h 306"/>
                <a:gd name="T26" fmla="*/ 47 w 265"/>
                <a:gd name="T27" fmla="*/ 15 h 306"/>
                <a:gd name="T28" fmla="*/ 58 w 265"/>
                <a:gd name="T29" fmla="*/ 8 h 306"/>
                <a:gd name="T30" fmla="*/ 69 w 265"/>
                <a:gd name="T31" fmla="*/ 22 h 306"/>
                <a:gd name="T32" fmla="*/ 81 w 265"/>
                <a:gd name="T33" fmla="*/ 32 h 306"/>
                <a:gd name="T34" fmla="*/ 102 w 265"/>
                <a:gd name="T35" fmla="*/ 45 h 306"/>
                <a:gd name="T36" fmla="*/ 140 w 265"/>
                <a:gd name="T37" fmla="*/ 53 h 306"/>
                <a:gd name="T38" fmla="*/ 211 w 265"/>
                <a:gd name="T39" fmla="*/ 6 h 306"/>
                <a:gd name="T40" fmla="*/ 222 w 265"/>
                <a:gd name="T41" fmla="*/ 0 h 306"/>
                <a:gd name="T42" fmla="*/ 227 w 265"/>
                <a:gd name="T43" fmla="*/ 5 h 306"/>
                <a:gd name="T44" fmla="*/ 260 w 265"/>
                <a:gd name="T45" fmla="*/ 42 h 306"/>
                <a:gd name="T46" fmla="*/ 265 w 265"/>
                <a:gd name="T47"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5" h="306">
                  <a:moveTo>
                    <a:pt x="265" y="263"/>
                  </a:moveTo>
                  <a:cubicBezTo>
                    <a:pt x="250" y="303"/>
                    <a:pt x="250" y="303"/>
                    <a:pt x="250" y="303"/>
                  </a:cubicBezTo>
                  <a:cubicBezTo>
                    <a:pt x="250" y="303"/>
                    <a:pt x="237" y="304"/>
                    <a:pt x="218" y="304"/>
                  </a:cubicBezTo>
                  <a:cubicBezTo>
                    <a:pt x="216" y="304"/>
                    <a:pt x="216" y="304"/>
                    <a:pt x="216" y="304"/>
                  </a:cubicBezTo>
                  <a:cubicBezTo>
                    <a:pt x="208" y="304"/>
                    <a:pt x="198" y="305"/>
                    <a:pt x="188" y="305"/>
                  </a:cubicBezTo>
                  <a:cubicBezTo>
                    <a:pt x="137" y="306"/>
                    <a:pt x="65" y="306"/>
                    <a:pt x="28" y="301"/>
                  </a:cubicBezTo>
                  <a:cubicBezTo>
                    <a:pt x="14" y="299"/>
                    <a:pt x="5" y="296"/>
                    <a:pt x="3" y="292"/>
                  </a:cubicBezTo>
                  <a:cubicBezTo>
                    <a:pt x="3" y="290"/>
                    <a:pt x="2" y="287"/>
                    <a:pt x="2" y="285"/>
                  </a:cubicBezTo>
                  <a:cubicBezTo>
                    <a:pt x="1" y="283"/>
                    <a:pt x="1" y="281"/>
                    <a:pt x="1" y="279"/>
                  </a:cubicBezTo>
                  <a:cubicBezTo>
                    <a:pt x="0" y="254"/>
                    <a:pt x="12" y="214"/>
                    <a:pt x="12" y="214"/>
                  </a:cubicBezTo>
                  <a:cubicBezTo>
                    <a:pt x="12" y="214"/>
                    <a:pt x="19" y="136"/>
                    <a:pt x="19" y="133"/>
                  </a:cubicBezTo>
                  <a:cubicBezTo>
                    <a:pt x="19" y="129"/>
                    <a:pt x="13" y="74"/>
                    <a:pt x="13" y="74"/>
                  </a:cubicBezTo>
                  <a:cubicBezTo>
                    <a:pt x="25" y="30"/>
                    <a:pt x="25" y="30"/>
                    <a:pt x="25" y="30"/>
                  </a:cubicBezTo>
                  <a:cubicBezTo>
                    <a:pt x="47" y="15"/>
                    <a:pt x="47" y="15"/>
                    <a:pt x="47" y="15"/>
                  </a:cubicBezTo>
                  <a:cubicBezTo>
                    <a:pt x="58" y="8"/>
                    <a:pt x="58" y="8"/>
                    <a:pt x="58" y="8"/>
                  </a:cubicBezTo>
                  <a:cubicBezTo>
                    <a:pt x="61" y="13"/>
                    <a:pt x="65" y="18"/>
                    <a:pt x="69" y="22"/>
                  </a:cubicBezTo>
                  <a:cubicBezTo>
                    <a:pt x="72" y="27"/>
                    <a:pt x="76" y="30"/>
                    <a:pt x="81" y="32"/>
                  </a:cubicBezTo>
                  <a:cubicBezTo>
                    <a:pt x="90" y="34"/>
                    <a:pt x="102" y="45"/>
                    <a:pt x="102" y="45"/>
                  </a:cubicBezTo>
                  <a:cubicBezTo>
                    <a:pt x="102" y="45"/>
                    <a:pt x="131" y="62"/>
                    <a:pt x="140" y="53"/>
                  </a:cubicBezTo>
                  <a:cubicBezTo>
                    <a:pt x="147" y="45"/>
                    <a:pt x="191" y="18"/>
                    <a:pt x="211" y="6"/>
                  </a:cubicBezTo>
                  <a:cubicBezTo>
                    <a:pt x="218" y="2"/>
                    <a:pt x="222" y="0"/>
                    <a:pt x="222" y="0"/>
                  </a:cubicBezTo>
                  <a:cubicBezTo>
                    <a:pt x="227" y="5"/>
                    <a:pt x="227" y="5"/>
                    <a:pt x="227" y="5"/>
                  </a:cubicBezTo>
                  <a:cubicBezTo>
                    <a:pt x="260" y="42"/>
                    <a:pt x="260" y="42"/>
                    <a:pt x="260" y="42"/>
                  </a:cubicBezTo>
                  <a:cubicBezTo>
                    <a:pt x="265" y="263"/>
                    <a:pt x="265" y="263"/>
                    <a:pt x="265" y="2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ṡḷïḓê">
              <a:extLst>
                <a:ext uri="{FF2B5EF4-FFF2-40B4-BE49-F238E27FC236}">
                  <a16:creationId xmlns:a16="http://schemas.microsoft.com/office/drawing/2014/main" id="{348B4DE5-4600-4BCD-B41F-068B03F96F40}"/>
                </a:ext>
              </a:extLst>
            </p:cNvPr>
            <p:cNvSpPr/>
            <p:nvPr/>
          </p:nvSpPr>
          <p:spPr bwMode="auto">
            <a:xfrm>
              <a:off x="6743700" y="3414713"/>
              <a:ext cx="55563" cy="58738"/>
            </a:xfrm>
            <a:custGeom>
              <a:avLst/>
              <a:gdLst>
                <a:gd name="T0" fmla="*/ 38 w 40"/>
                <a:gd name="T1" fmla="*/ 0 h 42"/>
                <a:gd name="T2" fmla="*/ 0 w 40"/>
                <a:gd name="T3" fmla="*/ 35 h 42"/>
                <a:gd name="T4" fmla="*/ 1 w 40"/>
                <a:gd name="T5" fmla="*/ 42 h 42"/>
                <a:gd name="T6" fmla="*/ 40 w 40"/>
                <a:gd name="T7" fmla="*/ 7 h 42"/>
                <a:gd name="T8" fmla="*/ 38 w 40"/>
                <a:gd name="T9" fmla="*/ 0 h 42"/>
              </a:gdLst>
              <a:ahLst/>
              <a:cxnLst>
                <a:cxn ang="0">
                  <a:pos x="T0" y="T1"/>
                </a:cxn>
                <a:cxn ang="0">
                  <a:pos x="T2" y="T3"/>
                </a:cxn>
                <a:cxn ang="0">
                  <a:pos x="T4" y="T5"/>
                </a:cxn>
                <a:cxn ang="0">
                  <a:pos x="T6" y="T7"/>
                </a:cxn>
                <a:cxn ang="0">
                  <a:pos x="T8" y="T9"/>
                </a:cxn>
              </a:cxnLst>
              <a:rect l="0" t="0" r="r" b="b"/>
              <a:pathLst>
                <a:path w="40" h="42">
                  <a:moveTo>
                    <a:pt x="38" y="0"/>
                  </a:moveTo>
                  <a:cubicBezTo>
                    <a:pt x="34" y="6"/>
                    <a:pt x="21" y="26"/>
                    <a:pt x="0" y="35"/>
                  </a:cubicBezTo>
                  <a:cubicBezTo>
                    <a:pt x="1" y="37"/>
                    <a:pt x="1" y="40"/>
                    <a:pt x="1" y="42"/>
                  </a:cubicBezTo>
                  <a:cubicBezTo>
                    <a:pt x="23" y="34"/>
                    <a:pt x="36" y="14"/>
                    <a:pt x="40" y="7"/>
                  </a:cubicBezTo>
                  <a:cubicBezTo>
                    <a:pt x="40" y="5"/>
                    <a:pt x="39" y="2"/>
                    <a:pt x="38"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ḷíḑe">
              <a:extLst>
                <a:ext uri="{FF2B5EF4-FFF2-40B4-BE49-F238E27FC236}">
                  <a16:creationId xmlns:a16="http://schemas.microsoft.com/office/drawing/2014/main" id="{B9AD96CB-3831-4326-891E-88BC3C3FBD58}"/>
                </a:ext>
              </a:extLst>
            </p:cNvPr>
            <p:cNvSpPr/>
            <p:nvPr/>
          </p:nvSpPr>
          <p:spPr bwMode="auto">
            <a:xfrm>
              <a:off x="6691313" y="3421063"/>
              <a:ext cx="358775" cy="384175"/>
            </a:xfrm>
            <a:custGeom>
              <a:avLst/>
              <a:gdLst>
                <a:gd name="T0" fmla="*/ 232 w 258"/>
                <a:gd name="T1" fmla="*/ 117 h 277"/>
                <a:gd name="T2" fmla="*/ 223 w 258"/>
                <a:gd name="T3" fmla="*/ 114 h 277"/>
                <a:gd name="T4" fmla="*/ 199 w 258"/>
                <a:gd name="T5" fmla="*/ 132 h 277"/>
                <a:gd name="T6" fmla="*/ 171 w 258"/>
                <a:gd name="T7" fmla="*/ 146 h 277"/>
                <a:gd name="T8" fmla="*/ 150 w 258"/>
                <a:gd name="T9" fmla="*/ 163 h 277"/>
                <a:gd name="T10" fmla="*/ 139 w 258"/>
                <a:gd name="T11" fmla="*/ 155 h 277"/>
                <a:gd name="T12" fmla="*/ 130 w 258"/>
                <a:gd name="T13" fmla="*/ 129 h 277"/>
                <a:gd name="T14" fmla="*/ 102 w 258"/>
                <a:gd name="T15" fmla="*/ 61 h 277"/>
                <a:gd name="T16" fmla="*/ 80 w 258"/>
                <a:gd name="T17" fmla="*/ 0 h 277"/>
                <a:gd name="T18" fmla="*/ 0 w 258"/>
                <a:gd name="T19" fmla="*/ 38 h 277"/>
                <a:gd name="T20" fmla="*/ 38 w 258"/>
                <a:gd name="T21" fmla="*/ 143 h 277"/>
                <a:gd name="T22" fmla="*/ 64 w 258"/>
                <a:gd name="T23" fmla="*/ 223 h 277"/>
                <a:gd name="T24" fmla="*/ 124 w 258"/>
                <a:gd name="T25" fmla="*/ 264 h 277"/>
                <a:gd name="T26" fmla="*/ 208 w 258"/>
                <a:gd name="T27" fmla="*/ 264 h 277"/>
                <a:gd name="T28" fmla="*/ 244 w 258"/>
                <a:gd name="T29" fmla="*/ 240 h 277"/>
                <a:gd name="T30" fmla="*/ 258 w 258"/>
                <a:gd name="T31" fmla="*/ 230 h 277"/>
                <a:gd name="T32" fmla="*/ 258 w 258"/>
                <a:gd name="T33" fmla="*/ 172 h 277"/>
                <a:gd name="T34" fmla="*/ 232 w 258"/>
                <a:gd name="T35" fmla="*/ 11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8" h="277">
                  <a:moveTo>
                    <a:pt x="232" y="117"/>
                  </a:moveTo>
                  <a:cubicBezTo>
                    <a:pt x="223" y="114"/>
                    <a:pt x="223" y="114"/>
                    <a:pt x="223" y="114"/>
                  </a:cubicBezTo>
                  <a:cubicBezTo>
                    <a:pt x="223" y="114"/>
                    <a:pt x="208" y="130"/>
                    <a:pt x="199" y="132"/>
                  </a:cubicBezTo>
                  <a:cubicBezTo>
                    <a:pt x="190" y="134"/>
                    <a:pt x="171" y="146"/>
                    <a:pt x="171" y="146"/>
                  </a:cubicBezTo>
                  <a:cubicBezTo>
                    <a:pt x="150" y="163"/>
                    <a:pt x="150" y="163"/>
                    <a:pt x="150" y="163"/>
                  </a:cubicBezTo>
                  <a:cubicBezTo>
                    <a:pt x="150" y="163"/>
                    <a:pt x="134" y="166"/>
                    <a:pt x="139" y="155"/>
                  </a:cubicBezTo>
                  <a:cubicBezTo>
                    <a:pt x="143" y="143"/>
                    <a:pt x="130" y="129"/>
                    <a:pt x="130" y="129"/>
                  </a:cubicBezTo>
                  <a:cubicBezTo>
                    <a:pt x="130" y="129"/>
                    <a:pt x="102" y="73"/>
                    <a:pt x="102" y="61"/>
                  </a:cubicBezTo>
                  <a:cubicBezTo>
                    <a:pt x="102" y="49"/>
                    <a:pt x="80" y="0"/>
                    <a:pt x="80" y="0"/>
                  </a:cubicBezTo>
                  <a:cubicBezTo>
                    <a:pt x="80" y="0"/>
                    <a:pt x="51" y="55"/>
                    <a:pt x="0" y="38"/>
                  </a:cubicBezTo>
                  <a:cubicBezTo>
                    <a:pt x="0" y="38"/>
                    <a:pt x="37" y="122"/>
                    <a:pt x="38" y="143"/>
                  </a:cubicBezTo>
                  <a:cubicBezTo>
                    <a:pt x="39" y="164"/>
                    <a:pt x="64" y="223"/>
                    <a:pt x="64" y="223"/>
                  </a:cubicBezTo>
                  <a:cubicBezTo>
                    <a:pt x="64" y="223"/>
                    <a:pt x="73" y="267"/>
                    <a:pt x="124" y="264"/>
                  </a:cubicBezTo>
                  <a:cubicBezTo>
                    <a:pt x="124" y="264"/>
                    <a:pt x="193" y="277"/>
                    <a:pt x="208" y="264"/>
                  </a:cubicBezTo>
                  <a:cubicBezTo>
                    <a:pt x="224" y="251"/>
                    <a:pt x="237" y="241"/>
                    <a:pt x="244" y="240"/>
                  </a:cubicBezTo>
                  <a:cubicBezTo>
                    <a:pt x="252" y="238"/>
                    <a:pt x="258" y="230"/>
                    <a:pt x="258" y="230"/>
                  </a:cubicBezTo>
                  <a:cubicBezTo>
                    <a:pt x="258" y="172"/>
                    <a:pt x="258" y="172"/>
                    <a:pt x="258" y="172"/>
                  </a:cubicBezTo>
                  <a:cubicBezTo>
                    <a:pt x="232" y="117"/>
                    <a:pt x="232" y="117"/>
                    <a:pt x="232" y="117"/>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ŝ1îďe">
              <a:extLst>
                <a:ext uri="{FF2B5EF4-FFF2-40B4-BE49-F238E27FC236}">
                  <a16:creationId xmlns:a16="http://schemas.microsoft.com/office/drawing/2014/main" id="{E6FA91F9-4222-4ECD-A392-FE61E73C7760}"/>
                </a:ext>
              </a:extLst>
            </p:cNvPr>
            <p:cNvSpPr/>
            <p:nvPr/>
          </p:nvSpPr>
          <p:spPr bwMode="auto">
            <a:xfrm>
              <a:off x="6892925" y="3659188"/>
              <a:ext cx="15875" cy="69850"/>
            </a:xfrm>
            <a:custGeom>
              <a:avLst/>
              <a:gdLst>
                <a:gd name="T0" fmla="*/ 0 w 12"/>
                <a:gd name="T1" fmla="*/ 0 h 50"/>
                <a:gd name="T2" fmla="*/ 4 w 12"/>
                <a:gd name="T3" fmla="*/ 50 h 50"/>
                <a:gd name="T4" fmla="*/ 0 w 12"/>
                <a:gd name="T5" fmla="*/ 0 h 50"/>
              </a:gdLst>
              <a:ahLst/>
              <a:cxnLst>
                <a:cxn ang="0">
                  <a:pos x="T0" y="T1"/>
                </a:cxn>
                <a:cxn ang="0">
                  <a:pos x="T2" y="T3"/>
                </a:cxn>
                <a:cxn ang="0">
                  <a:pos x="T4" y="T5"/>
                </a:cxn>
              </a:cxnLst>
              <a:rect l="0" t="0" r="r" b="b"/>
              <a:pathLst>
                <a:path w="12" h="50">
                  <a:moveTo>
                    <a:pt x="0" y="0"/>
                  </a:moveTo>
                  <a:cubicBezTo>
                    <a:pt x="4" y="50"/>
                    <a:pt x="4" y="50"/>
                    <a:pt x="4" y="50"/>
                  </a:cubicBezTo>
                  <a:cubicBezTo>
                    <a:pt x="12" y="45"/>
                    <a:pt x="0" y="0"/>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šlîḓê">
              <a:extLst>
                <a:ext uri="{FF2B5EF4-FFF2-40B4-BE49-F238E27FC236}">
                  <a16:creationId xmlns:a16="http://schemas.microsoft.com/office/drawing/2014/main" id="{1C8B4EA0-74F0-4FE7-874C-7970E247F781}"/>
                </a:ext>
              </a:extLst>
            </p:cNvPr>
            <p:cNvSpPr/>
            <p:nvPr/>
          </p:nvSpPr>
          <p:spPr bwMode="auto">
            <a:xfrm>
              <a:off x="7156450" y="4029076"/>
              <a:ext cx="0" cy="7938"/>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3"/>
                    <a:pt x="0" y="5"/>
                  </a:cubicBezTo>
                  <a:cubicBezTo>
                    <a:pt x="0" y="3"/>
                    <a:pt x="0" y="2"/>
                    <a:pt x="0"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ļîḍé">
              <a:extLst>
                <a:ext uri="{FF2B5EF4-FFF2-40B4-BE49-F238E27FC236}">
                  <a16:creationId xmlns:a16="http://schemas.microsoft.com/office/drawing/2014/main" id="{B3711720-C133-44FE-BF84-C142B63058E9}"/>
                </a:ext>
              </a:extLst>
            </p:cNvPr>
            <p:cNvSpPr/>
            <p:nvPr/>
          </p:nvSpPr>
          <p:spPr bwMode="auto">
            <a:xfrm>
              <a:off x="7196138" y="4030663"/>
              <a:ext cx="227013" cy="20638"/>
            </a:xfrm>
            <a:custGeom>
              <a:avLst/>
              <a:gdLst>
                <a:gd name="T0" fmla="*/ 1 w 164"/>
                <a:gd name="T1" fmla="*/ 0 h 15"/>
                <a:gd name="T2" fmla="*/ 0 w 164"/>
                <a:gd name="T3" fmla="*/ 6 h 15"/>
                <a:gd name="T4" fmla="*/ 1 w 164"/>
                <a:gd name="T5" fmla="*/ 6 h 15"/>
                <a:gd name="T6" fmla="*/ 160 w 164"/>
                <a:gd name="T7" fmla="*/ 15 h 15"/>
                <a:gd name="T8" fmla="*/ 160 w 164"/>
                <a:gd name="T9" fmla="*/ 15 h 15"/>
                <a:gd name="T10" fmla="*/ 164 w 164"/>
                <a:gd name="T11" fmla="*/ 9 h 15"/>
                <a:gd name="T12" fmla="*/ 1 w 16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4" h="15">
                  <a:moveTo>
                    <a:pt x="1" y="0"/>
                  </a:moveTo>
                  <a:cubicBezTo>
                    <a:pt x="1" y="2"/>
                    <a:pt x="1" y="4"/>
                    <a:pt x="0" y="6"/>
                  </a:cubicBezTo>
                  <a:cubicBezTo>
                    <a:pt x="1" y="6"/>
                    <a:pt x="1" y="6"/>
                    <a:pt x="1" y="6"/>
                  </a:cubicBezTo>
                  <a:cubicBezTo>
                    <a:pt x="160" y="15"/>
                    <a:pt x="160" y="15"/>
                    <a:pt x="160" y="15"/>
                  </a:cubicBezTo>
                  <a:cubicBezTo>
                    <a:pt x="160" y="15"/>
                    <a:pt x="160" y="15"/>
                    <a:pt x="160" y="15"/>
                  </a:cubicBezTo>
                  <a:cubicBezTo>
                    <a:pt x="160" y="14"/>
                    <a:pt x="162" y="12"/>
                    <a:pt x="164" y="9"/>
                  </a:cubicBezTo>
                  <a:cubicBezTo>
                    <a:pt x="1" y="0"/>
                    <a:pt x="1" y="0"/>
                    <a:pt x="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íṣľïḓè">
              <a:extLst>
                <a:ext uri="{FF2B5EF4-FFF2-40B4-BE49-F238E27FC236}">
                  <a16:creationId xmlns:a16="http://schemas.microsoft.com/office/drawing/2014/main" id="{5DDD855D-CEE5-4EA2-A9E4-135645D4EED7}"/>
                </a:ext>
              </a:extLst>
            </p:cNvPr>
            <p:cNvSpPr/>
            <p:nvPr/>
          </p:nvSpPr>
          <p:spPr bwMode="auto">
            <a:xfrm>
              <a:off x="7467600" y="4659313"/>
              <a:ext cx="3175" cy="7938"/>
            </a:xfrm>
            <a:custGeom>
              <a:avLst/>
              <a:gdLst>
                <a:gd name="T0" fmla="*/ 2 w 2"/>
                <a:gd name="T1" fmla="*/ 0 h 6"/>
                <a:gd name="T2" fmla="*/ 0 w 2"/>
                <a:gd name="T3" fmla="*/ 6 h 6"/>
                <a:gd name="T4" fmla="*/ 0 w 2"/>
                <a:gd name="T5" fmla="*/ 6 h 6"/>
                <a:gd name="T6" fmla="*/ 2 w 2"/>
                <a:gd name="T7" fmla="*/ 0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cubicBezTo>
                    <a:pt x="1" y="2"/>
                    <a:pt x="0" y="4"/>
                    <a:pt x="0" y="6"/>
                  </a:cubicBezTo>
                  <a:cubicBezTo>
                    <a:pt x="0" y="6"/>
                    <a:pt x="0" y="6"/>
                    <a:pt x="0" y="6"/>
                  </a:cubicBezTo>
                  <a:cubicBezTo>
                    <a:pt x="0" y="4"/>
                    <a:pt x="1" y="2"/>
                    <a:pt x="2" y="0"/>
                  </a:cubicBezTo>
                  <a:cubicBezTo>
                    <a:pt x="2" y="0"/>
                    <a:pt x="2" y="0"/>
                    <a:pt x="2"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ṧ1íḑê">
              <a:extLst>
                <a:ext uri="{FF2B5EF4-FFF2-40B4-BE49-F238E27FC236}">
                  <a16:creationId xmlns:a16="http://schemas.microsoft.com/office/drawing/2014/main" id="{1BED912B-6DDA-4276-982C-781CE0F4CBE6}"/>
                </a:ext>
              </a:extLst>
            </p:cNvPr>
            <p:cNvSpPr/>
            <p:nvPr/>
          </p:nvSpPr>
          <p:spPr bwMode="auto">
            <a:xfrm>
              <a:off x="7332663" y="4654551"/>
              <a:ext cx="138113" cy="12700"/>
            </a:xfrm>
            <a:custGeom>
              <a:avLst/>
              <a:gdLst>
                <a:gd name="T0" fmla="*/ 0 w 99"/>
                <a:gd name="T1" fmla="*/ 0 h 9"/>
                <a:gd name="T2" fmla="*/ 0 w 99"/>
                <a:gd name="T3" fmla="*/ 5 h 9"/>
                <a:gd name="T4" fmla="*/ 0 w 99"/>
                <a:gd name="T5" fmla="*/ 5 h 9"/>
                <a:gd name="T6" fmla="*/ 97 w 99"/>
                <a:gd name="T7" fmla="*/ 9 h 9"/>
                <a:gd name="T8" fmla="*/ 99 w 99"/>
                <a:gd name="T9" fmla="*/ 3 h 9"/>
                <a:gd name="T10" fmla="*/ 0 w 99"/>
                <a:gd name="T11" fmla="*/ 0 h 9"/>
              </a:gdLst>
              <a:ahLst/>
              <a:cxnLst>
                <a:cxn ang="0">
                  <a:pos x="T0" y="T1"/>
                </a:cxn>
                <a:cxn ang="0">
                  <a:pos x="T2" y="T3"/>
                </a:cxn>
                <a:cxn ang="0">
                  <a:pos x="T4" y="T5"/>
                </a:cxn>
                <a:cxn ang="0">
                  <a:pos x="T6" y="T7"/>
                </a:cxn>
                <a:cxn ang="0">
                  <a:pos x="T8" y="T9"/>
                </a:cxn>
                <a:cxn ang="0">
                  <a:pos x="T10" y="T11"/>
                </a:cxn>
              </a:cxnLst>
              <a:rect l="0" t="0" r="r" b="b"/>
              <a:pathLst>
                <a:path w="99" h="9">
                  <a:moveTo>
                    <a:pt x="0" y="0"/>
                  </a:moveTo>
                  <a:cubicBezTo>
                    <a:pt x="0" y="1"/>
                    <a:pt x="0" y="3"/>
                    <a:pt x="0" y="5"/>
                  </a:cubicBezTo>
                  <a:cubicBezTo>
                    <a:pt x="0" y="5"/>
                    <a:pt x="0" y="5"/>
                    <a:pt x="0" y="5"/>
                  </a:cubicBezTo>
                  <a:cubicBezTo>
                    <a:pt x="34" y="6"/>
                    <a:pt x="70" y="7"/>
                    <a:pt x="97" y="9"/>
                  </a:cubicBezTo>
                  <a:cubicBezTo>
                    <a:pt x="97" y="7"/>
                    <a:pt x="98" y="5"/>
                    <a:pt x="99" y="3"/>
                  </a:cubicBezTo>
                  <a:cubicBezTo>
                    <a:pt x="72" y="2"/>
                    <a:pt x="35" y="0"/>
                    <a:pt x="0"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îşḷíḑê">
              <a:extLst>
                <a:ext uri="{FF2B5EF4-FFF2-40B4-BE49-F238E27FC236}">
                  <a16:creationId xmlns:a16="http://schemas.microsoft.com/office/drawing/2014/main" id="{6DA21925-D360-4FDE-89CF-B767778AD65E}"/>
                </a:ext>
              </a:extLst>
            </p:cNvPr>
            <p:cNvSpPr/>
            <p:nvPr/>
          </p:nvSpPr>
          <p:spPr bwMode="auto">
            <a:xfrm>
              <a:off x="7132638" y="4654551"/>
              <a:ext cx="200025" cy="26988"/>
            </a:xfrm>
            <a:custGeom>
              <a:avLst/>
              <a:gdLst>
                <a:gd name="T0" fmla="*/ 136 w 144"/>
                <a:gd name="T1" fmla="*/ 0 h 19"/>
                <a:gd name="T2" fmla="*/ 52 w 144"/>
                <a:gd name="T3" fmla="*/ 6 h 19"/>
                <a:gd name="T4" fmla="*/ 8 w 144"/>
                <a:gd name="T5" fmla="*/ 13 h 19"/>
                <a:gd name="T6" fmla="*/ 0 w 144"/>
                <a:gd name="T7" fmla="*/ 13 h 19"/>
                <a:gd name="T8" fmla="*/ 1 w 144"/>
                <a:gd name="T9" fmla="*/ 19 h 19"/>
                <a:gd name="T10" fmla="*/ 8 w 144"/>
                <a:gd name="T11" fmla="*/ 19 h 19"/>
                <a:gd name="T12" fmla="*/ 52 w 144"/>
                <a:gd name="T13" fmla="*/ 12 h 19"/>
                <a:gd name="T14" fmla="*/ 109 w 144"/>
                <a:gd name="T15" fmla="*/ 6 h 19"/>
                <a:gd name="T16" fmla="*/ 144 w 144"/>
                <a:gd name="T17" fmla="*/ 5 h 19"/>
                <a:gd name="T18" fmla="*/ 144 w 144"/>
                <a:gd name="T19" fmla="*/ 0 h 19"/>
                <a:gd name="T20" fmla="*/ 136 w 14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9">
                  <a:moveTo>
                    <a:pt x="136" y="0"/>
                  </a:moveTo>
                  <a:cubicBezTo>
                    <a:pt x="101" y="0"/>
                    <a:pt x="70" y="1"/>
                    <a:pt x="52" y="6"/>
                  </a:cubicBezTo>
                  <a:cubicBezTo>
                    <a:pt x="34" y="11"/>
                    <a:pt x="20" y="13"/>
                    <a:pt x="8" y="13"/>
                  </a:cubicBezTo>
                  <a:cubicBezTo>
                    <a:pt x="5" y="13"/>
                    <a:pt x="2" y="13"/>
                    <a:pt x="0" y="13"/>
                  </a:cubicBezTo>
                  <a:cubicBezTo>
                    <a:pt x="0" y="15"/>
                    <a:pt x="1" y="17"/>
                    <a:pt x="1" y="19"/>
                  </a:cubicBezTo>
                  <a:cubicBezTo>
                    <a:pt x="3" y="19"/>
                    <a:pt x="5" y="19"/>
                    <a:pt x="8" y="19"/>
                  </a:cubicBezTo>
                  <a:cubicBezTo>
                    <a:pt x="23" y="19"/>
                    <a:pt x="38" y="17"/>
                    <a:pt x="52" y="12"/>
                  </a:cubicBezTo>
                  <a:cubicBezTo>
                    <a:pt x="65" y="8"/>
                    <a:pt x="85" y="7"/>
                    <a:pt x="109" y="6"/>
                  </a:cubicBezTo>
                  <a:cubicBezTo>
                    <a:pt x="120" y="5"/>
                    <a:pt x="132" y="5"/>
                    <a:pt x="144" y="5"/>
                  </a:cubicBezTo>
                  <a:cubicBezTo>
                    <a:pt x="144" y="3"/>
                    <a:pt x="144" y="1"/>
                    <a:pt x="144" y="0"/>
                  </a:cubicBezTo>
                  <a:cubicBezTo>
                    <a:pt x="141" y="0"/>
                    <a:pt x="139" y="0"/>
                    <a:pt x="136"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îşļiḑe">
              <a:extLst>
                <a:ext uri="{FF2B5EF4-FFF2-40B4-BE49-F238E27FC236}">
                  <a16:creationId xmlns:a16="http://schemas.microsoft.com/office/drawing/2014/main" id="{1F304C7D-F61E-4E9A-A6F2-9A7DA0F6C5C9}"/>
                </a:ext>
              </a:extLst>
            </p:cNvPr>
            <p:cNvSpPr/>
            <p:nvPr/>
          </p:nvSpPr>
          <p:spPr bwMode="auto">
            <a:xfrm>
              <a:off x="7058025" y="4037013"/>
              <a:ext cx="501650" cy="646113"/>
            </a:xfrm>
            <a:custGeom>
              <a:avLst/>
              <a:gdLst>
                <a:gd name="T0" fmla="*/ 361 w 361"/>
                <a:gd name="T1" fmla="*/ 249 h 466"/>
                <a:gd name="T2" fmla="*/ 353 w 361"/>
                <a:gd name="T3" fmla="*/ 267 h 466"/>
                <a:gd name="T4" fmla="*/ 350 w 361"/>
                <a:gd name="T5" fmla="*/ 280 h 466"/>
                <a:gd name="T6" fmla="*/ 344 w 361"/>
                <a:gd name="T7" fmla="*/ 356 h 466"/>
                <a:gd name="T8" fmla="*/ 339 w 361"/>
                <a:gd name="T9" fmla="*/ 451 h 466"/>
                <a:gd name="T10" fmla="*/ 106 w 361"/>
                <a:gd name="T11" fmla="*/ 451 h 466"/>
                <a:gd name="T12" fmla="*/ 27 w 361"/>
                <a:gd name="T13" fmla="*/ 451 h 466"/>
                <a:gd name="T14" fmla="*/ 18 w 361"/>
                <a:gd name="T15" fmla="*/ 365 h 466"/>
                <a:gd name="T16" fmla="*/ 0 w 361"/>
                <a:gd name="T17" fmla="*/ 197 h 466"/>
                <a:gd name="T18" fmla="*/ 4 w 361"/>
                <a:gd name="T19" fmla="*/ 145 h 466"/>
                <a:gd name="T20" fmla="*/ 61 w 361"/>
                <a:gd name="T21" fmla="*/ 0 h 466"/>
                <a:gd name="T22" fmla="*/ 72 w 361"/>
                <a:gd name="T23" fmla="*/ 1 h 466"/>
                <a:gd name="T24" fmla="*/ 100 w 361"/>
                <a:gd name="T25" fmla="*/ 2 h 466"/>
                <a:gd name="T26" fmla="*/ 259 w 361"/>
                <a:gd name="T27" fmla="*/ 11 h 466"/>
                <a:gd name="T28" fmla="*/ 284 w 361"/>
                <a:gd name="T29" fmla="*/ 12 h 466"/>
                <a:gd name="T30" fmla="*/ 286 w 361"/>
                <a:gd name="T31" fmla="*/ 20 h 466"/>
                <a:gd name="T32" fmla="*/ 361 w 361"/>
                <a:gd name="T33" fmla="*/ 24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1" h="466">
                  <a:moveTo>
                    <a:pt x="361" y="249"/>
                  </a:moveTo>
                  <a:cubicBezTo>
                    <a:pt x="353" y="267"/>
                    <a:pt x="353" y="267"/>
                    <a:pt x="353" y="267"/>
                  </a:cubicBezTo>
                  <a:cubicBezTo>
                    <a:pt x="353" y="267"/>
                    <a:pt x="352" y="272"/>
                    <a:pt x="350" y="280"/>
                  </a:cubicBezTo>
                  <a:cubicBezTo>
                    <a:pt x="347" y="298"/>
                    <a:pt x="342" y="331"/>
                    <a:pt x="344" y="356"/>
                  </a:cubicBezTo>
                  <a:cubicBezTo>
                    <a:pt x="347" y="394"/>
                    <a:pt x="339" y="451"/>
                    <a:pt x="339" y="451"/>
                  </a:cubicBezTo>
                  <a:cubicBezTo>
                    <a:pt x="339" y="451"/>
                    <a:pt x="159" y="436"/>
                    <a:pt x="106" y="451"/>
                  </a:cubicBezTo>
                  <a:cubicBezTo>
                    <a:pt x="53" y="466"/>
                    <a:pt x="27" y="451"/>
                    <a:pt x="27" y="451"/>
                  </a:cubicBezTo>
                  <a:cubicBezTo>
                    <a:pt x="27" y="451"/>
                    <a:pt x="34" y="395"/>
                    <a:pt x="18" y="365"/>
                  </a:cubicBezTo>
                  <a:cubicBezTo>
                    <a:pt x="7" y="345"/>
                    <a:pt x="0" y="256"/>
                    <a:pt x="0" y="197"/>
                  </a:cubicBezTo>
                  <a:cubicBezTo>
                    <a:pt x="0" y="170"/>
                    <a:pt x="1" y="150"/>
                    <a:pt x="4" y="145"/>
                  </a:cubicBezTo>
                  <a:cubicBezTo>
                    <a:pt x="15" y="132"/>
                    <a:pt x="61" y="0"/>
                    <a:pt x="61" y="0"/>
                  </a:cubicBezTo>
                  <a:cubicBezTo>
                    <a:pt x="72" y="1"/>
                    <a:pt x="72" y="1"/>
                    <a:pt x="72" y="1"/>
                  </a:cubicBezTo>
                  <a:cubicBezTo>
                    <a:pt x="100" y="2"/>
                    <a:pt x="100" y="2"/>
                    <a:pt x="100" y="2"/>
                  </a:cubicBezTo>
                  <a:cubicBezTo>
                    <a:pt x="259" y="11"/>
                    <a:pt x="259" y="11"/>
                    <a:pt x="259" y="11"/>
                  </a:cubicBezTo>
                  <a:cubicBezTo>
                    <a:pt x="284" y="12"/>
                    <a:pt x="284" y="12"/>
                    <a:pt x="284" y="12"/>
                  </a:cubicBezTo>
                  <a:cubicBezTo>
                    <a:pt x="286" y="20"/>
                    <a:pt x="286" y="20"/>
                    <a:pt x="286" y="20"/>
                  </a:cubicBezTo>
                  <a:cubicBezTo>
                    <a:pt x="361" y="249"/>
                    <a:pt x="361" y="249"/>
                    <a:pt x="361" y="249"/>
                  </a:cubicBezTo>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îsļïḓé">
              <a:extLst>
                <a:ext uri="{FF2B5EF4-FFF2-40B4-BE49-F238E27FC236}">
                  <a16:creationId xmlns:a16="http://schemas.microsoft.com/office/drawing/2014/main" id="{A96C32D7-14DB-4103-B456-6440B7B1206E}"/>
                </a:ext>
              </a:extLst>
            </p:cNvPr>
            <p:cNvSpPr/>
            <p:nvPr/>
          </p:nvSpPr>
          <p:spPr bwMode="auto">
            <a:xfrm>
              <a:off x="7562850" y="4198938"/>
              <a:ext cx="109538" cy="123825"/>
            </a:xfrm>
            <a:custGeom>
              <a:avLst/>
              <a:gdLst>
                <a:gd name="T0" fmla="*/ 78 w 79"/>
                <a:gd name="T1" fmla="*/ 74 h 89"/>
                <a:gd name="T2" fmla="*/ 79 w 79"/>
                <a:gd name="T3" fmla="*/ 89 h 89"/>
                <a:gd name="T4" fmla="*/ 4 w 79"/>
                <a:gd name="T5" fmla="*/ 32 h 89"/>
                <a:gd name="T6" fmla="*/ 4 w 79"/>
                <a:gd name="T7" fmla="*/ 4 h 89"/>
                <a:gd name="T8" fmla="*/ 68 w 79"/>
                <a:gd name="T9" fmla="*/ 9 h 89"/>
                <a:gd name="T10" fmla="*/ 78 w 79"/>
                <a:gd name="T11" fmla="*/ 74 h 89"/>
              </a:gdLst>
              <a:ahLst/>
              <a:cxnLst>
                <a:cxn ang="0">
                  <a:pos x="T0" y="T1"/>
                </a:cxn>
                <a:cxn ang="0">
                  <a:pos x="T2" y="T3"/>
                </a:cxn>
                <a:cxn ang="0">
                  <a:pos x="T4" y="T5"/>
                </a:cxn>
                <a:cxn ang="0">
                  <a:pos x="T6" y="T7"/>
                </a:cxn>
                <a:cxn ang="0">
                  <a:pos x="T8" y="T9"/>
                </a:cxn>
                <a:cxn ang="0">
                  <a:pos x="T10" y="T11"/>
                </a:cxn>
              </a:cxnLst>
              <a:rect l="0" t="0" r="r" b="b"/>
              <a:pathLst>
                <a:path w="79" h="89">
                  <a:moveTo>
                    <a:pt x="78" y="74"/>
                  </a:moveTo>
                  <a:cubicBezTo>
                    <a:pt x="79" y="89"/>
                    <a:pt x="79" y="89"/>
                    <a:pt x="79" y="89"/>
                  </a:cubicBezTo>
                  <a:cubicBezTo>
                    <a:pt x="79" y="89"/>
                    <a:pt x="0" y="64"/>
                    <a:pt x="4" y="32"/>
                  </a:cubicBezTo>
                  <a:cubicBezTo>
                    <a:pt x="8" y="0"/>
                    <a:pt x="4" y="4"/>
                    <a:pt x="4" y="4"/>
                  </a:cubicBezTo>
                  <a:cubicBezTo>
                    <a:pt x="68" y="9"/>
                    <a:pt x="68" y="9"/>
                    <a:pt x="68" y="9"/>
                  </a:cubicBezTo>
                  <a:cubicBezTo>
                    <a:pt x="78" y="74"/>
                    <a:pt x="78" y="74"/>
                    <a:pt x="78" y="74"/>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Sḻidê">
              <a:extLst>
                <a:ext uri="{FF2B5EF4-FFF2-40B4-BE49-F238E27FC236}">
                  <a16:creationId xmlns:a16="http://schemas.microsoft.com/office/drawing/2014/main" id="{695BE8E5-3FCD-4D6C-8776-327791CB348E}"/>
                </a:ext>
              </a:extLst>
            </p:cNvPr>
            <p:cNvSpPr/>
            <p:nvPr/>
          </p:nvSpPr>
          <p:spPr bwMode="auto">
            <a:xfrm>
              <a:off x="7608888" y="4284663"/>
              <a:ext cx="63500" cy="38100"/>
            </a:xfrm>
            <a:custGeom>
              <a:avLst/>
              <a:gdLst>
                <a:gd name="T0" fmla="*/ 27 w 46"/>
                <a:gd name="T1" fmla="*/ 0 h 27"/>
                <a:gd name="T2" fmla="*/ 23 w 46"/>
                <a:gd name="T3" fmla="*/ 2 h 27"/>
                <a:gd name="T4" fmla="*/ 0 w 46"/>
                <a:gd name="T5" fmla="*/ 6 h 27"/>
                <a:gd name="T6" fmla="*/ 46 w 46"/>
                <a:gd name="T7" fmla="*/ 27 h 27"/>
                <a:gd name="T8" fmla="*/ 46 w 46"/>
                <a:gd name="T9" fmla="*/ 27 h 27"/>
                <a:gd name="T10" fmla="*/ 27 w 46"/>
                <a:gd name="T11" fmla="*/ 0 h 27"/>
              </a:gdLst>
              <a:ahLst/>
              <a:cxnLst>
                <a:cxn ang="0">
                  <a:pos x="T0" y="T1"/>
                </a:cxn>
                <a:cxn ang="0">
                  <a:pos x="T2" y="T3"/>
                </a:cxn>
                <a:cxn ang="0">
                  <a:pos x="T4" y="T5"/>
                </a:cxn>
                <a:cxn ang="0">
                  <a:pos x="T6" y="T7"/>
                </a:cxn>
                <a:cxn ang="0">
                  <a:pos x="T8" y="T9"/>
                </a:cxn>
                <a:cxn ang="0">
                  <a:pos x="T10" y="T11"/>
                </a:cxn>
              </a:cxnLst>
              <a:rect l="0" t="0" r="r" b="b"/>
              <a:pathLst>
                <a:path w="46" h="27">
                  <a:moveTo>
                    <a:pt x="27" y="0"/>
                  </a:moveTo>
                  <a:cubicBezTo>
                    <a:pt x="26" y="1"/>
                    <a:pt x="24" y="1"/>
                    <a:pt x="23" y="2"/>
                  </a:cubicBezTo>
                  <a:cubicBezTo>
                    <a:pt x="15" y="4"/>
                    <a:pt x="7" y="5"/>
                    <a:pt x="0" y="6"/>
                  </a:cubicBezTo>
                  <a:cubicBezTo>
                    <a:pt x="21" y="19"/>
                    <a:pt x="46" y="27"/>
                    <a:pt x="46" y="27"/>
                  </a:cubicBezTo>
                  <a:cubicBezTo>
                    <a:pt x="46" y="27"/>
                    <a:pt x="46" y="27"/>
                    <a:pt x="46" y="27"/>
                  </a:cubicBezTo>
                  <a:cubicBezTo>
                    <a:pt x="46" y="27"/>
                    <a:pt x="38" y="15"/>
                    <a:pt x="27"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ŝ1ïḋe">
              <a:extLst>
                <a:ext uri="{FF2B5EF4-FFF2-40B4-BE49-F238E27FC236}">
                  <a16:creationId xmlns:a16="http://schemas.microsoft.com/office/drawing/2014/main" id="{43C5ADFC-B2E8-4776-ABF7-05EC75B20F0E}"/>
                </a:ext>
              </a:extLst>
            </p:cNvPr>
            <p:cNvSpPr/>
            <p:nvPr/>
          </p:nvSpPr>
          <p:spPr bwMode="auto">
            <a:xfrm>
              <a:off x="6950075" y="3659188"/>
              <a:ext cx="53975" cy="38100"/>
            </a:xfrm>
            <a:custGeom>
              <a:avLst/>
              <a:gdLst>
                <a:gd name="T0" fmla="*/ 37 w 39"/>
                <a:gd name="T1" fmla="*/ 26 h 27"/>
                <a:gd name="T2" fmla="*/ 39 w 39"/>
                <a:gd name="T3" fmla="*/ 27 h 27"/>
                <a:gd name="T4" fmla="*/ 37 w 39"/>
                <a:gd name="T5" fmla="*/ 26 h 27"/>
                <a:gd name="T6" fmla="*/ 0 w 39"/>
                <a:gd name="T7" fmla="*/ 0 h 27"/>
                <a:gd name="T8" fmla="*/ 12 w 39"/>
                <a:gd name="T9" fmla="*/ 12 h 27"/>
                <a:gd name="T10" fmla="*/ 37 w 39"/>
                <a:gd name="T11" fmla="*/ 26 h 27"/>
                <a:gd name="T12" fmla="*/ 31 w 39"/>
                <a:gd name="T13" fmla="*/ 23 h 27"/>
                <a:gd name="T14" fmla="*/ 15 w 39"/>
                <a:gd name="T15" fmla="*/ 10 h 27"/>
                <a:gd name="T16" fmla="*/ 0 w 39"/>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7">
                  <a:moveTo>
                    <a:pt x="37" y="26"/>
                  </a:moveTo>
                  <a:cubicBezTo>
                    <a:pt x="38" y="27"/>
                    <a:pt x="39" y="27"/>
                    <a:pt x="39" y="27"/>
                  </a:cubicBezTo>
                  <a:cubicBezTo>
                    <a:pt x="39" y="27"/>
                    <a:pt x="38" y="26"/>
                    <a:pt x="37" y="26"/>
                  </a:cubicBezTo>
                  <a:moveTo>
                    <a:pt x="0" y="0"/>
                  </a:moveTo>
                  <a:cubicBezTo>
                    <a:pt x="3" y="4"/>
                    <a:pt x="7" y="9"/>
                    <a:pt x="12" y="12"/>
                  </a:cubicBezTo>
                  <a:cubicBezTo>
                    <a:pt x="19" y="19"/>
                    <a:pt x="28" y="24"/>
                    <a:pt x="37" y="26"/>
                  </a:cubicBezTo>
                  <a:cubicBezTo>
                    <a:pt x="35" y="26"/>
                    <a:pt x="33" y="24"/>
                    <a:pt x="31" y="23"/>
                  </a:cubicBezTo>
                  <a:cubicBezTo>
                    <a:pt x="26" y="19"/>
                    <a:pt x="20" y="14"/>
                    <a:pt x="15" y="10"/>
                  </a:cubicBezTo>
                  <a:cubicBezTo>
                    <a:pt x="11" y="7"/>
                    <a:pt x="5" y="1"/>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ṥlíďê">
              <a:extLst>
                <a:ext uri="{FF2B5EF4-FFF2-40B4-BE49-F238E27FC236}">
                  <a16:creationId xmlns:a16="http://schemas.microsoft.com/office/drawing/2014/main" id="{CEBF084F-5E8F-45E1-8789-25FD79454503}"/>
                </a:ext>
              </a:extLst>
            </p:cNvPr>
            <p:cNvSpPr/>
            <p:nvPr/>
          </p:nvSpPr>
          <p:spPr bwMode="auto">
            <a:xfrm>
              <a:off x="6935788" y="3678238"/>
              <a:ext cx="42863" cy="82550"/>
            </a:xfrm>
            <a:custGeom>
              <a:avLst/>
              <a:gdLst>
                <a:gd name="T0" fmla="*/ 2 w 31"/>
                <a:gd name="T1" fmla="*/ 0 h 60"/>
                <a:gd name="T2" fmla="*/ 1 w 31"/>
                <a:gd name="T3" fmla="*/ 1 h 60"/>
                <a:gd name="T4" fmla="*/ 9 w 31"/>
                <a:gd name="T5" fmla="*/ 14 h 60"/>
                <a:gd name="T6" fmla="*/ 16 w 31"/>
                <a:gd name="T7" fmla="*/ 29 h 60"/>
                <a:gd name="T8" fmla="*/ 28 w 31"/>
                <a:gd name="T9" fmla="*/ 60 h 60"/>
                <a:gd name="T10" fmla="*/ 29 w 31"/>
                <a:gd name="T11" fmla="*/ 30 h 60"/>
                <a:gd name="T12" fmla="*/ 23 w 31"/>
                <a:gd name="T13" fmla="*/ 20 h 60"/>
                <a:gd name="T14" fmla="*/ 2 w 31"/>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0">
                  <a:moveTo>
                    <a:pt x="2" y="0"/>
                  </a:moveTo>
                  <a:cubicBezTo>
                    <a:pt x="2" y="0"/>
                    <a:pt x="1" y="1"/>
                    <a:pt x="1" y="1"/>
                  </a:cubicBezTo>
                  <a:cubicBezTo>
                    <a:pt x="0" y="3"/>
                    <a:pt x="8" y="12"/>
                    <a:pt x="9" y="14"/>
                  </a:cubicBezTo>
                  <a:cubicBezTo>
                    <a:pt x="11" y="19"/>
                    <a:pt x="14" y="24"/>
                    <a:pt x="16" y="29"/>
                  </a:cubicBezTo>
                  <a:cubicBezTo>
                    <a:pt x="28" y="60"/>
                    <a:pt x="28" y="60"/>
                    <a:pt x="28" y="60"/>
                  </a:cubicBezTo>
                  <a:cubicBezTo>
                    <a:pt x="31" y="50"/>
                    <a:pt x="31" y="40"/>
                    <a:pt x="29" y="30"/>
                  </a:cubicBezTo>
                  <a:cubicBezTo>
                    <a:pt x="27" y="26"/>
                    <a:pt x="25" y="23"/>
                    <a:pt x="23" y="20"/>
                  </a:cubicBezTo>
                  <a:cubicBezTo>
                    <a:pt x="21" y="17"/>
                    <a:pt x="7" y="0"/>
                    <a:pt x="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ḷîďè">
              <a:extLst>
                <a:ext uri="{FF2B5EF4-FFF2-40B4-BE49-F238E27FC236}">
                  <a16:creationId xmlns:a16="http://schemas.microsoft.com/office/drawing/2014/main" id="{FADB8CEF-D067-4EBD-8BE1-C2DEDE094895}"/>
                </a:ext>
              </a:extLst>
            </p:cNvPr>
            <p:cNvSpPr/>
            <p:nvPr/>
          </p:nvSpPr>
          <p:spPr bwMode="auto">
            <a:xfrm>
              <a:off x="7388225" y="3924301"/>
              <a:ext cx="100013" cy="17463"/>
            </a:xfrm>
            <a:custGeom>
              <a:avLst/>
              <a:gdLst>
                <a:gd name="T0" fmla="*/ 71 w 72"/>
                <a:gd name="T1" fmla="*/ 0 h 12"/>
                <a:gd name="T2" fmla="*/ 35 w 72"/>
                <a:gd name="T3" fmla="*/ 9 h 12"/>
                <a:gd name="T4" fmla="*/ 23 w 72"/>
                <a:gd name="T5" fmla="*/ 11 h 12"/>
                <a:gd name="T6" fmla="*/ 0 w 72"/>
                <a:gd name="T7" fmla="*/ 6 h 12"/>
                <a:gd name="T8" fmla="*/ 32 w 72"/>
                <a:gd name="T9" fmla="*/ 12 h 12"/>
                <a:gd name="T10" fmla="*/ 51 w 72"/>
                <a:gd name="T11" fmla="*/ 11 h 12"/>
                <a:gd name="T12" fmla="*/ 72 w 72"/>
                <a:gd name="T13" fmla="*/ 2 h 12"/>
                <a:gd name="T14" fmla="*/ 71 w 7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
                  <a:moveTo>
                    <a:pt x="71" y="0"/>
                  </a:moveTo>
                  <a:cubicBezTo>
                    <a:pt x="59" y="2"/>
                    <a:pt x="48" y="7"/>
                    <a:pt x="35" y="9"/>
                  </a:cubicBezTo>
                  <a:cubicBezTo>
                    <a:pt x="31" y="10"/>
                    <a:pt x="27" y="11"/>
                    <a:pt x="23" y="11"/>
                  </a:cubicBezTo>
                  <a:cubicBezTo>
                    <a:pt x="15" y="11"/>
                    <a:pt x="7" y="9"/>
                    <a:pt x="0" y="6"/>
                  </a:cubicBezTo>
                  <a:cubicBezTo>
                    <a:pt x="9" y="11"/>
                    <a:pt x="21" y="12"/>
                    <a:pt x="32" y="12"/>
                  </a:cubicBezTo>
                  <a:cubicBezTo>
                    <a:pt x="38" y="12"/>
                    <a:pt x="45" y="12"/>
                    <a:pt x="51" y="11"/>
                  </a:cubicBezTo>
                  <a:cubicBezTo>
                    <a:pt x="58" y="10"/>
                    <a:pt x="66" y="7"/>
                    <a:pt x="72" y="2"/>
                  </a:cubicBezTo>
                  <a:cubicBezTo>
                    <a:pt x="72" y="1"/>
                    <a:pt x="72" y="1"/>
                    <a:pt x="7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1ídé">
              <a:extLst>
                <a:ext uri="{FF2B5EF4-FFF2-40B4-BE49-F238E27FC236}">
                  <a16:creationId xmlns:a16="http://schemas.microsoft.com/office/drawing/2014/main" id="{3015BAAF-AC02-4ACA-A04D-680D114BEB58}"/>
                </a:ext>
              </a:extLst>
            </p:cNvPr>
            <p:cNvSpPr/>
            <p:nvPr/>
          </p:nvSpPr>
          <p:spPr bwMode="auto">
            <a:xfrm>
              <a:off x="7318375" y="3762376"/>
              <a:ext cx="88900" cy="52388"/>
            </a:xfrm>
            <a:custGeom>
              <a:avLst/>
              <a:gdLst>
                <a:gd name="T0" fmla="*/ 56 w 64"/>
                <a:gd name="T1" fmla="*/ 36 h 38"/>
                <a:gd name="T2" fmla="*/ 57 w 64"/>
                <a:gd name="T3" fmla="*/ 37 h 38"/>
                <a:gd name="T4" fmla="*/ 62 w 64"/>
                <a:gd name="T5" fmla="*/ 38 h 38"/>
                <a:gd name="T6" fmla="*/ 64 w 64"/>
                <a:gd name="T7" fmla="*/ 38 h 38"/>
                <a:gd name="T8" fmla="*/ 56 w 64"/>
                <a:gd name="T9" fmla="*/ 36 h 38"/>
                <a:gd name="T10" fmla="*/ 3 w 64"/>
                <a:gd name="T11" fmla="*/ 2 h 38"/>
                <a:gd name="T12" fmla="*/ 56 w 64"/>
                <a:gd name="T13" fmla="*/ 36 h 38"/>
                <a:gd name="T14" fmla="*/ 28 w 64"/>
                <a:gd name="T15" fmla="*/ 19 h 38"/>
                <a:gd name="T16" fmla="*/ 3 w 64"/>
                <a:gd name="T17" fmla="*/ 2 h 38"/>
                <a:gd name="T18" fmla="*/ 0 w 64"/>
                <a:gd name="T19" fmla="*/ 0 h 38"/>
                <a:gd name="T20" fmla="*/ 3 w 64"/>
                <a:gd name="T21" fmla="*/ 2 h 38"/>
                <a:gd name="T22" fmla="*/ 0 w 64"/>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38">
                  <a:moveTo>
                    <a:pt x="56" y="36"/>
                  </a:moveTo>
                  <a:cubicBezTo>
                    <a:pt x="57" y="36"/>
                    <a:pt x="57" y="36"/>
                    <a:pt x="57" y="37"/>
                  </a:cubicBezTo>
                  <a:cubicBezTo>
                    <a:pt x="59" y="38"/>
                    <a:pt x="61" y="38"/>
                    <a:pt x="62" y="38"/>
                  </a:cubicBezTo>
                  <a:cubicBezTo>
                    <a:pt x="63" y="38"/>
                    <a:pt x="63" y="38"/>
                    <a:pt x="64" y="38"/>
                  </a:cubicBezTo>
                  <a:cubicBezTo>
                    <a:pt x="61" y="38"/>
                    <a:pt x="59" y="37"/>
                    <a:pt x="56" y="36"/>
                  </a:cubicBezTo>
                  <a:moveTo>
                    <a:pt x="3" y="2"/>
                  </a:moveTo>
                  <a:cubicBezTo>
                    <a:pt x="19" y="17"/>
                    <a:pt x="35" y="29"/>
                    <a:pt x="56" y="36"/>
                  </a:cubicBezTo>
                  <a:cubicBezTo>
                    <a:pt x="47" y="31"/>
                    <a:pt x="38" y="25"/>
                    <a:pt x="28" y="19"/>
                  </a:cubicBezTo>
                  <a:cubicBezTo>
                    <a:pt x="20" y="14"/>
                    <a:pt x="10" y="8"/>
                    <a:pt x="3" y="2"/>
                  </a:cubicBezTo>
                  <a:moveTo>
                    <a:pt x="0" y="0"/>
                  </a:moveTo>
                  <a:cubicBezTo>
                    <a:pt x="1" y="0"/>
                    <a:pt x="2" y="1"/>
                    <a:pt x="3" y="2"/>
                  </a:cubicBezTo>
                  <a:cubicBezTo>
                    <a:pt x="2" y="1"/>
                    <a:pt x="1"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ŝ1îdé">
              <a:extLst>
                <a:ext uri="{FF2B5EF4-FFF2-40B4-BE49-F238E27FC236}">
                  <a16:creationId xmlns:a16="http://schemas.microsoft.com/office/drawing/2014/main" id="{09CE3F9C-0A7A-4F13-AF34-240DA2774BCE}"/>
                </a:ext>
              </a:extLst>
            </p:cNvPr>
            <p:cNvSpPr/>
            <p:nvPr/>
          </p:nvSpPr>
          <p:spPr bwMode="auto">
            <a:xfrm>
              <a:off x="7407275" y="3946526"/>
              <a:ext cx="76200" cy="12700"/>
            </a:xfrm>
            <a:custGeom>
              <a:avLst/>
              <a:gdLst>
                <a:gd name="T0" fmla="*/ 53 w 55"/>
                <a:gd name="T1" fmla="*/ 0 h 10"/>
                <a:gd name="T2" fmla="*/ 49 w 55"/>
                <a:gd name="T3" fmla="*/ 1 h 10"/>
                <a:gd name="T4" fmla="*/ 15 w 55"/>
                <a:gd name="T5" fmla="*/ 8 h 10"/>
                <a:gd name="T6" fmla="*/ 0 w 55"/>
                <a:gd name="T7" fmla="*/ 7 h 10"/>
                <a:gd name="T8" fmla="*/ 20 w 55"/>
                <a:gd name="T9" fmla="*/ 10 h 10"/>
                <a:gd name="T10" fmla="*/ 23 w 55"/>
                <a:gd name="T11" fmla="*/ 10 h 10"/>
                <a:gd name="T12" fmla="*/ 26 w 55"/>
                <a:gd name="T13" fmla="*/ 10 h 10"/>
                <a:gd name="T14" fmla="*/ 27 w 55"/>
                <a:gd name="T15" fmla="*/ 10 h 10"/>
                <a:gd name="T16" fmla="*/ 30 w 55"/>
                <a:gd name="T17" fmla="*/ 10 h 10"/>
                <a:gd name="T18" fmla="*/ 42 w 55"/>
                <a:gd name="T19" fmla="*/ 9 h 10"/>
                <a:gd name="T20" fmla="*/ 55 w 55"/>
                <a:gd name="T21" fmla="*/ 1 h 10"/>
                <a:gd name="T22" fmla="*/ 53 w 55"/>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10">
                  <a:moveTo>
                    <a:pt x="53" y="0"/>
                  </a:moveTo>
                  <a:cubicBezTo>
                    <a:pt x="52" y="0"/>
                    <a:pt x="51" y="1"/>
                    <a:pt x="49" y="1"/>
                  </a:cubicBezTo>
                  <a:cubicBezTo>
                    <a:pt x="38" y="6"/>
                    <a:pt x="26" y="8"/>
                    <a:pt x="15" y="8"/>
                  </a:cubicBezTo>
                  <a:cubicBezTo>
                    <a:pt x="10" y="8"/>
                    <a:pt x="5" y="8"/>
                    <a:pt x="0" y="7"/>
                  </a:cubicBezTo>
                  <a:cubicBezTo>
                    <a:pt x="6" y="10"/>
                    <a:pt x="13" y="10"/>
                    <a:pt x="20" y="10"/>
                  </a:cubicBezTo>
                  <a:cubicBezTo>
                    <a:pt x="21" y="10"/>
                    <a:pt x="22" y="10"/>
                    <a:pt x="23" y="10"/>
                  </a:cubicBezTo>
                  <a:cubicBezTo>
                    <a:pt x="24" y="10"/>
                    <a:pt x="25" y="10"/>
                    <a:pt x="26" y="10"/>
                  </a:cubicBezTo>
                  <a:cubicBezTo>
                    <a:pt x="26" y="10"/>
                    <a:pt x="27" y="10"/>
                    <a:pt x="27" y="10"/>
                  </a:cubicBezTo>
                  <a:cubicBezTo>
                    <a:pt x="28" y="10"/>
                    <a:pt x="29" y="10"/>
                    <a:pt x="30" y="10"/>
                  </a:cubicBezTo>
                  <a:cubicBezTo>
                    <a:pt x="34" y="10"/>
                    <a:pt x="38" y="10"/>
                    <a:pt x="42" y="9"/>
                  </a:cubicBezTo>
                  <a:cubicBezTo>
                    <a:pt x="47" y="8"/>
                    <a:pt x="52" y="5"/>
                    <a:pt x="55" y="1"/>
                  </a:cubicBezTo>
                  <a:cubicBezTo>
                    <a:pt x="54" y="0"/>
                    <a:pt x="54" y="0"/>
                    <a:pt x="53"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ŝḻïďê">
              <a:extLst>
                <a:ext uri="{FF2B5EF4-FFF2-40B4-BE49-F238E27FC236}">
                  <a16:creationId xmlns:a16="http://schemas.microsoft.com/office/drawing/2014/main" id="{5D2146D5-556A-419E-A39E-4056CD8083EB}"/>
                </a:ext>
              </a:extLst>
            </p:cNvPr>
            <p:cNvSpPr/>
            <p:nvPr/>
          </p:nvSpPr>
          <p:spPr bwMode="auto">
            <a:xfrm>
              <a:off x="7137400" y="4270376"/>
              <a:ext cx="177800" cy="12700"/>
            </a:xfrm>
            <a:custGeom>
              <a:avLst/>
              <a:gdLst>
                <a:gd name="T0" fmla="*/ 44 w 128"/>
                <a:gd name="T1" fmla="*/ 0 h 10"/>
                <a:gd name="T2" fmla="*/ 24 w 128"/>
                <a:gd name="T3" fmla="*/ 0 h 10"/>
                <a:gd name="T4" fmla="*/ 24 w 128"/>
                <a:gd name="T5" fmla="*/ 0 h 10"/>
                <a:gd name="T6" fmla="*/ 19 w 128"/>
                <a:gd name="T7" fmla="*/ 0 h 10"/>
                <a:gd name="T8" fmla="*/ 13 w 128"/>
                <a:gd name="T9" fmla="*/ 0 h 10"/>
                <a:gd name="T10" fmla="*/ 5 w 128"/>
                <a:gd name="T11" fmla="*/ 1 h 10"/>
                <a:gd name="T12" fmla="*/ 12 w 128"/>
                <a:gd name="T13" fmla="*/ 6 h 10"/>
                <a:gd name="T14" fmla="*/ 32 w 128"/>
                <a:gd name="T15" fmla="*/ 7 h 10"/>
                <a:gd name="T16" fmla="*/ 72 w 128"/>
                <a:gd name="T17" fmla="*/ 10 h 10"/>
                <a:gd name="T18" fmla="*/ 88 w 128"/>
                <a:gd name="T19" fmla="*/ 10 h 10"/>
                <a:gd name="T20" fmla="*/ 97 w 128"/>
                <a:gd name="T21" fmla="*/ 10 h 10"/>
                <a:gd name="T22" fmla="*/ 128 w 128"/>
                <a:gd name="T23" fmla="*/ 4 h 10"/>
                <a:gd name="T24" fmla="*/ 84 w 128"/>
                <a:gd name="T25" fmla="*/ 1 h 10"/>
                <a:gd name="T26" fmla="*/ 44 w 128"/>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0">
                  <a:moveTo>
                    <a:pt x="44" y="0"/>
                  </a:moveTo>
                  <a:cubicBezTo>
                    <a:pt x="38" y="0"/>
                    <a:pt x="31" y="0"/>
                    <a:pt x="24" y="0"/>
                  </a:cubicBezTo>
                  <a:cubicBezTo>
                    <a:pt x="24" y="0"/>
                    <a:pt x="24" y="0"/>
                    <a:pt x="24" y="0"/>
                  </a:cubicBezTo>
                  <a:cubicBezTo>
                    <a:pt x="23" y="0"/>
                    <a:pt x="21" y="0"/>
                    <a:pt x="19" y="0"/>
                  </a:cubicBezTo>
                  <a:cubicBezTo>
                    <a:pt x="17" y="0"/>
                    <a:pt x="15" y="0"/>
                    <a:pt x="13" y="0"/>
                  </a:cubicBezTo>
                  <a:cubicBezTo>
                    <a:pt x="9" y="0"/>
                    <a:pt x="6" y="0"/>
                    <a:pt x="5" y="1"/>
                  </a:cubicBezTo>
                  <a:cubicBezTo>
                    <a:pt x="0" y="6"/>
                    <a:pt x="10" y="6"/>
                    <a:pt x="12" y="6"/>
                  </a:cubicBezTo>
                  <a:cubicBezTo>
                    <a:pt x="32" y="7"/>
                    <a:pt x="32" y="7"/>
                    <a:pt x="32" y="7"/>
                  </a:cubicBezTo>
                  <a:cubicBezTo>
                    <a:pt x="72" y="10"/>
                    <a:pt x="72" y="10"/>
                    <a:pt x="72" y="10"/>
                  </a:cubicBezTo>
                  <a:cubicBezTo>
                    <a:pt x="78" y="10"/>
                    <a:pt x="83" y="10"/>
                    <a:pt x="88" y="10"/>
                  </a:cubicBezTo>
                  <a:cubicBezTo>
                    <a:pt x="91" y="10"/>
                    <a:pt x="94" y="10"/>
                    <a:pt x="97" y="10"/>
                  </a:cubicBezTo>
                  <a:cubicBezTo>
                    <a:pt x="108" y="9"/>
                    <a:pt x="118" y="7"/>
                    <a:pt x="128" y="4"/>
                  </a:cubicBezTo>
                  <a:cubicBezTo>
                    <a:pt x="113" y="3"/>
                    <a:pt x="99" y="1"/>
                    <a:pt x="84" y="1"/>
                  </a:cubicBezTo>
                  <a:cubicBezTo>
                    <a:pt x="71" y="0"/>
                    <a:pt x="57" y="0"/>
                    <a:pt x="44"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šḷíde">
              <a:extLst>
                <a:ext uri="{FF2B5EF4-FFF2-40B4-BE49-F238E27FC236}">
                  <a16:creationId xmlns:a16="http://schemas.microsoft.com/office/drawing/2014/main" id="{C99EF710-E373-47BB-8BEF-01644E66AEA6}"/>
                </a:ext>
              </a:extLst>
            </p:cNvPr>
            <p:cNvSpPr/>
            <p:nvPr/>
          </p:nvSpPr>
          <p:spPr bwMode="auto">
            <a:xfrm>
              <a:off x="7123113" y="4297363"/>
              <a:ext cx="128588" cy="14288"/>
            </a:xfrm>
            <a:custGeom>
              <a:avLst/>
              <a:gdLst>
                <a:gd name="T0" fmla="*/ 0 w 92"/>
                <a:gd name="T1" fmla="*/ 0 h 10"/>
                <a:gd name="T2" fmla="*/ 46 w 92"/>
                <a:gd name="T3" fmla="*/ 9 h 10"/>
                <a:gd name="T4" fmla="*/ 52 w 92"/>
                <a:gd name="T5" fmla="*/ 10 h 10"/>
                <a:gd name="T6" fmla="*/ 69 w 92"/>
                <a:gd name="T7" fmla="*/ 9 h 10"/>
                <a:gd name="T8" fmla="*/ 91 w 92"/>
                <a:gd name="T9" fmla="*/ 4 h 10"/>
                <a:gd name="T10" fmla="*/ 92 w 92"/>
                <a:gd name="T11" fmla="*/ 4 h 10"/>
                <a:gd name="T12" fmla="*/ 0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0" y="0"/>
                  </a:moveTo>
                  <a:cubicBezTo>
                    <a:pt x="15" y="6"/>
                    <a:pt x="30" y="9"/>
                    <a:pt x="46" y="9"/>
                  </a:cubicBezTo>
                  <a:cubicBezTo>
                    <a:pt x="48" y="10"/>
                    <a:pt x="50" y="10"/>
                    <a:pt x="52" y="10"/>
                  </a:cubicBezTo>
                  <a:cubicBezTo>
                    <a:pt x="58" y="10"/>
                    <a:pt x="63" y="9"/>
                    <a:pt x="69" y="9"/>
                  </a:cubicBezTo>
                  <a:cubicBezTo>
                    <a:pt x="76" y="8"/>
                    <a:pt x="85" y="4"/>
                    <a:pt x="91" y="4"/>
                  </a:cubicBezTo>
                  <a:cubicBezTo>
                    <a:pt x="91" y="4"/>
                    <a:pt x="92" y="4"/>
                    <a:pt x="92" y="4"/>
                  </a:cubicBezTo>
                  <a:cubicBezTo>
                    <a:pt x="61" y="3"/>
                    <a:pt x="31" y="2"/>
                    <a:pt x="0"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ś1ïḑe">
              <a:extLst>
                <a:ext uri="{FF2B5EF4-FFF2-40B4-BE49-F238E27FC236}">
                  <a16:creationId xmlns:a16="http://schemas.microsoft.com/office/drawing/2014/main" id="{D871899D-AEB5-4811-B2C1-43E35C3608EA}"/>
                </a:ext>
              </a:extLst>
            </p:cNvPr>
            <p:cNvSpPr/>
            <p:nvPr/>
          </p:nvSpPr>
          <p:spPr bwMode="auto">
            <a:xfrm>
              <a:off x="7110413" y="4330701"/>
              <a:ext cx="106363" cy="17463"/>
            </a:xfrm>
            <a:custGeom>
              <a:avLst/>
              <a:gdLst>
                <a:gd name="T0" fmla="*/ 76 w 76"/>
                <a:gd name="T1" fmla="*/ 0 h 13"/>
                <a:gd name="T2" fmla="*/ 40 w 76"/>
                <a:gd name="T3" fmla="*/ 5 h 13"/>
                <a:gd name="T4" fmla="*/ 24 w 76"/>
                <a:gd name="T5" fmla="*/ 3 h 13"/>
                <a:gd name="T6" fmla="*/ 15 w 76"/>
                <a:gd name="T7" fmla="*/ 1 h 13"/>
                <a:gd name="T8" fmla="*/ 10 w 76"/>
                <a:gd name="T9" fmla="*/ 0 h 13"/>
                <a:gd name="T10" fmla="*/ 2 w 76"/>
                <a:gd name="T11" fmla="*/ 6 h 13"/>
                <a:gd name="T12" fmla="*/ 18 w 76"/>
                <a:gd name="T13" fmla="*/ 12 h 13"/>
                <a:gd name="T14" fmla="*/ 34 w 76"/>
                <a:gd name="T15" fmla="*/ 13 h 13"/>
                <a:gd name="T16" fmla="*/ 56 w 76"/>
                <a:gd name="T17" fmla="*/ 11 h 13"/>
                <a:gd name="T18" fmla="*/ 76 w 76"/>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
                  <a:moveTo>
                    <a:pt x="76" y="0"/>
                  </a:moveTo>
                  <a:cubicBezTo>
                    <a:pt x="64" y="3"/>
                    <a:pt x="52" y="5"/>
                    <a:pt x="40" y="5"/>
                  </a:cubicBezTo>
                  <a:cubicBezTo>
                    <a:pt x="35" y="5"/>
                    <a:pt x="29" y="5"/>
                    <a:pt x="24" y="3"/>
                  </a:cubicBezTo>
                  <a:cubicBezTo>
                    <a:pt x="21" y="2"/>
                    <a:pt x="18" y="1"/>
                    <a:pt x="15" y="1"/>
                  </a:cubicBezTo>
                  <a:cubicBezTo>
                    <a:pt x="14" y="1"/>
                    <a:pt x="12" y="0"/>
                    <a:pt x="10" y="0"/>
                  </a:cubicBezTo>
                  <a:cubicBezTo>
                    <a:pt x="5" y="0"/>
                    <a:pt x="0" y="1"/>
                    <a:pt x="2" y="6"/>
                  </a:cubicBezTo>
                  <a:cubicBezTo>
                    <a:pt x="4" y="10"/>
                    <a:pt x="14" y="11"/>
                    <a:pt x="18" y="12"/>
                  </a:cubicBezTo>
                  <a:cubicBezTo>
                    <a:pt x="23" y="13"/>
                    <a:pt x="28" y="13"/>
                    <a:pt x="34" y="13"/>
                  </a:cubicBezTo>
                  <a:cubicBezTo>
                    <a:pt x="41" y="13"/>
                    <a:pt x="49" y="12"/>
                    <a:pt x="56" y="11"/>
                  </a:cubicBezTo>
                  <a:cubicBezTo>
                    <a:pt x="64" y="9"/>
                    <a:pt x="72" y="6"/>
                    <a:pt x="76"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ṣ1íḓê">
              <a:extLst>
                <a:ext uri="{FF2B5EF4-FFF2-40B4-BE49-F238E27FC236}">
                  <a16:creationId xmlns:a16="http://schemas.microsoft.com/office/drawing/2014/main" id="{27E65B13-D81C-47E1-8E7F-EF259FB7E78E}"/>
                </a:ext>
              </a:extLst>
            </p:cNvPr>
            <p:cNvSpPr/>
            <p:nvPr/>
          </p:nvSpPr>
          <p:spPr bwMode="auto">
            <a:xfrm>
              <a:off x="7229475" y="4364038"/>
              <a:ext cx="233363" cy="26988"/>
            </a:xfrm>
            <a:custGeom>
              <a:avLst/>
              <a:gdLst>
                <a:gd name="T0" fmla="*/ 157 w 168"/>
                <a:gd name="T1" fmla="*/ 0 h 19"/>
                <a:gd name="T2" fmla="*/ 98 w 168"/>
                <a:gd name="T3" fmla="*/ 6 h 19"/>
                <a:gd name="T4" fmla="*/ 54 w 168"/>
                <a:gd name="T5" fmla="*/ 14 h 19"/>
                <a:gd name="T6" fmla="*/ 40 w 168"/>
                <a:gd name="T7" fmla="*/ 12 h 19"/>
                <a:gd name="T8" fmla="*/ 25 w 168"/>
                <a:gd name="T9" fmla="*/ 8 h 19"/>
                <a:gd name="T10" fmla="*/ 20 w 168"/>
                <a:gd name="T11" fmla="*/ 8 h 19"/>
                <a:gd name="T12" fmla="*/ 0 w 168"/>
                <a:gd name="T13" fmla="*/ 14 h 19"/>
                <a:gd name="T14" fmla="*/ 36 w 168"/>
                <a:gd name="T15" fmla="*/ 19 h 19"/>
                <a:gd name="T16" fmla="*/ 55 w 168"/>
                <a:gd name="T17" fmla="*/ 19 h 19"/>
                <a:gd name="T18" fmla="*/ 104 w 168"/>
                <a:gd name="T19" fmla="*/ 16 h 19"/>
                <a:gd name="T20" fmla="*/ 136 w 168"/>
                <a:gd name="T21" fmla="*/ 9 h 19"/>
                <a:gd name="T22" fmla="*/ 153 w 168"/>
                <a:gd name="T23" fmla="*/ 5 h 19"/>
                <a:gd name="T24" fmla="*/ 168 w 168"/>
                <a:gd name="T25" fmla="*/ 0 h 19"/>
                <a:gd name="T26" fmla="*/ 157 w 16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
                  <a:moveTo>
                    <a:pt x="157" y="0"/>
                  </a:moveTo>
                  <a:cubicBezTo>
                    <a:pt x="137" y="0"/>
                    <a:pt x="117" y="2"/>
                    <a:pt x="98" y="6"/>
                  </a:cubicBezTo>
                  <a:cubicBezTo>
                    <a:pt x="83" y="10"/>
                    <a:pt x="69" y="14"/>
                    <a:pt x="54" y="14"/>
                  </a:cubicBezTo>
                  <a:cubicBezTo>
                    <a:pt x="49" y="14"/>
                    <a:pt x="44" y="14"/>
                    <a:pt x="40" y="12"/>
                  </a:cubicBezTo>
                  <a:cubicBezTo>
                    <a:pt x="35" y="11"/>
                    <a:pt x="30" y="9"/>
                    <a:pt x="25" y="8"/>
                  </a:cubicBezTo>
                  <a:cubicBezTo>
                    <a:pt x="23" y="8"/>
                    <a:pt x="22" y="8"/>
                    <a:pt x="20" y="8"/>
                  </a:cubicBezTo>
                  <a:cubicBezTo>
                    <a:pt x="13" y="8"/>
                    <a:pt x="6" y="10"/>
                    <a:pt x="0" y="14"/>
                  </a:cubicBezTo>
                  <a:cubicBezTo>
                    <a:pt x="8" y="19"/>
                    <a:pt x="26" y="18"/>
                    <a:pt x="36" y="19"/>
                  </a:cubicBezTo>
                  <a:cubicBezTo>
                    <a:pt x="43" y="19"/>
                    <a:pt x="49" y="19"/>
                    <a:pt x="55" y="19"/>
                  </a:cubicBezTo>
                  <a:cubicBezTo>
                    <a:pt x="72" y="19"/>
                    <a:pt x="88" y="18"/>
                    <a:pt x="104" y="16"/>
                  </a:cubicBezTo>
                  <a:cubicBezTo>
                    <a:pt x="115" y="14"/>
                    <a:pt x="125" y="12"/>
                    <a:pt x="136" y="9"/>
                  </a:cubicBezTo>
                  <a:cubicBezTo>
                    <a:pt x="142" y="8"/>
                    <a:pt x="147" y="6"/>
                    <a:pt x="153" y="5"/>
                  </a:cubicBezTo>
                  <a:cubicBezTo>
                    <a:pt x="157" y="4"/>
                    <a:pt x="163" y="0"/>
                    <a:pt x="168" y="0"/>
                  </a:cubicBezTo>
                  <a:cubicBezTo>
                    <a:pt x="164" y="0"/>
                    <a:pt x="161" y="0"/>
                    <a:pt x="157"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sļídè">
              <a:extLst>
                <a:ext uri="{FF2B5EF4-FFF2-40B4-BE49-F238E27FC236}">
                  <a16:creationId xmlns:a16="http://schemas.microsoft.com/office/drawing/2014/main" id="{DE5E075F-0C17-4092-ABBA-0F7E479AA768}"/>
                </a:ext>
              </a:extLst>
            </p:cNvPr>
            <p:cNvSpPr/>
            <p:nvPr/>
          </p:nvSpPr>
          <p:spPr bwMode="auto">
            <a:xfrm>
              <a:off x="7277100" y="3505201"/>
              <a:ext cx="6350" cy="14288"/>
            </a:xfrm>
            <a:custGeom>
              <a:avLst/>
              <a:gdLst>
                <a:gd name="T0" fmla="*/ 2 w 5"/>
                <a:gd name="T1" fmla="*/ 0 h 10"/>
                <a:gd name="T2" fmla="*/ 0 w 5"/>
                <a:gd name="T3" fmla="*/ 10 h 10"/>
                <a:gd name="T4" fmla="*/ 4 w 5"/>
                <a:gd name="T5" fmla="*/ 3 h 10"/>
                <a:gd name="T6" fmla="*/ 5 w 5"/>
                <a:gd name="T7" fmla="*/ 2 h 10"/>
                <a:gd name="T8" fmla="*/ 2 w 5"/>
                <a:gd name="T9" fmla="*/ 0 h 10"/>
              </a:gdLst>
              <a:ahLst/>
              <a:cxnLst>
                <a:cxn ang="0">
                  <a:pos x="T0" y="T1"/>
                </a:cxn>
                <a:cxn ang="0">
                  <a:pos x="T2" y="T3"/>
                </a:cxn>
                <a:cxn ang="0">
                  <a:pos x="T4" y="T5"/>
                </a:cxn>
                <a:cxn ang="0">
                  <a:pos x="T6" y="T7"/>
                </a:cxn>
                <a:cxn ang="0">
                  <a:pos x="T8" y="T9"/>
                </a:cxn>
              </a:cxnLst>
              <a:rect l="0" t="0" r="r" b="b"/>
              <a:pathLst>
                <a:path w="5" h="10">
                  <a:moveTo>
                    <a:pt x="2" y="0"/>
                  </a:moveTo>
                  <a:cubicBezTo>
                    <a:pt x="0" y="10"/>
                    <a:pt x="0" y="10"/>
                    <a:pt x="0" y="10"/>
                  </a:cubicBezTo>
                  <a:cubicBezTo>
                    <a:pt x="2" y="8"/>
                    <a:pt x="3" y="5"/>
                    <a:pt x="4" y="3"/>
                  </a:cubicBezTo>
                  <a:cubicBezTo>
                    <a:pt x="4" y="2"/>
                    <a:pt x="5" y="2"/>
                    <a:pt x="5" y="2"/>
                  </a:cubicBezTo>
                  <a:cubicBezTo>
                    <a:pt x="4" y="1"/>
                    <a:pt x="2" y="0"/>
                    <a:pt x="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ṩľîḍè">
              <a:extLst>
                <a:ext uri="{FF2B5EF4-FFF2-40B4-BE49-F238E27FC236}">
                  <a16:creationId xmlns:a16="http://schemas.microsoft.com/office/drawing/2014/main" id="{E0EB72E3-8E11-49EF-B3D0-35E45B989F55}"/>
                </a:ext>
              </a:extLst>
            </p:cNvPr>
            <p:cNvSpPr/>
            <p:nvPr/>
          </p:nvSpPr>
          <p:spPr bwMode="auto">
            <a:xfrm>
              <a:off x="7277100" y="3508376"/>
              <a:ext cx="7938" cy="12700"/>
            </a:xfrm>
            <a:custGeom>
              <a:avLst/>
              <a:gdLst>
                <a:gd name="T0" fmla="*/ 5 w 6"/>
                <a:gd name="T1" fmla="*/ 0 h 9"/>
                <a:gd name="T2" fmla="*/ 4 w 6"/>
                <a:gd name="T3" fmla="*/ 1 h 9"/>
                <a:gd name="T4" fmla="*/ 0 w 6"/>
                <a:gd name="T5" fmla="*/ 8 h 9"/>
                <a:gd name="T6" fmla="*/ 0 w 6"/>
                <a:gd name="T7" fmla="*/ 9 h 9"/>
                <a:gd name="T8" fmla="*/ 4 w 6"/>
                <a:gd name="T9" fmla="*/ 1 h 9"/>
                <a:gd name="T10" fmla="*/ 5 w 6"/>
                <a:gd name="T11" fmla="*/ 1 h 9"/>
                <a:gd name="T12" fmla="*/ 5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0"/>
                  </a:moveTo>
                  <a:cubicBezTo>
                    <a:pt x="5" y="0"/>
                    <a:pt x="4" y="0"/>
                    <a:pt x="4" y="1"/>
                  </a:cubicBezTo>
                  <a:cubicBezTo>
                    <a:pt x="3" y="3"/>
                    <a:pt x="2" y="6"/>
                    <a:pt x="0" y="8"/>
                  </a:cubicBezTo>
                  <a:cubicBezTo>
                    <a:pt x="0" y="9"/>
                    <a:pt x="0" y="9"/>
                    <a:pt x="0" y="9"/>
                  </a:cubicBezTo>
                  <a:cubicBezTo>
                    <a:pt x="2" y="6"/>
                    <a:pt x="3" y="3"/>
                    <a:pt x="4" y="1"/>
                  </a:cubicBezTo>
                  <a:cubicBezTo>
                    <a:pt x="5" y="1"/>
                    <a:pt x="5" y="1"/>
                    <a:pt x="5" y="1"/>
                  </a:cubicBezTo>
                  <a:cubicBezTo>
                    <a:pt x="6" y="1"/>
                    <a:pt x="5" y="0"/>
                    <a:pt x="5"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ïṩḷïḓe">
              <a:extLst>
                <a:ext uri="{FF2B5EF4-FFF2-40B4-BE49-F238E27FC236}">
                  <a16:creationId xmlns:a16="http://schemas.microsoft.com/office/drawing/2014/main" id="{DEDC9905-4917-496D-912C-4F399741D032}"/>
                </a:ext>
              </a:extLst>
            </p:cNvPr>
            <p:cNvSpPr/>
            <p:nvPr/>
          </p:nvSpPr>
          <p:spPr bwMode="auto">
            <a:xfrm>
              <a:off x="7156450" y="3743326"/>
              <a:ext cx="25400" cy="285750"/>
            </a:xfrm>
            <a:custGeom>
              <a:avLst/>
              <a:gdLst>
                <a:gd name="T0" fmla="*/ 0 w 18"/>
                <a:gd name="T1" fmla="*/ 200 h 206"/>
                <a:gd name="T2" fmla="*/ 0 w 18"/>
                <a:gd name="T3" fmla="*/ 206 h 206"/>
                <a:gd name="T4" fmla="*/ 0 w 18"/>
                <a:gd name="T5" fmla="*/ 206 h 206"/>
                <a:gd name="T6" fmla="*/ 0 w 18"/>
                <a:gd name="T7" fmla="*/ 206 h 206"/>
                <a:gd name="T8" fmla="*/ 0 w 18"/>
                <a:gd name="T9" fmla="*/ 206 h 206"/>
                <a:gd name="T10" fmla="*/ 0 w 18"/>
                <a:gd name="T11" fmla="*/ 202 h 206"/>
                <a:gd name="T12" fmla="*/ 0 w 18"/>
                <a:gd name="T13" fmla="*/ 200 h 206"/>
                <a:gd name="T14" fmla="*/ 13 w 18"/>
                <a:gd name="T15" fmla="*/ 0 h 206"/>
                <a:gd name="T16" fmla="*/ 12 w 18"/>
                <a:gd name="T17" fmla="*/ 2 h 206"/>
                <a:gd name="T18" fmla="*/ 18 w 18"/>
                <a:gd name="T19" fmla="*/ 57 h 206"/>
                <a:gd name="T20" fmla="*/ 18 w 18"/>
                <a:gd name="T21" fmla="*/ 56 h 206"/>
                <a:gd name="T22" fmla="*/ 12 w 18"/>
                <a:gd name="T23" fmla="*/ 1 h 206"/>
                <a:gd name="T24" fmla="*/ 13 w 18"/>
                <a:gd name="T25" fmla="*/ 0 h 206"/>
                <a:gd name="T26" fmla="*/ 13 w 18"/>
                <a:gd name="T2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06">
                  <a:moveTo>
                    <a:pt x="0" y="200"/>
                  </a:moveTo>
                  <a:cubicBezTo>
                    <a:pt x="0" y="202"/>
                    <a:pt x="0" y="204"/>
                    <a:pt x="0" y="206"/>
                  </a:cubicBezTo>
                  <a:cubicBezTo>
                    <a:pt x="0" y="206"/>
                    <a:pt x="0" y="206"/>
                    <a:pt x="0" y="206"/>
                  </a:cubicBezTo>
                  <a:cubicBezTo>
                    <a:pt x="0" y="206"/>
                    <a:pt x="0" y="206"/>
                    <a:pt x="0" y="206"/>
                  </a:cubicBezTo>
                  <a:cubicBezTo>
                    <a:pt x="0" y="206"/>
                    <a:pt x="0" y="206"/>
                    <a:pt x="0" y="206"/>
                  </a:cubicBezTo>
                  <a:cubicBezTo>
                    <a:pt x="0" y="205"/>
                    <a:pt x="0" y="203"/>
                    <a:pt x="0" y="202"/>
                  </a:cubicBezTo>
                  <a:cubicBezTo>
                    <a:pt x="0" y="202"/>
                    <a:pt x="0" y="201"/>
                    <a:pt x="0" y="200"/>
                  </a:cubicBezTo>
                  <a:moveTo>
                    <a:pt x="13" y="0"/>
                  </a:moveTo>
                  <a:cubicBezTo>
                    <a:pt x="12" y="2"/>
                    <a:pt x="12" y="2"/>
                    <a:pt x="12" y="2"/>
                  </a:cubicBezTo>
                  <a:cubicBezTo>
                    <a:pt x="12" y="2"/>
                    <a:pt x="17" y="45"/>
                    <a:pt x="18" y="57"/>
                  </a:cubicBezTo>
                  <a:cubicBezTo>
                    <a:pt x="18" y="57"/>
                    <a:pt x="18" y="56"/>
                    <a:pt x="18" y="56"/>
                  </a:cubicBezTo>
                  <a:cubicBezTo>
                    <a:pt x="17" y="43"/>
                    <a:pt x="12" y="1"/>
                    <a:pt x="12" y="1"/>
                  </a:cubicBezTo>
                  <a:cubicBezTo>
                    <a:pt x="13" y="0"/>
                    <a:pt x="13" y="0"/>
                    <a:pt x="13" y="0"/>
                  </a:cubicBezTo>
                  <a:cubicBezTo>
                    <a:pt x="13" y="0"/>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îš1iḑê">
              <a:extLst>
                <a:ext uri="{FF2B5EF4-FFF2-40B4-BE49-F238E27FC236}">
                  <a16:creationId xmlns:a16="http://schemas.microsoft.com/office/drawing/2014/main" id="{007B4ACF-AEE2-47E9-A698-387364507621}"/>
                </a:ext>
              </a:extLst>
            </p:cNvPr>
            <p:cNvSpPr/>
            <p:nvPr/>
          </p:nvSpPr>
          <p:spPr bwMode="auto">
            <a:xfrm>
              <a:off x="7221538" y="3521076"/>
              <a:ext cx="55563" cy="146050"/>
            </a:xfrm>
            <a:custGeom>
              <a:avLst/>
              <a:gdLst>
                <a:gd name="T0" fmla="*/ 39 w 39"/>
                <a:gd name="T1" fmla="*/ 0 h 105"/>
                <a:gd name="T2" fmla="*/ 25 w 39"/>
                <a:gd name="T3" fmla="*/ 15 h 105"/>
                <a:gd name="T4" fmla="*/ 0 w 39"/>
                <a:gd name="T5" fmla="*/ 95 h 105"/>
                <a:gd name="T6" fmla="*/ 10 w 39"/>
                <a:gd name="T7" fmla="*/ 88 h 105"/>
                <a:gd name="T8" fmla="*/ 22 w 39"/>
                <a:gd name="T9" fmla="*/ 105 h 105"/>
                <a:gd name="T10" fmla="*/ 31 w 39"/>
                <a:gd name="T11" fmla="*/ 78 h 105"/>
                <a:gd name="T12" fmla="*/ 37 w 39"/>
                <a:gd name="T13" fmla="*/ 12 h 105"/>
                <a:gd name="T14" fmla="*/ 39 w 39"/>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5">
                  <a:moveTo>
                    <a:pt x="39" y="0"/>
                  </a:moveTo>
                  <a:cubicBezTo>
                    <a:pt x="35" y="6"/>
                    <a:pt x="30" y="11"/>
                    <a:pt x="25" y="15"/>
                  </a:cubicBezTo>
                  <a:cubicBezTo>
                    <a:pt x="10" y="26"/>
                    <a:pt x="3" y="63"/>
                    <a:pt x="0" y="95"/>
                  </a:cubicBezTo>
                  <a:cubicBezTo>
                    <a:pt x="10" y="88"/>
                    <a:pt x="10" y="88"/>
                    <a:pt x="10" y="88"/>
                  </a:cubicBezTo>
                  <a:cubicBezTo>
                    <a:pt x="10" y="88"/>
                    <a:pt x="16" y="98"/>
                    <a:pt x="22" y="105"/>
                  </a:cubicBezTo>
                  <a:cubicBezTo>
                    <a:pt x="26" y="93"/>
                    <a:pt x="29" y="83"/>
                    <a:pt x="31" y="78"/>
                  </a:cubicBezTo>
                  <a:cubicBezTo>
                    <a:pt x="38" y="57"/>
                    <a:pt x="37" y="12"/>
                    <a:pt x="37" y="12"/>
                  </a:cubicBezTo>
                  <a:cubicBezTo>
                    <a:pt x="39" y="0"/>
                    <a:pt x="39" y="0"/>
                    <a:pt x="39"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ṧ1iḓè">
              <a:extLst>
                <a:ext uri="{FF2B5EF4-FFF2-40B4-BE49-F238E27FC236}">
                  <a16:creationId xmlns:a16="http://schemas.microsoft.com/office/drawing/2014/main" id="{770792D0-7CD2-4354-90E8-00F4375DA1F5}"/>
                </a:ext>
              </a:extLst>
            </p:cNvPr>
            <p:cNvSpPr/>
            <p:nvPr/>
          </p:nvSpPr>
          <p:spPr bwMode="auto">
            <a:xfrm>
              <a:off x="7175500" y="3662363"/>
              <a:ext cx="44450" cy="80963"/>
            </a:xfrm>
            <a:custGeom>
              <a:avLst/>
              <a:gdLst>
                <a:gd name="T0" fmla="*/ 33 w 33"/>
                <a:gd name="T1" fmla="*/ 0 h 58"/>
                <a:gd name="T2" fmla="*/ 11 w 33"/>
                <a:gd name="T3" fmla="*/ 16 h 58"/>
                <a:gd name="T4" fmla="*/ 0 w 33"/>
                <a:gd name="T5" fmla="*/ 58 h 58"/>
                <a:gd name="T6" fmla="*/ 0 w 33"/>
                <a:gd name="T7" fmla="*/ 58 h 58"/>
                <a:gd name="T8" fmla="*/ 11 w 33"/>
                <a:gd name="T9" fmla="*/ 15 h 58"/>
                <a:gd name="T10" fmla="*/ 33 w 33"/>
                <a:gd name="T11" fmla="*/ 0 h 58"/>
                <a:gd name="T12" fmla="*/ 33 w 3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3" h="58">
                  <a:moveTo>
                    <a:pt x="33" y="0"/>
                  </a:moveTo>
                  <a:cubicBezTo>
                    <a:pt x="11" y="16"/>
                    <a:pt x="11" y="16"/>
                    <a:pt x="11" y="16"/>
                  </a:cubicBezTo>
                  <a:cubicBezTo>
                    <a:pt x="0" y="58"/>
                    <a:pt x="0" y="58"/>
                    <a:pt x="0" y="58"/>
                  </a:cubicBezTo>
                  <a:cubicBezTo>
                    <a:pt x="0" y="58"/>
                    <a:pt x="0" y="58"/>
                    <a:pt x="0" y="58"/>
                  </a:cubicBezTo>
                  <a:cubicBezTo>
                    <a:pt x="11" y="15"/>
                    <a:pt x="11" y="15"/>
                    <a:pt x="11" y="15"/>
                  </a:cubicBezTo>
                  <a:cubicBezTo>
                    <a:pt x="33" y="0"/>
                    <a:pt x="33" y="0"/>
                    <a:pt x="33" y="0"/>
                  </a:cubicBezTo>
                  <a:cubicBezTo>
                    <a:pt x="33" y="0"/>
                    <a:pt x="33" y="0"/>
                    <a:pt x="33"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îṥḻïďê">
              <a:extLst>
                <a:ext uri="{FF2B5EF4-FFF2-40B4-BE49-F238E27FC236}">
                  <a16:creationId xmlns:a16="http://schemas.microsoft.com/office/drawing/2014/main" id="{B8A5B3C9-F7D9-4A37-9275-F8E1E6B6C9B5}"/>
                </a:ext>
              </a:extLst>
            </p:cNvPr>
            <p:cNvSpPr/>
            <p:nvPr/>
          </p:nvSpPr>
          <p:spPr bwMode="auto">
            <a:xfrm>
              <a:off x="7219950" y="3643313"/>
              <a:ext cx="33338" cy="28575"/>
            </a:xfrm>
            <a:custGeom>
              <a:avLst/>
              <a:gdLst>
                <a:gd name="T0" fmla="*/ 11 w 23"/>
                <a:gd name="T1" fmla="*/ 0 h 21"/>
                <a:gd name="T2" fmla="*/ 1 w 23"/>
                <a:gd name="T3" fmla="*/ 7 h 21"/>
                <a:gd name="T4" fmla="*/ 0 w 23"/>
                <a:gd name="T5" fmla="*/ 14 h 21"/>
                <a:gd name="T6" fmla="*/ 0 w 23"/>
                <a:gd name="T7" fmla="*/ 14 h 21"/>
                <a:gd name="T8" fmla="*/ 0 w 23"/>
                <a:gd name="T9" fmla="*/ 14 h 21"/>
                <a:gd name="T10" fmla="*/ 0 w 23"/>
                <a:gd name="T11" fmla="*/ 14 h 21"/>
                <a:gd name="T12" fmla="*/ 11 w 23"/>
                <a:gd name="T13" fmla="*/ 7 h 21"/>
                <a:gd name="T14" fmla="*/ 22 w 23"/>
                <a:gd name="T15" fmla="*/ 21 h 21"/>
                <a:gd name="T16" fmla="*/ 23 w 23"/>
                <a:gd name="T17" fmla="*/ 17 h 21"/>
                <a:gd name="T18" fmla="*/ 11 w 23"/>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1">
                  <a:moveTo>
                    <a:pt x="11" y="0"/>
                  </a:moveTo>
                  <a:cubicBezTo>
                    <a:pt x="1" y="7"/>
                    <a:pt x="1" y="7"/>
                    <a:pt x="1" y="7"/>
                  </a:cubicBezTo>
                  <a:cubicBezTo>
                    <a:pt x="1" y="9"/>
                    <a:pt x="0" y="12"/>
                    <a:pt x="0" y="14"/>
                  </a:cubicBezTo>
                  <a:cubicBezTo>
                    <a:pt x="0" y="14"/>
                    <a:pt x="0" y="14"/>
                    <a:pt x="0" y="14"/>
                  </a:cubicBezTo>
                  <a:cubicBezTo>
                    <a:pt x="0" y="14"/>
                    <a:pt x="0" y="14"/>
                    <a:pt x="0" y="14"/>
                  </a:cubicBezTo>
                  <a:cubicBezTo>
                    <a:pt x="0" y="14"/>
                    <a:pt x="0" y="14"/>
                    <a:pt x="0" y="14"/>
                  </a:cubicBezTo>
                  <a:cubicBezTo>
                    <a:pt x="11" y="7"/>
                    <a:pt x="11" y="7"/>
                    <a:pt x="11" y="7"/>
                  </a:cubicBezTo>
                  <a:cubicBezTo>
                    <a:pt x="14" y="12"/>
                    <a:pt x="18" y="17"/>
                    <a:pt x="22" y="21"/>
                  </a:cubicBezTo>
                  <a:cubicBezTo>
                    <a:pt x="22" y="20"/>
                    <a:pt x="23" y="18"/>
                    <a:pt x="23" y="17"/>
                  </a:cubicBezTo>
                  <a:cubicBezTo>
                    <a:pt x="17" y="10"/>
                    <a:pt x="11" y="0"/>
                    <a:pt x="11"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iṥḷiḋé">
              <a:extLst>
                <a:ext uri="{FF2B5EF4-FFF2-40B4-BE49-F238E27FC236}">
                  <a16:creationId xmlns:a16="http://schemas.microsoft.com/office/drawing/2014/main" id="{A9E73CAF-0219-4410-9D57-9508C0DF4294}"/>
                </a:ext>
              </a:extLst>
            </p:cNvPr>
            <p:cNvSpPr/>
            <p:nvPr/>
          </p:nvSpPr>
          <p:spPr bwMode="auto">
            <a:xfrm>
              <a:off x="7156450" y="3821113"/>
              <a:ext cx="25400" cy="203200"/>
            </a:xfrm>
            <a:custGeom>
              <a:avLst/>
              <a:gdLst>
                <a:gd name="T0" fmla="*/ 18 w 18"/>
                <a:gd name="T1" fmla="*/ 0 h 146"/>
                <a:gd name="T2" fmla="*/ 18 w 18"/>
                <a:gd name="T3" fmla="*/ 1 h 146"/>
                <a:gd name="T4" fmla="*/ 18 w 18"/>
                <a:gd name="T5" fmla="*/ 4 h 146"/>
                <a:gd name="T6" fmla="*/ 11 w 18"/>
                <a:gd name="T7" fmla="*/ 85 h 146"/>
                <a:gd name="T8" fmla="*/ 0 w 18"/>
                <a:gd name="T9" fmla="*/ 144 h 146"/>
                <a:gd name="T10" fmla="*/ 0 w 18"/>
                <a:gd name="T11" fmla="*/ 146 h 146"/>
                <a:gd name="T12" fmla="*/ 11 w 18"/>
                <a:gd name="T13" fmla="*/ 85 h 146"/>
                <a:gd name="T14" fmla="*/ 18 w 18"/>
                <a:gd name="T15" fmla="*/ 4 h 146"/>
                <a:gd name="T16" fmla="*/ 18 w 18"/>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6">
                  <a:moveTo>
                    <a:pt x="18" y="0"/>
                  </a:moveTo>
                  <a:cubicBezTo>
                    <a:pt x="18" y="0"/>
                    <a:pt x="18" y="1"/>
                    <a:pt x="18" y="1"/>
                  </a:cubicBezTo>
                  <a:cubicBezTo>
                    <a:pt x="18" y="2"/>
                    <a:pt x="18" y="3"/>
                    <a:pt x="18" y="4"/>
                  </a:cubicBezTo>
                  <a:cubicBezTo>
                    <a:pt x="18" y="7"/>
                    <a:pt x="11" y="85"/>
                    <a:pt x="11" y="85"/>
                  </a:cubicBezTo>
                  <a:cubicBezTo>
                    <a:pt x="11" y="85"/>
                    <a:pt x="1" y="119"/>
                    <a:pt x="0" y="144"/>
                  </a:cubicBezTo>
                  <a:cubicBezTo>
                    <a:pt x="0" y="145"/>
                    <a:pt x="0" y="146"/>
                    <a:pt x="0" y="146"/>
                  </a:cubicBezTo>
                  <a:cubicBezTo>
                    <a:pt x="0" y="121"/>
                    <a:pt x="11" y="85"/>
                    <a:pt x="11" y="85"/>
                  </a:cubicBezTo>
                  <a:cubicBezTo>
                    <a:pt x="11" y="85"/>
                    <a:pt x="18" y="7"/>
                    <a:pt x="18" y="4"/>
                  </a:cubicBezTo>
                  <a:cubicBezTo>
                    <a:pt x="18" y="3"/>
                    <a:pt x="18" y="2"/>
                    <a:pt x="18"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ḷïďe">
              <a:extLst>
                <a:ext uri="{FF2B5EF4-FFF2-40B4-BE49-F238E27FC236}">
                  <a16:creationId xmlns:a16="http://schemas.microsoft.com/office/drawing/2014/main" id="{194AF17D-9FCD-4CD9-AF65-1D865FDB5F48}"/>
                </a:ext>
              </a:extLst>
            </p:cNvPr>
            <p:cNvSpPr/>
            <p:nvPr/>
          </p:nvSpPr>
          <p:spPr bwMode="auto">
            <a:xfrm>
              <a:off x="7156450" y="3652838"/>
              <a:ext cx="95250" cy="377825"/>
            </a:xfrm>
            <a:custGeom>
              <a:avLst/>
              <a:gdLst>
                <a:gd name="T0" fmla="*/ 57 w 68"/>
                <a:gd name="T1" fmla="*/ 0 h 272"/>
                <a:gd name="T2" fmla="*/ 46 w 68"/>
                <a:gd name="T3" fmla="*/ 7 h 272"/>
                <a:gd name="T4" fmla="*/ 46 w 68"/>
                <a:gd name="T5" fmla="*/ 7 h 272"/>
                <a:gd name="T6" fmla="*/ 24 w 68"/>
                <a:gd name="T7" fmla="*/ 22 h 272"/>
                <a:gd name="T8" fmla="*/ 13 w 68"/>
                <a:gd name="T9" fmla="*/ 65 h 272"/>
                <a:gd name="T10" fmla="*/ 12 w 68"/>
                <a:gd name="T11" fmla="*/ 66 h 272"/>
                <a:gd name="T12" fmla="*/ 18 w 68"/>
                <a:gd name="T13" fmla="*/ 121 h 272"/>
                <a:gd name="T14" fmla="*/ 18 w 68"/>
                <a:gd name="T15" fmla="*/ 125 h 272"/>
                <a:gd name="T16" fmla="*/ 11 w 68"/>
                <a:gd name="T17" fmla="*/ 206 h 272"/>
                <a:gd name="T18" fmla="*/ 0 w 68"/>
                <a:gd name="T19" fmla="*/ 267 h 272"/>
                <a:gd name="T20" fmla="*/ 0 w 68"/>
                <a:gd name="T21" fmla="*/ 271 h 272"/>
                <a:gd name="T22" fmla="*/ 29 w 68"/>
                <a:gd name="T23" fmla="*/ 272 h 272"/>
                <a:gd name="T24" fmla="*/ 49 w 68"/>
                <a:gd name="T25" fmla="*/ 80 h 272"/>
                <a:gd name="T26" fmla="*/ 55 w 68"/>
                <a:gd name="T27" fmla="*/ 58 h 272"/>
                <a:gd name="T28" fmla="*/ 68 w 68"/>
                <a:gd name="T29" fmla="*/ 14 h 272"/>
                <a:gd name="T30" fmla="*/ 68 w 68"/>
                <a:gd name="T31" fmla="*/ 14 h 272"/>
                <a:gd name="T32" fmla="*/ 57 w 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272">
                  <a:moveTo>
                    <a:pt x="57" y="0"/>
                  </a:moveTo>
                  <a:cubicBezTo>
                    <a:pt x="46" y="7"/>
                    <a:pt x="46" y="7"/>
                    <a:pt x="46" y="7"/>
                  </a:cubicBezTo>
                  <a:cubicBezTo>
                    <a:pt x="46" y="7"/>
                    <a:pt x="46" y="7"/>
                    <a:pt x="46" y="7"/>
                  </a:cubicBezTo>
                  <a:cubicBezTo>
                    <a:pt x="24" y="22"/>
                    <a:pt x="24" y="22"/>
                    <a:pt x="24" y="22"/>
                  </a:cubicBezTo>
                  <a:cubicBezTo>
                    <a:pt x="13" y="65"/>
                    <a:pt x="13" y="65"/>
                    <a:pt x="13" y="65"/>
                  </a:cubicBezTo>
                  <a:cubicBezTo>
                    <a:pt x="12" y="66"/>
                    <a:pt x="12" y="66"/>
                    <a:pt x="12" y="66"/>
                  </a:cubicBezTo>
                  <a:cubicBezTo>
                    <a:pt x="12" y="66"/>
                    <a:pt x="17" y="108"/>
                    <a:pt x="18" y="121"/>
                  </a:cubicBezTo>
                  <a:cubicBezTo>
                    <a:pt x="18" y="123"/>
                    <a:pt x="18" y="124"/>
                    <a:pt x="18" y="125"/>
                  </a:cubicBezTo>
                  <a:cubicBezTo>
                    <a:pt x="18" y="128"/>
                    <a:pt x="11" y="206"/>
                    <a:pt x="11" y="206"/>
                  </a:cubicBezTo>
                  <a:cubicBezTo>
                    <a:pt x="11" y="206"/>
                    <a:pt x="0" y="242"/>
                    <a:pt x="0" y="267"/>
                  </a:cubicBezTo>
                  <a:cubicBezTo>
                    <a:pt x="0" y="268"/>
                    <a:pt x="0" y="270"/>
                    <a:pt x="0" y="271"/>
                  </a:cubicBezTo>
                  <a:cubicBezTo>
                    <a:pt x="29" y="272"/>
                    <a:pt x="29" y="272"/>
                    <a:pt x="29" y="272"/>
                  </a:cubicBezTo>
                  <a:cubicBezTo>
                    <a:pt x="34" y="206"/>
                    <a:pt x="49" y="80"/>
                    <a:pt x="49" y="80"/>
                  </a:cubicBezTo>
                  <a:cubicBezTo>
                    <a:pt x="49" y="80"/>
                    <a:pt x="52" y="71"/>
                    <a:pt x="55" y="58"/>
                  </a:cubicBezTo>
                  <a:cubicBezTo>
                    <a:pt x="59" y="45"/>
                    <a:pt x="64" y="29"/>
                    <a:pt x="68" y="14"/>
                  </a:cubicBezTo>
                  <a:cubicBezTo>
                    <a:pt x="68" y="14"/>
                    <a:pt x="68" y="14"/>
                    <a:pt x="68" y="14"/>
                  </a:cubicBezTo>
                  <a:cubicBezTo>
                    <a:pt x="64" y="10"/>
                    <a:pt x="60" y="5"/>
                    <a:pt x="5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şḻiḓê">
              <a:extLst>
                <a:ext uri="{FF2B5EF4-FFF2-40B4-BE49-F238E27FC236}">
                  <a16:creationId xmlns:a16="http://schemas.microsoft.com/office/drawing/2014/main" id="{564390C7-575E-4A96-B872-BB37E99B10DE}"/>
                </a:ext>
              </a:extLst>
            </p:cNvPr>
            <p:cNvSpPr/>
            <p:nvPr/>
          </p:nvSpPr>
          <p:spPr bwMode="auto">
            <a:xfrm>
              <a:off x="7058025" y="4037013"/>
              <a:ext cx="100013" cy="273050"/>
            </a:xfrm>
            <a:custGeom>
              <a:avLst/>
              <a:gdLst>
                <a:gd name="T0" fmla="*/ 0 w 72"/>
                <a:gd name="T1" fmla="*/ 197 h 197"/>
                <a:gd name="T2" fmla="*/ 0 w 72"/>
                <a:gd name="T3" fmla="*/ 197 h 197"/>
                <a:gd name="T4" fmla="*/ 0 w 72"/>
                <a:gd name="T5" fmla="*/ 197 h 197"/>
                <a:gd name="T6" fmla="*/ 0 w 72"/>
                <a:gd name="T7" fmla="*/ 197 h 197"/>
                <a:gd name="T8" fmla="*/ 71 w 72"/>
                <a:gd name="T9" fmla="*/ 0 h 197"/>
                <a:gd name="T10" fmla="*/ 71 w 72"/>
                <a:gd name="T11" fmla="*/ 1 h 197"/>
                <a:gd name="T12" fmla="*/ 72 w 72"/>
                <a:gd name="T13" fmla="*/ 1 h 197"/>
                <a:gd name="T14" fmla="*/ 71 w 72"/>
                <a:gd name="T15" fmla="*/ 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97">
                  <a:moveTo>
                    <a:pt x="0" y="197"/>
                  </a:moveTo>
                  <a:cubicBezTo>
                    <a:pt x="0" y="197"/>
                    <a:pt x="0" y="197"/>
                    <a:pt x="0" y="197"/>
                  </a:cubicBezTo>
                  <a:cubicBezTo>
                    <a:pt x="0" y="197"/>
                    <a:pt x="0" y="197"/>
                    <a:pt x="0" y="197"/>
                  </a:cubicBezTo>
                  <a:cubicBezTo>
                    <a:pt x="0" y="197"/>
                    <a:pt x="0" y="197"/>
                    <a:pt x="0" y="197"/>
                  </a:cubicBezTo>
                  <a:moveTo>
                    <a:pt x="71" y="0"/>
                  </a:moveTo>
                  <a:cubicBezTo>
                    <a:pt x="71" y="0"/>
                    <a:pt x="71" y="0"/>
                    <a:pt x="71" y="1"/>
                  </a:cubicBezTo>
                  <a:cubicBezTo>
                    <a:pt x="72" y="1"/>
                    <a:pt x="72" y="1"/>
                    <a:pt x="72" y="1"/>
                  </a:cubicBezTo>
                  <a:cubicBezTo>
                    <a:pt x="71" y="0"/>
                    <a:pt x="71" y="0"/>
                    <a:pt x="71"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ïšľîďe">
              <a:extLst>
                <a:ext uri="{FF2B5EF4-FFF2-40B4-BE49-F238E27FC236}">
                  <a16:creationId xmlns:a16="http://schemas.microsoft.com/office/drawing/2014/main" id="{DE0EA840-7412-448A-8C8F-551B9BED534B}"/>
                </a:ext>
              </a:extLst>
            </p:cNvPr>
            <p:cNvSpPr/>
            <p:nvPr/>
          </p:nvSpPr>
          <p:spPr bwMode="auto">
            <a:xfrm>
              <a:off x="7156450" y="4029076"/>
              <a:ext cx="1588" cy="7938"/>
            </a:xfrm>
            <a:custGeom>
              <a:avLst/>
              <a:gdLst>
                <a:gd name="T0" fmla="*/ 0 w 1"/>
                <a:gd name="T1" fmla="*/ 0 h 6"/>
                <a:gd name="T2" fmla="*/ 0 w 1"/>
                <a:gd name="T3" fmla="*/ 0 h 6"/>
                <a:gd name="T4" fmla="*/ 0 w 1"/>
                <a:gd name="T5" fmla="*/ 5 h 6"/>
                <a:gd name="T6" fmla="*/ 1 w 1"/>
                <a:gd name="T7" fmla="*/ 6 h 6"/>
                <a:gd name="T8" fmla="*/ 1 w 1"/>
                <a:gd name="T9" fmla="*/ 6 h 6"/>
                <a:gd name="T10" fmla="*/ 1 w 1"/>
                <a:gd name="T11" fmla="*/ 6 h 6"/>
                <a:gd name="T12" fmla="*/ 0 w 1"/>
                <a:gd name="T13" fmla="*/ 0 h 6"/>
                <a:gd name="T14" fmla="*/ 0 w 1"/>
                <a:gd name="T15" fmla="*/ 0 h 6"/>
                <a:gd name="T16" fmla="*/ 0 w 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6">
                  <a:moveTo>
                    <a:pt x="0" y="0"/>
                  </a:moveTo>
                  <a:cubicBezTo>
                    <a:pt x="0" y="0"/>
                    <a:pt x="0" y="0"/>
                    <a:pt x="0" y="0"/>
                  </a:cubicBezTo>
                  <a:cubicBezTo>
                    <a:pt x="0" y="2"/>
                    <a:pt x="0" y="3"/>
                    <a:pt x="0" y="5"/>
                  </a:cubicBezTo>
                  <a:cubicBezTo>
                    <a:pt x="0" y="5"/>
                    <a:pt x="0" y="5"/>
                    <a:pt x="1" y="6"/>
                  </a:cubicBezTo>
                  <a:cubicBezTo>
                    <a:pt x="1" y="6"/>
                    <a:pt x="1" y="6"/>
                    <a:pt x="1" y="6"/>
                  </a:cubicBezTo>
                  <a:cubicBezTo>
                    <a:pt x="1" y="6"/>
                    <a:pt x="1" y="6"/>
                    <a:pt x="1" y="6"/>
                  </a:cubicBezTo>
                  <a:cubicBezTo>
                    <a:pt x="0" y="4"/>
                    <a:pt x="0" y="2"/>
                    <a:pt x="0" y="0"/>
                  </a:cubicBezTo>
                  <a:cubicBezTo>
                    <a:pt x="0" y="0"/>
                    <a:pt x="0" y="0"/>
                    <a:pt x="0" y="0"/>
                  </a:cubicBezTo>
                  <a:cubicBezTo>
                    <a:pt x="0" y="0"/>
                    <a:pt x="0" y="0"/>
                    <a:pt x="0"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Sḷidê">
              <a:extLst>
                <a:ext uri="{FF2B5EF4-FFF2-40B4-BE49-F238E27FC236}">
                  <a16:creationId xmlns:a16="http://schemas.microsoft.com/office/drawing/2014/main" id="{8002CE6A-926E-456E-9CEA-7C1901C0B6E0}"/>
                </a:ext>
              </a:extLst>
            </p:cNvPr>
            <p:cNvSpPr/>
            <p:nvPr/>
          </p:nvSpPr>
          <p:spPr bwMode="auto">
            <a:xfrm>
              <a:off x="7156450" y="4029076"/>
              <a:ext cx="41275" cy="9525"/>
            </a:xfrm>
            <a:custGeom>
              <a:avLst/>
              <a:gdLst>
                <a:gd name="T0" fmla="*/ 0 w 29"/>
                <a:gd name="T1" fmla="*/ 0 h 7"/>
                <a:gd name="T2" fmla="*/ 0 w 29"/>
                <a:gd name="T3" fmla="*/ 0 h 7"/>
                <a:gd name="T4" fmla="*/ 1 w 29"/>
                <a:gd name="T5" fmla="*/ 6 h 7"/>
                <a:gd name="T6" fmla="*/ 28 w 29"/>
                <a:gd name="T7" fmla="*/ 7 h 7"/>
                <a:gd name="T8" fmla="*/ 29 w 29"/>
                <a:gd name="T9" fmla="*/ 1 h 7"/>
                <a:gd name="T10" fmla="*/ 0 w 29"/>
                <a:gd name="T11" fmla="*/ 0 h 7"/>
              </a:gdLst>
              <a:ahLst/>
              <a:cxnLst>
                <a:cxn ang="0">
                  <a:pos x="T0" y="T1"/>
                </a:cxn>
                <a:cxn ang="0">
                  <a:pos x="T2" y="T3"/>
                </a:cxn>
                <a:cxn ang="0">
                  <a:pos x="T4" y="T5"/>
                </a:cxn>
                <a:cxn ang="0">
                  <a:pos x="T6" y="T7"/>
                </a:cxn>
                <a:cxn ang="0">
                  <a:pos x="T8" y="T9"/>
                </a:cxn>
                <a:cxn ang="0">
                  <a:pos x="T10" y="T11"/>
                </a:cxn>
              </a:cxnLst>
              <a:rect l="0" t="0" r="r" b="b"/>
              <a:pathLst>
                <a:path w="29" h="7">
                  <a:moveTo>
                    <a:pt x="0" y="0"/>
                  </a:moveTo>
                  <a:cubicBezTo>
                    <a:pt x="0" y="0"/>
                    <a:pt x="0" y="0"/>
                    <a:pt x="0" y="0"/>
                  </a:cubicBezTo>
                  <a:cubicBezTo>
                    <a:pt x="0" y="2"/>
                    <a:pt x="0" y="4"/>
                    <a:pt x="1" y="6"/>
                  </a:cubicBezTo>
                  <a:cubicBezTo>
                    <a:pt x="28" y="7"/>
                    <a:pt x="28" y="7"/>
                    <a:pt x="28" y="7"/>
                  </a:cubicBezTo>
                  <a:cubicBezTo>
                    <a:pt x="29" y="5"/>
                    <a:pt x="29" y="3"/>
                    <a:pt x="29" y="1"/>
                  </a:cubicBezTo>
                  <a:cubicBezTo>
                    <a:pt x="0" y="0"/>
                    <a:pt x="0" y="0"/>
                    <a:pt x="0"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şļïḑe">
              <a:extLst>
                <a:ext uri="{FF2B5EF4-FFF2-40B4-BE49-F238E27FC236}">
                  <a16:creationId xmlns:a16="http://schemas.microsoft.com/office/drawing/2014/main" id="{2C0E093F-6185-4A83-A473-A721689418C5}"/>
                </a:ext>
              </a:extLst>
            </p:cNvPr>
            <p:cNvSpPr/>
            <p:nvPr/>
          </p:nvSpPr>
          <p:spPr bwMode="auto">
            <a:xfrm>
              <a:off x="7058025" y="4037013"/>
              <a:ext cx="138113" cy="273050"/>
            </a:xfrm>
            <a:custGeom>
              <a:avLst/>
              <a:gdLst>
                <a:gd name="T0" fmla="*/ 61 w 99"/>
                <a:gd name="T1" fmla="*/ 0 h 197"/>
                <a:gd name="T2" fmla="*/ 4 w 99"/>
                <a:gd name="T3" fmla="*/ 146 h 197"/>
                <a:gd name="T4" fmla="*/ 0 w 99"/>
                <a:gd name="T5" fmla="*/ 197 h 197"/>
                <a:gd name="T6" fmla="*/ 0 w 99"/>
                <a:gd name="T7" fmla="*/ 197 h 197"/>
                <a:gd name="T8" fmla="*/ 15 w 99"/>
                <a:gd name="T9" fmla="*/ 187 h 197"/>
                <a:gd name="T10" fmla="*/ 98 w 99"/>
                <a:gd name="T11" fmla="*/ 17 h 197"/>
                <a:gd name="T12" fmla="*/ 99 w 99"/>
                <a:gd name="T13" fmla="*/ 6 h 197"/>
                <a:gd name="T14" fmla="*/ 99 w 99"/>
                <a:gd name="T15" fmla="*/ 2 h 197"/>
                <a:gd name="T16" fmla="*/ 99 w 99"/>
                <a:gd name="T17" fmla="*/ 2 h 197"/>
                <a:gd name="T18" fmla="*/ 72 w 99"/>
                <a:gd name="T19" fmla="*/ 1 h 197"/>
                <a:gd name="T20" fmla="*/ 72 w 99"/>
                <a:gd name="T21" fmla="*/ 1 h 197"/>
                <a:gd name="T22" fmla="*/ 72 w 99"/>
                <a:gd name="T23" fmla="*/ 1 h 197"/>
                <a:gd name="T24" fmla="*/ 71 w 99"/>
                <a:gd name="T25" fmla="*/ 1 h 197"/>
                <a:gd name="T26" fmla="*/ 72 w 99"/>
                <a:gd name="T27" fmla="*/ 1 h 197"/>
                <a:gd name="T28" fmla="*/ 61 w 99"/>
                <a:gd name="T29"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97">
                  <a:moveTo>
                    <a:pt x="61" y="0"/>
                  </a:moveTo>
                  <a:cubicBezTo>
                    <a:pt x="61" y="0"/>
                    <a:pt x="15" y="132"/>
                    <a:pt x="4" y="146"/>
                  </a:cubicBezTo>
                  <a:cubicBezTo>
                    <a:pt x="1" y="150"/>
                    <a:pt x="0" y="170"/>
                    <a:pt x="0" y="197"/>
                  </a:cubicBezTo>
                  <a:cubicBezTo>
                    <a:pt x="0" y="197"/>
                    <a:pt x="0" y="197"/>
                    <a:pt x="0" y="197"/>
                  </a:cubicBezTo>
                  <a:cubicBezTo>
                    <a:pt x="4" y="193"/>
                    <a:pt x="9" y="189"/>
                    <a:pt x="15" y="187"/>
                  </a:cubicBezTo>
                  <a:cubicBezTo>
                    <a:pt x="34" y="179"/>
                    <a:pt x="88" y="81"/>
                    <a:pt x="98" y="17"/>
                  </a:cubicBezTo>
                  <a:cubicBezTo>
                    <a:pt x="99" y="13"/>
                    <a:pt x="99" y="9"/>
                    <a:pt x="99" y="6"/>
                  </a:cubicBezTo>
                  <a:cubicBezTo>
                    <a:pt x="99" y="5"/>
                    <a:pt x="99" y="4"/>
                    <a:pt x="99" y="2"/>
                  </a:cubicBezTo>
                  <a:cubicBezTo>
                    <a:pt x="99" y="2"/>
                    <a:pt x="99" y="2"/>
                    <a:pt x="99" y="2"/>
                  </a:cubicBezTo>
                  <a:cubicBezTo>
                    <a:pt x="72" y="1"/>
                    <a:pt x="72" y="1"/>
                    <a:pt x="72" y="1"/>
                  </a:cubicBezTo>
                  <a:cubicBezTo>
                    <a:pt x="72" y="1"/>
                    <a:pt x="72" y="1"/>
                    <a:pt x="72" y="1"/>
                  </a:cubicBezTo>
                  <a:cubicBezTo>
                    <a:pt x="72" y="1"/>
                    <a:pt x="72" y="1"/>
                    <a:pt x="72" y="1"/>
                  </a:cubicBezTo>
                  <a:cubicBezTo>
                    <a:pt x="71" y="1"/>
                    <a:pt x="71" y="1"/>
                    <a:pt x="71" y="1"/>
                  </a:cubicBezTo>
                  <a:cubicBezTo>
                    <a:pt x="72" y="1"/>
                    <a:pt x="72" y="1"/>
                    <a:pt x="72" y="1"/>
                  </a:cubicBezTo>
                  <a:cubicBezTo>
                    <a:pt x="61" y="0"/>
                    <a:pt x="61" y="0"/>
                    <a:pt x="61"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íṩḷíḍè">
              <a:extLst>
                <a:ext uri="{FF2B5EF4-FFF2-40B4-BE49-F238E27FC236}">
                  <a16:creationId xmlns:a16="http://schemas.microsoft.com/office/drawing/2014/main" id="{BC05B1A7-113B-4B4E-81D7-0F71F9DCE061}"/>
                </a:ext>
              </a:extLst>
            </p:cNvPr>
            <p:cNvSpPr/>
            <p:nvPr/>
          </p:nvSpPr>
          <p:spPr bwMode="auto">
            <a:xfrm>
              <a:off x="6848475" y="3494088"/>
              <a:ext cx="438150" cy="841375"/>
            </a:xfrm>
            <a:custGeom>
              <a:avLst/>
              <a:gdLst>
                <a:gd name="T0" fmla="*/ 315 w 315"/>
                <a:gd name="T1" fmla="*/ 6 h 605"/>
                <a:gd name="T2" fmla="*/ 290 w 315"/>
                <a:gd name="T3" fmla="*/ 9 h 605"/>
                <a:gd name="T4" fmla="*/ 251 w 315"/>
                <a:gd name="T5" fmla="*/ 15 h 605"/>
                <a:gd name="T6" fmla="*/ 179 w 315"/>
                <a:gd name="T7" fmla="*/ 7 h 605"/>
                <a:gd name="T8" fmla="*/ 158 w 315"/>
                <a:gd name="T9" fmla="*/ 12 h 605"/>
                <a:gd name="T10" fmla="*/ 142 w 315"/>
                <a:gd name="T11" fmla="*/ 33 h 605"/>
                <a:gd name="T12" fmla="*/ 126 w 315"/>
                <a:gd name="T13" fmla="*/ 47 h 605"/>
                <a:gd name="T14" fmla="*/ 110 w 315"/>
                <a:gd name="T15" fmla="*/ 61 h 605"/>
                <a:gd name="T16" fmla="*/ 146 w 315"/>
                <a:gd name="T17" fmla="*/ 177 h 605"/>
                <a:gd name="T18" fmla="*/ 111 w 315"/>
                <a:gd name="T19" fmla="*/ 336 h 605"/>
                <a:gd name="T20" fmla="*/ 36 w 315"/>
                <a:gd name="T21" fmla="*/ 543 h 605"/>
                <a:gd name="T22" fmla="*/ 126 w 315"/>
                <a:gd name="T23" fmla="*/ 603 h 605"/>
                <a:gd name="T24" fmla="*/ 163 w 315"/>
                <a:gd name="T25" fmla="*/ 571 h 605"/>
                <a:gd name="T26" fmla="*/ 247 w 315"/>
                <a:gd name="T27" fmla="*/ 390 h 605"/>
                <a:gd name="T28" fmla="*/ 268 w 315"/>
                <a:gd name="T29" fmla="*/ 188 h 605"/>
                <a:gd name="T30" fmla="*/ 297 w 315"/>
                <a:gd name="T31" fmla="*/ 91 h 605"/>
                <a:gd name="T32" fmla="*/ 303 w 315"/>
                <a:gd name="T33" fmla="*/ 25 h 605"/>
                <a:gd name="T34" fmla="*/ 315 w 315"/>
                <a:gd name="T35" fmla="*/ 6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605">
                  <a:moveTo>
                    <a:pt x="315" y="6"/>
                  </a:moveTo>
                  <a:cubicBezTo>
                    <a:pt x="306" y="3"/>
                    <a:pt x="297" y="4"/>
                    <a:pt x="290" y="9"/>
                  </a:cubicBezTo>
                  <a:cubicBezTo>
                    <a:pt x="279" y="17"/>
                    <a:pt x="257" y="16"/>
                    <a:pt x="251" y="15"/>
                  </a:cubicBezTo>
                  <a:cubicBezTo>
                    <a:pt x="245" y="13"/>
                    <a:pt x="184" y="5"/>
                    <a:pt x="179" y="7"/>
                  </a:cubicBezTo>
                  <a:cubicBezTo>
                    <a:pt x="174" y="9"/>
                    <a:pt x="164" y="0"/>
                    <a:pt x="158" y="12"/>
                  </a:cubicBezTo>
                  <a:cubicBezTo>
                    <a:pt x="151" y="24"/>
                    <a:pt x="148" y="30"/>
                    <a:pt x="142" y="33"/>
                  </a:cubicBezTo>
                  <a:cubicBezTo>
                    <a:pt x="136" y="36"/>
                    <a:pt x="124" y="45"/>
                    <a:pt x="126" y="47"/>
                  </a:cubicBezTo>
                  <a:cubicBezTo>
                    <a:pt x="128" y="49"/>
                    <a:pt x="110" y="61"/>
                    <a:pt x="110" y="61"/>
                  </a:cubicBezTo>
                  <a:cubicBezTo>
                    <a:pt x="146" y="177"/>
                    <a:pt x="146" y="177"/>
                    <a:pt x="146" y="177"/>
                  </a:cubicBezTo>
                  <a:cubicBezTo>
                    <a:pt x="146" y="177"/>
                    <a:pt x="123" y="324"/>
                    <a:pt x="111" y="336"/>
                  </a:cubicBezTo>
                  <a:cubicBezTo>
                    <a:pt x="100" y="349"/>
                    <a:pt x="0" y="514"/>
                    <a:pt x="36" y="543"/>
                  </a:cubicBezTo>
                  <a:cubicBezTo>
                    <a:pt x="64" y="566"/>
                    <a:pt x="94" y="586"/>
                    <a:pt x="126" y="603"/>
                  </a:cubicBezTo>
                  <a:cubicBezTo>
                    <a:pt x="130" y="605"/>
                    <a:pt x="144" y="579"/>
                    <a:pt x="163" y="571"/>
                  </a:cubicBezTo>
                  <a:cubicBezTo>
                    <a:pt x="183" y="562"/>
                    <a:pt x="244" y="452"/>
                    <a:pt x="247" y="390"/>
                  </a:cubicBezTo>
                  <a:cubicBezTo>
                    <a:pt x="251" y="327"/>
                    <a:pt x="268" y="188"/>
                    <a:pt x="268" y="188"/>
                  </a:cubicBezTo>
                  <a:cubicBezTo>
                    <a:pt x="268" y="188"/>
                    <a:pt x="289" y="111"/>
                    <a:pt x="297" y="91"/>
                  </a:cubicBezTo>
                  <a:cubicBezTo>
                    <a:pt x="304" y="70"/>
                    <a:pt x="303" y="25"/>
                    <a:pt x="303" y="25"/>
                  </a:cubicBezTo>
                  <a:lnTo>
                    <a:pt x="315" y="6"/>
                  </a:lnTo>
                  <a:close/>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iŝḻïďé">
              <a:extLst>
                <a:ext uri="{FF2B5EF4-FFF2-40B4-BE49-F238E27FC236}">
                  <a16:creationId xmlns:a16="http://schemas.microsoft.com/office/drawing/2014/main" id="{454480FB-B292-4F03-A0CF-3F5EF515F4B5}"/>
                </a:ext>
              </a:extLst>
            </p:cNvPr>
            <p:cNvSpPr/>
            <p:nvPr/>
          </p:nvSpPr>
          <p:spPr bwMode="auto">
            <a:xfrm>
              <a:off x="7448550" y="3646488"/>
              <a:ext cx="3175" cy="3175"/>
            </a:xfrm>
            <a:custGeom>
              <a:avLst/>
              <a:gdLst>
                <a:gd name="T0" fmla="*/ 0 w 2"/>
                <a:gd name="T1" fmla="*/ 0 h 2"/>
                <a:gd name="T2" fmla="*/ 0 w 2"/>
                <a:gd name="T3" fmla="*/ 2 h 2"/>
                <a:gd name="T4" fmla="*/ 2 w 2"/>
                <a:gd name="T5" fmla="*/ 1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2"/>
                    <a:pt x="0" y="2"/>
                    <a:pt x="0" y="2"/>
                  </a:cubicBezTo>
                  <a:cubicBezTo>
                    <a:pt x="1" y="1"/>
                    <a:pt x="1" y="1"/>
                    <a:pt x="2" y="1"/>
                  </a:cubicBezTo>
                  <a:cubicBezTo>
                    <a:pt x="2" y="1"/>
                    <a:pt x="2" y="1"/>
                    <a:pt x="2" y="1"/>
                  </a:cubicBezTo>
                  <a:cubicBezTo>
                    <a:pt x="1" y="0"/>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îṥḷiďe">
              <a:extLst>
                <a:ext uri="{FF2B5EF4-FFF2-40B4-BE49-F238E27FC236}">
                  <a16:creationId xmlns:a16="http://schemas.microsoft.com/office/drawing/2014/main" id="{9A4C6E7C-1296-417E-96E0-0AE61DCAD227}"/>
                </a:ext>
              </a:extLst>
            </p:cNvPr>
            <p:cNvSpPr/>
            <p:nvPr/>
          </p:nvSpPr>
          <p:spPr bwMode="auto">
            <a:xfrm>
              <a:off x="7423150" y="3648076"/>
              <a:ext cx="77788" cy="395288"/>
            </a:xfrm>
            <a:custGeom>
              <a:avLst/>
              <a:gdLst>
                <a:gd name="T0" fmla="*/ 20 w 56"/>
                <a:gd name="T1" fmla="*/ 0 h 284"/>
                <a:gd name="T2" fmla="*/ 18 w 56"/>
                <a:gd name="T3" fmla="*/ 1 h 284"/>
                <a:gd name="T4" fmla="*/ 18 w 56"/>
                <a:gd name="T5" fmla="*/ 1 h 284"/>
                <a:gd name="T6" fmla="*/ 22 w 56"/>
                <a:gd name="T7" fmla="*/ 29 h 284"/>
                <a:gd name="T8" fmla="*/ 24 w 56"/>
                <a:gd name="T9" fmla="*/ 46 h 284"/>
                <a:gd name="T10" fmla="*/ 45 w 56"/>
                <a:gd name="T11" fmla="*/ 198 h 284"/>
                <a:gd name="T12" fmla="*/ 45 w 56"/>
                <a:gd name="T13" fmla="*/ 199 h 284"/>
                <a:gd name="T14" fmla="*/ 48 w 56"/>
                <a:gd name="T15" fmla="*/ 199 h 284"/>
                <a:gd name="T16" fmla="*/ 46 w 56"/>
                <a:gd name="T17" fmla="*/ 201 h 284"/>
                <a:gd name="T18" fmla="*/ 0 w 56"/>
                <a:gd name="T19" fmla="*/ 284 h 284"/>
                <a:gd name="T20" fmla="*/ 3 w 56"/>
                <a:gd name="T21" fmla="*/ 284 h 284"/>
                <a:gd name="T22" fmla="*/ 51 w 56"/>
                <a:gd name="T23" fmla="*/ 195 h 284"/>
                <a:gd name="T24" fmla="*/ 30 w 56"/>
                <a:gd name="T25" fmla="*/ 43 h 284"/>
                <a:gd name="T26" fmla="*/ 27 w 56"/>
                <a:gd name="T27" fmla="*/ 23 h 284"/>
                <a:gd name="T28" fmla="*/ 24 w 56"/>
                <a:gd name="T29" fmla="*/ 2 h 284"/>
                <a:gd name="T30" fmla="*/ 24 w 56"/>
                <a:gd name="T31" fmla="*/ 2 h 284"/>
                <a:gd name="T32" fmla="*/ 20 w 56"/>
                <a:gd name="T3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4">
                  <a:moveTo>
                    <a:pt x="20" y="0"/>
                  </a:moveTo>
                  <a:cubicBezTo>
                    <a:pt x="19" y="0"/>
                    <a:pt x="19" y="0"/>
                    <a:pt x="18" y="1"/>
                  </a:cubicBezTo>
                  <a:cubicBezTo>
                    <a:pt x="18" y="1"/>
                    <a:pt x="18" y="1"/>
                    <a:pt x="18" y="1"/>
                  </a:cubicBezTo>
                  <a:cubicBezTo>
                    <a:pt x="22" y="29"/>
                    <a:pt x="22" y="29"/>
                    <a:pt x="22" y="29"/>
                  </a:cubicBezTo>
                  <a:cubicBezTo>
                    <a:pt x="24" y="46"/>
                    <a:pt x="24" y="46"/>
                    <a:pt x="24" y="46"/>
                  </a:cubicBezTo>
                  <a:cubicBezTo>
                    <a:pt x="24" y="46"/>
                    <a:pt x="39" y="174"/>
                    <a:pt x="45" y="198"/>
                  </a:cubicBezTo>
                  <a:cubicBezTo>
                    <a:pt x="45" y="199"/>
                    <a:pt x="45" y="199"/>
                    <a:pt x="45" y="199"/>
                  </a:cubicBezTo>
                  <a:cubicBezTo>
                    <a:pt x="46" y="199"/>
                    <a:pt x="47" y="199"/>
                    <a:pt x="48" y="199"/>
                  </a:cubicBezTo>
                  <a:cubicBezTo>
                    <a:pt x="47" y="200"/>
                    <a:pt x="46" y="200"/>
                    <a:pt x="46" y="201"/>
                  </a:cubicBezTo>
                  <a:cubicBezTo>
                    <a:pt x="48" y="222"/>
                    <a:pt x="13" y="268"/>
                    <a:pt x="0" y="284"/>
                  </a:cubicBezTo>
                  <a:cubicBezTo>
                    <a:pt x="3" y="284"/>
                    <a:pt x="3" y="284"/>
                    <a:pt x="3" y="284"/>
                  </a:cubicBezTo>
                  <a:cubicBezTo>
                    <a:pt x="13" y="272"/>
                    <a:pt x="56" y="216"/>
                    <a:pt x="51" y="195"/>
                  </a:cubicBezTo>
                  <a:cubicBezTo>
                    <a:pt x="44" y="171"/>
                    <a:pt x="30" y="43"/>
                    <a:pt x="30" y="43"/>
                  </a:cubicBezTo>
                  <a:cubicBezTo>
                    <a:pt x="27" y="23"/>
                    <a:pt x="27" y="23"/>
                    <a:pt x="27" y="23"/>
                  </a:cubicBezTo>
                  <a:cubicBezTo>
                    <a:pt x="24" y="2"/>
                    <a:pt x="24" y="2"/>
                    <a:pt x="24" y="2"/>
                  </a:cubicBezTo>
                  <a:cubicBezTo>
                    <a:pt x="24" y="2"/>
                    <a:pt x="24" y="2"/>
                    <a:pt x="24" y="2"/>
                  </a:cubicBezTo>
                  <a:cubicBezTo>
                    <a:pt x="23" y="1"/>
                    <a:pt x="21" y="1"/>
                    <a:pt x="2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ṩḷîďe">
              <a:extLst>
                <a:ext uri="{FF2B5EF4-FFF2-40B4-BE49-F238E27FC236}">
                  <a16:creationId xmlns:a16="http://schemas.microsoft.com/office/drawing/2014/main" id="{057AC862-2DF6-411E-ABCB-84223B7ED926}"/>
                </a:ext>
              </a:extLst>
            </p:cNvPr>
            <p:cNvSpPr/>
            <p:nvPr/>
          </p:nvSpPr>
          <p:spPr bwMode="auto">
            <a:xfrm>
              <a:off x="7418388" y="4043363"/>
              <a:ext cx="9525" cy="7938"/>
            </a:xfrm>
            <a:custGeom>
              <a:avLst/>
              <a:gdLst>
                <a:gd name="T0" fmla="*/ 4 w 7"/>
                <a:gd name="T1" fmla="*/ 0 h 6"/>
                <a:gd name="T2" fmla="*/ 0 w 7"/>
                <a:gd name="T3" fmla="*/ 6 h 6"/>
                <a:gd name="T4" fmla="*/ 5 w 7"/>
                <a:gd name="T5" fmla="*/ 6 h 6"/>
                <a:gd name="T6" fmla="*/ 5 w 7"/>
                <a:gd name="T7" fmla="*/ 3 h 6"/>
                <a:gd name="T8" fmla="*/ 7 w 7"/>
                <a:gd name="T9" fmla="*/ 0 h 6"/>
                <a:gd name="T10" fmla="*/ 4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4" y="0"/>
                  </a:moveTo>
                  <a:cubicBezTo>
                    <a:pt x="2" y="3"/>
                    <a:pt x="0" y="5"/>
                    <a:pt x="0" y="6"/>
                  </a:cubicBezTo>
                  <a:cubicBezTo>
                    <a:pt x="5" y="6"/>
                    <a:pt x="5" y="6"/>
                    <a:pt x="5" y="6"/>
                  </a:cubicBezTo>
                  <a:cubicBezTo>
                    <a:pt x="5" y="4"/>
                    <a:pt x="5" y="3"/>
                    <a:pt x="5" y="3"/>
                  </a:cubicBezTo>
                  <a:cubicBezTo>
                    <a:pt x="5" y="3"/>
                    <a:pt x="6" y="2"/>
                    <a:pt x="7" y="0"/>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ṥ1ïḍê">
              <a:extLst>
                <a:ext uri="{FF2B5EF4-FFF2-40B4-BE49-F238E27FC236}">
                  <a16:creationId xmlns:a16="http://schemas.microsoft.com/office/drawing/2014/main" id="{7B39B0D5-10D8-4551-8743-4FB0116D81DD}"/>
                </a:ext>
              </a:extLst>
            </p:cNvPr>
            <p:cNvSpPr/>
            <p:nvPr/>
          </p:nvSpPr>
          <p:spPr bwMode="auto">
            <a:xfrm>
              <a:off x="7413625" y="4051301"/>
              <a:ext cx="133350" cy="374650"/>
            </a:xfrm>
            <a:custGeom>
              <a:avLst/>
              <a:gdLst>
                <a:gd name="T0" fmla="*/ 3 w 95"/>
                <a:gd name="T1" fmla="*/ 0 h 269"/>
                <a:gd name="T2" fmla="*/ 3 w 95"/>
                <a:gd name="T3" fmla="*/ 0 h 269"/>
                <a:gd name="T4" fmla="*/ 2 w 95"/>
                <a:gd name="T5" fmla="*/ 10 h 269"/>
                <a:gd name="T6" fmla="*/ 3 w 95"/>
                <a:gd name="T7" fmla="*/ 118 h 269"/>
                <a:gd name="T8" fmla="*/ 90 w 95"/>
                <a:gd name="T9" fmla="*/ 268 h 269"/>
                <a:gd name="T10" fmla="*/ 94 w 95"/>
                <a:gd name="T11" fmla="*/ 269 h 269"/>
                <a:gd name="T12" fmla="*/ 95 w 95"/>
                <a:gd name="T13" fmla="*/ 264 h 269"/>
                <a:gd name="T14" fmla="*/ 8 w 95"/>
                <a:gd name="T15" fmla="*/ 115 h 269"/>
                <a:gd name="T16" fmla="*/ 8 w 95"/>
                <a:gd name="T17" fmla="*/ 10 h 269"/>
                <a:gd name="T18" fmla="*/ 8 w 95"/>
                <a:gd name="T19" fmla="*/ 0 h 269"/>
                <a:gd name="T20" fmla="*/ 3 w 95"/>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269">
                  <a:moveTo>
                    <a:pt x="3" y="0"/>
                  </a:moveTo>
                  <a:cubicBezTo>
                    <a:pt x="3" y="0"/>
                    <a:pt x="3" y="0"/>
                    <a:pt x="3" y="0"/>
                  </a:cubicBezTo>
                  <a:cubicBezTo>
                    <a:pt x="3" y="0"/>
                    <a:pt x="3" y="4"/>
                    <a:pt x="2" y="10"/>
                  </a:cubicBezTo>
                  <a:cubicBezTo>
                    <a:pt x="2" y="28"/>
                    <a:pt x="0" y="70"/>
                    <a:pt x="3" y="118"/>
                  </a:cubicBezTo>
                  <a:cubicBezTo>
                    <a:pt x="6" y="184"/>
                    <a:pt x="78" y="258"/>
                    <a:pt x="90" y="268"/>
                  </a:cubicBezTo>
                  <a:cubicBezTo>
                    <a:pt x="92" y="269"/>
                    <a:pt x="93" y="269"/>
                    <a:pt x="94" y="269"/>
                  </a:cubicBezTo>
                  <a:cubicBezTo>
                    <a:pt x="95" y="268"/>
                    <a:pt x="95" y="266"/>
                    <a:pt x="95" y="264"/>
                  </a:cubicBezTo>
                  <a:cubicBezTo>
                    <a:pt x="82" y="253"/>
                    <a:pt x="12" y="180"/>
                    <a:pt x="8" y="115"/>
                  </a:cubicBezTo>
                  <a:cubicBezTo>
                    <a:pt x="6" y="69"/>
                    <a:pt x="7" y="29"/>
                    <a:pt x="8" y="10"/>
                  </a:cubicBezTo>
                  <a:cubicBezTo>
                    <a:pt x="8" y="5"/>
                    <a:pt x="8" y="2"/>
                    <a:pt x="8" y="0"/>
                  </a:cubicBezTo>
                  <a:cubicBezTo>
                    <a:pt x="3" y="0"/>
                    <a:pt x="3" y="0"/>
                    <a:pt x="3"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lîḓè">
              <a:extLst>
                <a:ext uri="{FF2B5EF4-FFF2-40B4-BE49-F238E27FC236}">
                  <a16:creationId xmlns:a16="http://schemas.microsoft.com/office/drawing/2014/main" id="{F8A445C2-2B6B-4FC9-87E6-FB0130055005}"/>
                </a:ext>
              </a:extLst>
            </p:cNvPr>
            <p:cNvSpPr/>
            <p:nvPr/>
          </p:nvSpPr>
          <p:spPr bwMode="auto">
            <a:xfrm>
              <a:off x="7486650" y="3924301"/>
              <a:ext cx="3175" cy="3175"/>
            </a:xfrm>
            <a:custGeom>
              <a:avLst/>
              <a:gdLst>
                <a:gd name="T0" fmla="*/ 3 w 3"/>
                <a:gd name="T1" fmla="*/ 0 h 2"/>
                <a:gd name="T2" fmla="*/ 0 w 3"/>
                <a:gd name="T3" fmla="*/ 0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0"/>
                    <a:pt x="0" y="0"/>
                  </a:cubicBezTo>
                  <a:cubicBezTo>
                    <a:pt x="1" y="1"/>
                    <a:pt x="1" y="1"/>
                    <a:pt x="1" y="2"/>
                  </a:cubicBezTo>
                  <a:cubicBezTo>
                    <a:pt x="1" y="1"/>
                    <a:pt x="2" y="1"/>
                    <a:pt x="3"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iṥľïḑe">
              <a:extLst>
                <a:ext uri="{FF2B5EF4-FFF2-40B4-BE49-F238E27FC236}">
                  <a16:creationId xmlns:a16="http://schemas.microsoft.com/office/drawing/2014/main" id="{579B4BC7-E381-4B6D-9D9C-F4ECECA4F5C8}"/>
                </a:ext>
              </a:extLst>
            </p:cNvPr>
            <p:cNvSpPr/>
            <p:nvPr/>
          </p:nvSpPr>
          <p:spPr bwMode="auto">
            <a:xfrm>
              <a:off x="7423150" y="3549651"/>
              <a:ext cx="238125" cy="882650"/>
            </a:xfrm>
            <a:custGeom>
              <a:avLst/>
              <a:gdLst>
                <a:gd name="T0" fmla="*/ 130 w 172"/>
                <a:gd name="T1" fmla="*/ 233 h 635"/>
                <a:gd name="T2" fmla="*/ 116 w 172"/>
                <a:gd name="T3" fmla="*/ 233 h 635"/>
                <a:gd name="T4" fmla="*/ 112 w 172"/>
                <a:gd name="T5" fmla="*/ 251 h 635"/>
                <a:gd name="T6" fmla="*/ 104 w 172"/>
                <a:gd name="T7" fmla="*/ 290 h 635"/>
                <a:gd name="T8" fmla="*/ 92 w 172"/>
                <a:gd name="T9" fmla="*/ 349 h 635"/>
                <a:gd name="T10" fmla="*/ 83 w 172"/>
                <a:gd name="T11" fmla="*/ 410 h 635"/>
                <a:gd name="T12" fmla="*/ 95 w 172"/>
                <a:gd name="T13" fmla="*/ 474 h 635"/>
                <a:gd name="T14" fmla="*/ 103 w 172"/>
                <a:gd name="T15" fmla="*/ 537 h 635"/>
                <a:gd name="T16" fmla="*/ 111 w 172"/>
                <a:gd name="T17" fmla="*/ 603 h 635"/>
                <a:gd name="T18" fmla="*/ 90 w 172"/>
                <a:gd name="T19" fmla="*/ 626 h 635"/>
                <a:gd name="T20" fmla="*/ 2 w 172"/>
                <a:gd name="T21" fmla="*/ 476 h 635"/>
                <a:gd name="T22" fmla="*/ 2 w 172"/>
                <a:gd name="T23" fmla="*/ 371 h 635"/>
                <a:gd name="T24" fmla="*/ 2 w 172"/>
                <a:gd name="T25" fmla="*/ 358 h 635"/>
                <a:gd name="T26" fmla="*/ 52 w 172"/>
                <a:gd name="T27" fmla="*/ 266 h 635"/>
                <a:gd name="T28" fmla="*/ 31 w 172"/>
                <a:gd name="T29" fmla="*/ 114 h 635"/>
                <a:gd name="T30" fmla="*/ 28 w 172"/>
                <a:gd name="T31" fmla="*/ 94 h 635"/>
                <a:gd name="T32" fmla="*/ 25 w 172"/>
                <a:gd name="T33" fmla="*/ 73 h 635"/>
                <a:gd name="T34" fmla="*/ 25 w 172"/>
                <a:gd name="T35" fmla="*/ 68 h 635"/>
                <a:gd name="T36" fmla="*/ 16 w 172"/>
                <a:gd name="T37" fmla="*/ 0 h 635"/>
                <a:gd name="T38" fmla="*/ 79 w 172"/>
                <a:gd name="T39" fmla="*/ 20 h 635"/>
                <a:gd name="T40" fmla="*/ 131 w 172"/>
                <a:gd name="T41" fmla="*/ 38 h 635"/>
                <a:gd name="T42" fmla="*/ 159 w 172"/>
                <a:gd name="T43" fmla="*/ 66 h 635"/>
                <a:gd name="T44" fmla="*/ 160 w 172"/>
                <a:gd name="T45" fmla="*/ 71 h 635"/>
                <a:gd name="T46" fmla="*/ 168 w 172"/>
                <a:gd name="T47" fmla="*/ 107 h 635"/>
                <a:gd name="T48" fmla="*/ 130 w 172"/>
                <a:gd name="T49" fmla="*/ 23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635">
                  <a:moveTo>
                    <a:pt x="130" y="233"/>
                  </a:moveTo>
                  <a:cubicBezTo>
                    <a:pt x="130" y="233"/>
                    <a:pt x="117" y="228"/>
                    <a:pt x="116" y="233"/>
                  </a:cubicBezTo>
                  <a:cubicBezTo>
                    <a:pt x="115" y="239"/>
                    <a:pt x="112" y="251"/>
                    <a:pt x="112" y="251"/>
                  </a:cubicBezTo>
                  <a:cubicBezTo>
                    <a:pt x="112" y="251"/>
                    <a:pt x="115" y="279"/>
                    <a:pt x="104" y="290"/>
                  </a:cubicBezTo>
                  <a:cubicBezTo>
                    <a:pt x="94" y="301"/>
                    <a:pt x="92" y="349"/>
                    <a:pt x="92" y="349"/>
                  </a:cubicBezTo>
                  <a:cubicBezTo>
                    <a:pt x="92" y="349"/>
                    <a:pt x="76" y="396"/>
                    <a:pt x="83" y="410"/>
                  </a:cubicBezTo>
                  <a:cubicBezTo>
                    <a:pt x="86" y="416"/>
                    <a:pt x="91" y="442"/>
                    <a:pt x="95" y="474"/>
                  </a:cubicBezTo>
                  <a:cubicBezTo>
                    <a:pt x="98" y="494"/>
                    <a:pt x="101" y="516"/>
                    <a:pt x="103" y="537"/>
                  </a:cubicBezTo>
                  <a:cubicBezTo>
                    <a:pt x="108" y="573"/>
                    <a:pt x="111" y="603"/>
                    <a:pt x="111" y="603"/>
                  </a:cubicBezTo>
                  <a:cubicBezTo>
                    <a:pt x="111" y="603"/>
                    <a:pt x="102" y="635"/>
                    <a:pt x="90" y="626"/>
                  </a:cubicBezTo>
                  <a:cubicBezTo>
                    <a:pt x="78" y="616"/>
                    <a:pt x="6" y="542"/>
                    <a:pt x="2" y="476"/>
                  </a:cubicBezTo>
                  <a:cubicBezTo>
                    <a:pt x="0" y="430"/>
                    <a:pt x="1" y="390"/>
                    <a:pt x="2" y="371"/>
                  </a:cubicBezTo>
                  <a:cubicBezTo>
                    <a:pt x="2" y="362"/>
                    <a:pt x="2" y="358"/>
                    <a:pt x="2" y="358"/>
                  </a:cubicBezTo>
                  <a:cubicBezTo>
                    <a:pt x="2" y="358"/>
                    <a:pt x="58" y="290"/>
                    <a:pt x="52" y="266"/>
                  </a:cubicBezTo>
                  <a:cubicBezTo>
                    <a:pt x="45" y="242"/>
                    <a:pt x="31" y="114"/>
                    <a:pt x="31" y="114"/>
                  </a:cubicBezTo>
                  <a:cubicBezTo>
                    <a:pt x="28" y="94"/>
                    <a:pt x="28" y="94"/>
                    <a:pt x="28" y="94"/>
                  </a:cubicBezTo>
                  <a:cubicBezTo>
                    <a:pt x="25" y="73"/>
                    <a:pt x="25" y="73"/>
                    <a:pt x="25" y="73"/>
                  </a:cubicBezTo>
                  <a:cubicBezTo>
                    <a:pt x="25" y="68"/>
                    <a:pt x="25" y="68"/>
                    <a:pt x="25" y="68"/>
                  </a:cubicBezTo>
                  <a:cubicBezTo>
                    <a:pt x="16" y="0"/>
                    <a:pt x="16" y="0"/>
                    <a:pt x="16" y="0"/>
                  </a:cubicBezTo>
                  <a:cubicBezTo>
                    <a:pt x="17" y="1"/>
                    <a:pt x="72" y="13"/>
                    <a:pt x="79" y="20"/>
                  </a:cubicBezTo>
                  <a:cubicBezTo>
                    <a:pt x="87" y="28"/>
                    <a:pt x="131" y="38"/>
                    <a:pt x="131" y="38"/>
                  </a:cubicBezTo>
                  <a:cubicBezTo>
                    <a:pt x="145" y="42"/>
                    <a:pt x="156" y="53"/>
                    <a:pt x="159" y="66"/>
                  </a:cubicBezTo>
                  <a:cubicBezTo>
                    <a:pt x="160" y="68"/>
                    <a:pt x="160" y="69"/>
                    <a:pt x="160" y="71"/>
                  </a:cubicBezTo>
                  <a:cubicBezTo>
                    <a:pt x="166" y="99"/>
                    <a:pt x="164" y="103"/>
                    <a:pt x="168" y="107"/>
                  </a:cubicBezTo>
                  <a:cubicBezTo>
                    <a:pt x="172" y="112"/>
                    <a:pt x="130" y="233"/>
                    <a:pt x="130" y="233"/>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íṡliḑé">
              <a:extLst>
                <a:ext uri="{FF2B5EF4-FFF2-40B4-BE49-F238E27FC236}">
                  <a16:creationId xmlns:a16="http://schemas.microsoft.com/office/drawing/2014/main" id="{FE042134-6901-4016-B949-5DFBD08652C9}"/>
                </a:ext>
              </a:extLst>
            </p:cNvPr>
            <p:cNvSpPr/>
            <p:nvPr/>
          </p:nvSpPr>
          <p:spPr bwMode="auto">
            <a:xfrm>
              <a:off x="7566025" y="4291013"/>
              <a:ext cx="0" cy="3175"/>
            </a:xfrm>
            <a:custGeom>
              <a:avLst/>
              <a:gdLst>
                <a:gd name="T0" fmla="*/ 0 h 3"/>
                <a:gd name="T1" fmla="*/ 3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cubicBezTo>
                    <a:pt x="0" y="1"/>
                    <a:pt x="0" y="2"/>
                    <a:pt x="0" y="3"/>
                  </a:cubicBezTo>
                  <a:cubicBezTo>
                    <a:pt x="0" y="3"/>
                    <a:pt x="0" y="3"/>
                    <a:pt x="0" y="3"/>
                  </a:cubicBezTo>
                  <a:cubicBezTo>
                    <a:pt x="0" y="2"/>
                    <a:pt x="0" y="1"/>
                    <a:pt x="0" y="0"/>
                  </a:cubicBezTo>
                  <a:cubicBezTo>
                    <a:pt x="0" y="0"/>
                    <a:pt x="0" y="0"/>
                    <a:pt x="0"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ṡ1íḑe">
              <a:extLst>
                <a:ext uri="{FF2B5EF4-FFF2-40B4-BE49-F238E27FC236}">
                  <a16:creationId xmlns:a16="http://schemas.microsoft.com/office/drawing/2014/main" id="{3FF8BB03-81C9-40F5-B04E-95B00AF7E1D6}"/>
                </a:ext>
              </a:extLst>
            </p:cNvPr>
            <p:cNvSpPr/>
            <p:nvPr/>
          </p:nvSpPr>
          <p:spPr bwMode="auto">
            <a:xfrm>
              <a:off x="7497763" y="4225926"/>
              <a:ext cx="68263" cy="68263"/>
            </a:xfrm>
            <a:custGeom>
              <a:avLst/>
              <a:gdLst>
                <a:gd name="T0" fmla="*/ 8 w 49"/>
                <a:gd name="T1" fmla="*/ 0 h 49"/>
                <a:gd name="T2" fmla="*/ 0 w 49"/>
                <a:gd name="T3" fmla="*/ 16 h 49"/>
                <a:gd name="T4" fmla="*/ 49 w 49"/>
                <a:gd name="T5" fmla="*/ 49 h 49"/>
                <a:gd name="T6" fmla="*/ 49 w 49"/>
                <a:gd name="T7" fmla="*/ 46 h 49"/>
                <a:gd name="T8" fmla="*/ 3 w 49"/>
                <a:gd name="T9" fmla="*/ 13 h 49"/>
                <a:gd name="T10" fmla="*/ 8 w 49"/>
                <a:gd name="T11" fmla="*/ 0 h 49"/>
              </a:gdLst>
              <a:ahLst/>
              <a:cxnLst>
                <a:cxn ang="0">
                  <a:pos x="T0" y="T1"/>
                </a:cxn>
                <a:cxn ang="0">
                  <a:pos x="T2" y="T3"/>
                </a:cxn>
                <a:cxn ang="0">
                  <a:pos x="T4" y="T5"/>
                </a:cxn>
                <a:cxn ang="0">
                  <a:pos x="T6" y="T7"/>
                </a:cxn>
                <a:cxn ang="0">
                  <a:pos x="T8" y="T9"/>
                </a:cxn>
                <a:cxn ang="0">
                  <a:pos x="T10" y="T11"/>
                </a:cxn>
              </a:cxnLst>
              <a:rect l="0" t="0" r="r" b="b"/>
              <a:pathLst>
                <a:path w="49" h="49">
                  <a:moveTo>
                    <a:pt x="8" y="0"/>
                  </a:moveTo>
                  <a:cubicBezTo>
                    <a:pt x="4" y="4"/>
                    <a:pt x="1" y="9"/>
                    <a:pt x="0" y="16"/>
                  </a:cubicBezTo>
                  <a:cubicBezTo>
                    <a:pt x="0" y="36"/>
                    <a:pt x="29" y="45"/>
                    <a:pt x="49" y="49"/>
                  </a:cubicBezTo>
                  <a:cubicBezTo>
                    <a:pt x="49" y="48"/>
                    <a:pt x="49" y="47"/>
                    <a:pt x="49" y="46"/>
                  </a:cubicBezTo>
                  <a:cubicBezTo>
                    <a:pt x="29" y="41"/>
                    <a:pt x="3" y="32"/>
                    <a:pt x="3" y="13"/>
                  </a:cubicBezTo>
                  <a:cubicBezTo>
                    <a:pt x="3" y="8"/>
                    <a:pt x="5" y="3"/>
                    <a:pt x="8"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ŝļîḍê">
              <a:extLst>
                <a:ext uri="{FF2B5EF4-FFF2-40B4-BE49-F238E27FC236}">
                  <a16:creationId xmlns:a16="http://schemas.microsoft.com/office/drawing/2014/main" id="{79F4E482-4089-4F9A-8073-FC8F3891D271}"/>
                </a:ext>
              </a:extLst>
            </p:cNvPr>
            <p:cNvSpPr/>
            <p:nvPr/>
          </p:nvSpPr>
          <p:spPr bwMode="auto">
            <a:xfrm>
              <a:off x="7500938" y="4203701"/>
              <a:ext cx="155575" cy="90488"/>
            </a:xfrm>
            <a:custGeom>
              <a:avLst/>
              <a:gdLst>
                <a:gd name="T0" fmla="*/ 109 w 112"/>
                <a:gd name="T1" fmla="*/ 56 h 66"/>
                <a:gd name="T2" fmla="*/ 101 w 112"/>
                <a:gd name="T3" fmla="*/ 61 h 66"/>
                <a:gd name="T4" fmla="*/ 68 w 112"/>
                <a:gd name="T5" fmla="*/ 66 h 66"/>
                <a:gd name="T6" fmla="*/ 1 w 112"/>
                <a:gd name="T7" fmla="*/ 30 h 66"/>
                <a:gd name="T8" fmla="*/ 50 w 112"/>
                <a:gd name="T9" fmla="*/ 1 h 66"/>
                <a:gd name="T10" fmla="*/ 61 w 112"/>
                <a:gd name="T11" fmla="*/ 0 h 66"/>
                <a:gd name="T12" fmla="*/ 109 w 112"/>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12" h="66">
                  <a:moveTo>
                    <a:pt x="109" y="56"/>
                  </a:moveTo>
                  <a:cubicBezTo>
                    <a:pt x="109" y="58"/>
                    <a:pt x="105" y="60"/>
                    <a:pt x="101" y="61"/>
                  </a:cubicBezTo>
                  <a:cubicBezTo>
                    <a:pt x="90" y="63"/>
                    <a:pt x="79" y="65"/>
                    <a:pt x="68" y="66"/>
                  </a:cubicBezTo>
                  <a:cubicBezTo>
                    <a:pt x="68" y="66"/>
                    <a:pt x="0" y="61"/>
                    <a:pt x="1" y="30"/>
                  </a:cubicBezTo>
                  <a:cubicBezTo>
                    <a:pt x="2" y="8"/>
                    <a:pt x="33" y="2"/>
                    <a:pt x="50" y="1"/>
                  </a:cubicBezTo>
                  <a:cubicBezTo>
                    <a:pt x="54" y="0"/>
                    <a:pt x="58" y="0"/>
                    <a:pt x="61" y="0"/>
                  </a:cubicBezTo>
                  <a:cubicBezTo>
                    <a:pt x="61" y="0"/>
                    <a:pt x="112" y="50"/>
                    <a:pt x="109" y="56"/>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íślïḍé">
              <a:extLst>
                <a:ext uri="{FF2B5EF4-FFF2-40B4-BE49-F238E27FC236}">
                  <a16:creationId xmlns:a16="http://schemas.microsoft.com/office/drawing/2014/main" id="{A8B98C3C-B91A-45CD-92C1-FA215DF8D879}"/>
                </a:ext>
              </a:extLst>
            </p:cNvPr>
            <p:cNvSpPr/>
            <p:nvPr/>
          </p:nvSpPr>
          <p:spPr bwMode="auto">
            <a:xfrm>
              <a:off x="7564438" y="4203701"/>
              <a:ext cx="82550" cy="84138"/>
            </a:xfrm>
            <a:custGeom>
              <a:avLst/>
              <a:gdLst>
                <a:gd name="T0" fmla="*/ 3 w 59"/>
                <a:gd name="T1" fmla="*/ 0 h 60"/>
                <a:gd name="T2" fmla="*/ 0 w 59"/>
                <a:gd name="T3" fmla="*/ 3 h 60"/>
                <a:gd name="T4" fmla="*/ 55 w 59"/>
                <a:gd name="T5" fmla="*/ 60 h 60"/>
                <a:gd name="T6" fmla="*/ 59 w 59"/>
                <a:gd name="T7" fmla="*/ 58 h 60"/>
                <a:gd name="T8" fmla="*/ 3 w 59"/>
                <a:gd name="T9" fmla="*/ 0 h 60"/>
              </a:gdLst>
              <a:ahLst/>
              <a:cxnLst>
                <a:cxn ang="0">
                  <a:pos x="T0" y="T1"/>
                </a:cxn>
                <a:cxn ang="0">
                  <a:pos x="T2" y="T3"/>
                </a:cxn>
                <a:cxn ang="0">
                  <a:pos x="T4" y="T5"/>
                </a:cxn>
                <a:cxn ang="0">
                  <a:pos x="T6" y="T7"/>
                </a:cxn>
                <a:cxn ang="0">
                  <a:pos x="T8" y="T9"/>
                </a:cxn>
              </a:cxnLst>
              <a:rect l="0" t="0" r="r" b="b"/>
              <a:pathLst>
                <a:path w="59" h="60">
                  <a:moveTo>
                    <a:pt x="3" y="0"/>
                  </a:moveTo>
                  <a:cubicBezTo>
                    <a:pt x="0" y="3"/>
                    <a:pt x="0" y="3"/>
                    <a:pt x="0" y="3"/>
                  </a:cubicBezTo>
                  <a:cubicBezTo>
                    <a:pt x="12" y="6"/>
                    <a:pt x="37" y="36"/>
                    <a:pt x="55" y="60"/>
                  </a:cubicBezTo>
                  <a:cubicBezTo>
                    <a:pt x="56" y="59"/>
                    <a:pt x="58" y="59"/>
                    <a:pt x="59" y="58"/>
                  </a:cubicBezTo>
                  <a:cubicBezTo>
                    <a:pt x="41" y="35"/>
                    <a:pt x="16" y="3"/>
                    <a:pt x="3"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ṧḷíḓè">
              <a:extLst>
                <a:ext uri="{FF2B5EF4-FFF2-40B4-BE49-F238E27FC236}">
                  <a16:creationId xmlns:a16="http://schemas.microsoft.com/office/drawing/2014/main" id="{BAA7724A-C1CF-44AB-BF8A-9C60460FB257}"/>
                </a:ext>
              </a:extLst>
            </p:cNvPr>
            <p:cNvSpPr/>
            <p:nvPr/>
          </p:nvSpPr>
          <p:spPr bwMode="auto">
            <a:xfrm>
              <a:off x="7569200" y="3694113"/>
              <a:ext cx="258763" cy="628650"/>
            </a:xfrm>
            <a:custGeom>
              <a:avLst/>
              <a:gdLst>
                <a:gd name="T0" fmla="*/ 43 w 186"/>
                <a:gd name="T1" fmla="*/ 0 h 452"/>
                <a:gd name="T2" fmla="*/ 63 w 186"/>
                <a:gd name="T3" fmla="*/ 3 h 452"/>
                <a:gd name="T4" fmla="*/ 87 w 186"/>
                <a:gd name="T5" fmla="*/ 40 h 452"/>
                <a:gd name="T6" fmla="*/ 96 w 186"/>
                <a:gd name="T7" fmla="*/ 63 h 452"/>
                <a:gd name="T8" fmla="*/ 135 w 186"/>
                <a:gd name="T9" fmla="*/ 112 h 452"/>
                <a:gd name="T10" fmla="*/ 158 w 186"/>
                <a:gd name="T11" fmla="*/ 150 h 452"/>
                <a:gd name="T12" fmla="*/ 181 w 186"/>
                <a:gd name="T13" fmla="*/ 182 h 452"/>
                <a:gd name="T14" fmla="*/ 186 w 186"/>
                <a:gd name="T15" fmla="*/ 225 h 452"/>
                <a:gd name="T16" fmla="*/ 172 w 186"/>
                <a:gd name="T17" fmla="*/ 273 h 452"/>
                <a:gd name="T18" fmla="*/ 153 w 186"/>
                <a:gd name="T19" fmla="*/ 327 h 452"/>
                <a:gd name="T20" fmla="*/ 118 w 186"/>
                <a:gd name="T21" fmla="*/ 374 h 452"/>
                <a:gd name="T22" fmla="*/ 101 w 186"/>
                <a:gd name="T23" fmla="*/ 403 h 452"/>
                <a:gd name="T24" fmla="*/ 75 w 186"/>
                <a:gd name="T25" fmla="*/ 452 h 452"/>
                <a:gd name="T26" fmla="*/ 0 w 186"/>
                <a:gd name="T27" fmla="*/ 367 h 452"/>
                <a:gd name="T28" fmla="*/ 34 w 186"/>
                <a:gd name="T29" fmla="*/ 342 h 452"/>
                <a:gd name="T30" fmla="*/ 57 w 186"/>
                <a:gd name="T31" fmla="*/ 298 h 452"/>
                <a:gd name="T32" fmla="*/ 77 w 186"/>
                <a:gd name="T33" fmla="*/ 262 h 452"/>
                <a:gd name="T34" fmla="*/ 88 w 186"/>
                <a:gd name="T35" fmla="*/ 246 h 452"/>
                <a:gd name="T36" fmla="*/ 88 w 186"/>
                <a:gd name="T37" fmla="*/ 226 h 452"/>
                <a:gd name="T38" fmla="*/ 56 w 186"/>
                <a:gd name="T39" fmla="*/ 166 h 452"/>
                <a:gd name="T40" fmla="*/ 25 w 186"/>
                <a:gd name="T41" fmla="*/ 130 h 452"/>
                <a:gd name="T42" fmla="*/ 10 w 186"/>
                <a:gd name="T43" fmla="*/ 93 h 452"/>
                <a:gd name="T44" fmla="*/ 43 w 186"/>
                <a:gd name="T4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6" h="452">
                  <a:moveTo>
                    <a:pt x="43" y="0"/>
                  </a:moveTo>
                  <a:cubicBezTo>
                    <a:pt x="63" y="3"/>
                    <a:pt x="63" y="3"/>
                    <a:pt x="63" y="3"/>
                  </a:cubicBezTo>
                  <a:cubicBezTo>
                    <a:pt x="71" y="16"/>
                    <a:pt x="79" y="28"/>
                    <a:pt x="87" y="40"/>
                  </a:cubicBezTo>
                  <a:cubicBezTo>
                    <a:pt x="93" y="47"/>
                    <a:pt x="96" y="55"/>
                    <a:pt x="96" y="63"/>
                  </a:cubicBezTo>
                  <a:cubicBezTo>
                    <a:pt x="96" y="63"/>
                    <a:pt x="125" y="107"/>
                    <a:pt x="135" y="112"/>
                  </a:cubicBezTo>
                  <a:cubicBezTo>
                    <a:pt x="144" y="117"/>
                    <a:pt x="158" y="150"/>
                    <a:pt x="158" y="150"/>
                  </a:cubicBezTo>
                  <a:cubicBezTo>
                    <a:pt x="158" y="150"/>
                    <a:pt x="181" y="165"/>
                    <a:pt x="181" y="182"/>
                  </a:cubicBezTo>
                  <a:cubicBezTo>
                    <a:pt x="182" y="196"/>
                    <a:pt x="183" y="211"/>
                    <a:pt x="186" y="225"/>
                  </a:cubicBezTo>
                  <a:cubicBezTo>
                    <a:pt x="186" y="227"/>
                    <a:pt x="182" y="258"/>
                    <a:pt x="172" y="273"/>
                  </a:cubicBezTo>
                  <a:cubicBezTo>
                    <a:pt x="163" y="288"/>
                    <a:pt x="153" y="321"/>
                    <a:pt x="153" y="327"/>
                  </a:cubicBezTo>
                  <a:cubicBezTo>
                    <a:pt x="154" y="333"/>
                    <a:pt x="126" y="365"/>
                    <a:pt x="118" y="374"/>
                  </a:cubicBezTo>
                  <a:cubicBezTo>
                    <a:pt x="112" y="384"/>
                    <a:pt x="106" y="393"/>
                    <a:pt x="101" y="403"/>
                  </a:cubicBezTo>
                  <a:cubicBezTo>
                    <a:pt x="75" y="452"/>
                    <a:pt x="75" y="452"/>
                    <a:pt x="75" y="452"/>
                  </a:cubicBezTo>
                  <a:cubicBezTo>
                    <a:pt x="75" y="452"/>
                    <a:pt x="20" y="371"/>
                    <a:pt x="0" y="367"/>
                  </a:cubicBezTo>
                  <a:cubicBezTo>
                    <a:pt x="0" y="367"/>
                    <a:pt x="23" y="346"/>
                    <a:pt x="34" y="342"/>
                  </a:cubicBezTo>
                  <a:cubicBezTo>
                    <a:pt x="45" y="338"/>
                    <a:pt x="56" y="306"/>
                    <a:pt x="57" y="298"/>
                  </a:cubicBezTo>
                  <a:cubicBezTo>
                    <a:pt x="57" y="291"/>
                    <a:pt x="67" y="266"/>
                    <a:pt x="77" y="262"/>
                  </a:cubicBezTo>
                  <a:cubicBezTo>
                    <a:pt x="87" y="258"/>
                    <a:pt x="93" y="253"/>
                    <a:pt x="88" y="246"/>
                  </a:cubicBezTo>
                  <a:cubicBezTo>
                    <a:pt x="84" y="240"/>
                    <a:pt x="88" y="226"/>
                    <a:pt x="88" y="226"/>
                  </a:cubicBezTo>
                  <a:cubicBezTo>
                    <a:pt x="88" y="226"/>
                    <a:pt x="59" y="188"/>
                    <a:pt x="56" y="166"/>
                  </a:cubicBezTo>
                  <a:cubicBezTo>
                    <a:pt x="52" y="145"/>
                    <a:pt x="25" y="130"/>
                    <a:pt x="25" y="130"/>
                  </a:cubicBezTo>
                  <a:cubicBezTo>
                    <a:pt x="10" y="93"/>
                    <a:pt x="10" y="93"/>
                    <a:pt x="10" y="93"/>
                  </a:cubicBezTo>
                  <a:cubicBezTo>
                    <a:pt x="43" y="0"/>
                    <a:pt x="43" y="0"/>
                    <a:pt x="43" y="0"/>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îṩḷîḋè">
              <a:extLst>
                <a:ext uri="{FF2B5EF4-FFF2-40B4-BE49-F238E27FC236}">
                  <a16:creationId xmlns:a16="http://schemas.microsoft.com/office/drawing/2014/main" id="{D5B1781A-7FDC-4123-A4B1-860DDCFF3514}"/>
                </a:ext>
              </a:extLst>
            </p:cNvPr>
            <p:cNvSpPr/>
            <p:nvPr/>
          </p:nvSpPr>
          <p:spPr bwMode="auto">
            <a:xfrm>
              <a:off x="7699375" y="3927476"/>
              <a:ext cx="85725" cy="60325"/>
            </a:xfrm>
            <a:custGeom>
              <a:avLst/>
              <a:gdLst>
                <a:gd name="T0" fmla="*/ 62 w 62"/>
                <a:gd name="T1" fmla="*/ 0 h 43"/>
                <a:gd name="T2" fmla="*/ 22 w 62"/>
                <a:gd name="T3" fmla="*/ 15 h 43"/>
                <a:gd name="T4" fmla="*/ 5 w 62"/>
                <a:gd name="T5" fmla="*/ 43 h 43"/>
                <a:gd name="T6" fmla="*/ 5 w 62"/>
                <a:gd name="T7" fmla="*/ 43 h 43"/>
                <a:gd name="T8" fmla="*/ 29 w 62"/>
                <a:gd name="T9" fmla="*/ 19 h 43"/>
                <a:gd name="T10" fmla="*/ 36 w 62"/>
                <a:gd name="T11" fmla="*/ 10 h 43"/>
                <a:gd name="T12" fmla="*/ 62 w 6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2" h="43">
                  <a:moveTo>
                    <a:pt x="62" y="0"/>
                  </a:moveTo>
                  <a:cubicBezTo>
                    <a:pt x="47" y="0"/>
                    <a:pt x="33" y="5"/>
                    <a:pt x="22" y="15"/>
                  </a:cubicBezTo>
                  <a:cubicBezTo>
                    <a:pt x="18" y="18"/>
                    <a:pt x="0" y="37"/>
                    <a:pt x="5" y="43"/>
                  </a:cubicBezTo>
                  <a:cubicBezTo>
                    <a:pt x="5" y="43"/>
                    <a:pt x="5" y="43"/>
                    <a:pt x="5" y="43"/>
                  </a:cubicBezTo>
                  <a:cubicBezTo>
                    <a:pt x="10" y="43"/>
                    <a:pt x="26" y="22"/>
                    <a:pt x="29" y="19"/>
                  </a:cubicBezTo>
                  <a:cubicBezTo>
                    <a:pt x="31" y="16"/>
                    <a:pt x="33" y="13"/>
                    <a:pt x="36" y="10"/>
                  </a:cubicBezTo>
                  <a:cubicBezTo>
                    <a:pt x="43" y="3"/>
                    <a:pt x="52" y="1"/>
                    <a:pt x="6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ïṧḻîḑe">
              <a:extLst>
                <a:ext uri="{FF2B5EF4-FFF2-40B4-BE49-F238E27FC236}">
                  <a16:creationId xmlns:a16="http://schemas.microsoft.com/office/drawing/2014/main" id="{18CA7AEF-6E90-40DF-B0E9-0A411FACDB4E}"/>
                </a:ext>
              </a:extLst>
            </p:cNvPr>
            <p:cNvSpPr/>
            <p:nvPr/>
          </p:nvSpPr>
          <p:spPr bwMode="auto">
            <a:xfrm>
              <a:off x="7669213" y="3808413"/>
              <a:ext cx="34925" cy="107950"/>
            </a:xfrm>
            <a:custGeom>
              <a:avLst/>
              <a:gdLst>
                <a:gd name="T0" fmla="*/ 19 w 26"/>
                <a:gd name="T1" fmla="*/ 0 h 78"/>
                <a:gd name="T2" fmla="*/ 13 w 26"/>
                <a:gd name="T3" fmla="*/ 18 h 78"/>
                <a:gd name="T4" fmla="*/ 8 w 26"/>
                <a:gd name="T5" fmla="*/ 38 h 78"/>
                <a:gd name="T6" fmla="*/ 0 w 26"/>
                <a:gd name="T7" fmla="*/ 78 h 78"/>
                <a:gd name="T8" fmla="*/ 14 w 26"/>
                <a:gd name="T9" fmla="*/ 68 h 78"/>
                <a:gd name="T10" fmla="*/ 18 w 26"/>
                <a:gd name="T11" fmla="*/ 50 h 78"/>
                <a:gd name="T12" fmla="*/ 24 w 26"/>
                <a:gd name="T13" fmla="*/ 21 h 78"/>
                <a:gd name="T14" fmla="*/ 23 w 26"/>
                <a:gd name="T15" fmla="*/ 9 h 78"/>
                <a:gd name="T16" fmla="*/ 19 w 26"/>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8">
                  <a:moveTo>
                    <a:pt x="19" y="0"/>
                  </a:moveTo>
                  <a:cubicBezTo>
                    <a:pt x="15" y="4"/>
                    <a:pt x="14" y="13"/>
                    <a:pt x="13" y="18"/>
                  </a:cubicBezTo>
                  <a:cubicBezTo>
                    <a:pt x="11" y="25"/>
                    <a:pt x="9" y="32"/>
                    <a:pt x="8" y="38"/>
                  </a:cubicBezTo>
                  <a:cubicBezTo>
                    <a:pt x="7" y="42"/>
                    <a:pt x="0" y="78"/>
                    <a:pt x="0" y="78"/>
                  </a:cubicBezTo>
                  <a:cubicBezTo>
                    <a:pt x="6" y="77"/>
                    <a:pt x="11" y="73"/>
                    <a:pt x="14" y="68"/>
                  </a:cubicBezTo>
                  <a:cubicBezTo>
                    <a:pt x="16" y="62"/>
                    <a:pt x="18" y="56"/>
                    <a:pt x="18" y="50"/>
                  </a:cubicBezTo>
                  <a:cubicBezTo>
                    <a:pt x="20" y="40"/>
                    <a:pt x="22" y="30"/>
                    <a:pt x="24" y="21"/>
                  </a:cubicBezTo>
                  <a:cubicBezTo>
                    <a:pt x="26" y="17"/>
                    <a:pt x="25" y="12"/>
                    <a:pt x="23" y="9"/>
                  </a:cubicBezTo>
                  <a:cubicBezTo>
                    <a:pt x="22" y="6"/>
                    <a:pt x="21" y="3"/>
                    <a:pt x="19"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ïsļiḋe">
              <a:extLst>
                <a:ext uri="{FF2B5EF4-FFF2-40B4-BE49-F238E27FC236}">
                  <a16:creationId xmlns:a16="http://schemas.microsoft.com/office/drawing/2014/main" id="{DA016FB3-A426-4096-AF9A-CB6DD1C863ED}"/>
                </a:ext>
              </a:extLst>
            </p:cNvPr>
            <p:cNvSpPr/>
            <p:nvPr/>
          </p:nvSpPr>
          <p:spPr bwMode="auto">
            <a:xfrm>
              <a:off x="7242175" y="3238501"/>
              <a:ext cx="6350" cy="7938"/>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3" y="1"/>
                    <a:pt x="2" y="3"/>
                    <a:pt x="0" y="5"/>
                  </a:cubicBezTo>
                  <a:cubicBezTo>
                    <a:pt x="1" y="5"/>
                    <a:pt x="1" y="5"/>
                    <a:pt x="1" y="5"/>
                  </a:cubicBezTo>
                  <a:cubicBezTo>
                    <a:pt x="2" y="3"/>
                    <a:pt x="4" y="2"/>
                    <a:pt x="5" y="0"/>
                  </a:cubicBezTo>
                  <a:cubicBezTo>
                    <a:pt x="5" y="0"/>
                    <a:pt x="5" y="0"/>
                    <a:pt x="5"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îṣ1íḑè">
              <a:extLst>
                <a:ext uri="{FF2B5EF4-FFF2-40B4-BE49-F238E27FC236}">
                  <a16:creationId xmlns:a16="http://schemas.microsoft.com/office/drawing/2014/main" id="{E253DE29-C1EC-4C8F-857C-B8CD8F1A2846}"/>
                </a:ext>
              </a:extLst>
            </p:cNvPr>
            <p:cNvSpPr/>
            <p:nvPr/>
          </p:nvSpPr>
          <p:spPr bwMode="auto">
            <a:xfrm>
              <a:off x="7369175" y="3489326"/>
              <a:ext cx="79375" cy="155575"/>
            </a:xfrm>
            <a:custGeom>
              <a:avLst/>
              <a:gdLst>
                <a:gd name="T0" fmla="*/ 8 w 57"/>
                <a:gd name="T1" fmla="*/ 0 h 112"/>
                <a:gd name="T2" fmla="*/ 0 w 57"/>
                <a:gd name="T3" fmla="*/ 1 h 112"/>
                <a:gd name="T4" fmla="*/ 0 w 57"/>
                <a:gd name="T5" fmla="*/ 1 h 112"/>
                <a:gd name="T6" fmla="*/ 15 w 57"/>
                <a:gd name="T7" fmla="*/ 15 h 112"/>
                <a:gd name="T8" fmla="*/ 36 w 57"/>
                <a:gd name="T9" fmla="*/ 61 h 112"/>
                <a:gd name="T10" fmla="*/ 32 w 57"/>
                <a:gd name="T11" fmla="*/ 79 h 112"/>
                <a:gd name="T12" fmla="*/ 45 w 57"/>
                <a:gd name="T13" fmla="*/ 105 h 112"/>
                <a:gd name="T14" fmla="*/ 54 w 57"/>
                <a:gd name="T15" fmla="*/ 112 h 112"/>
                <a:gd name="T16" fmla="*/ 57 w 57"/>
                <a:gd name="T17" fmla="*/ 110 h 112"/>
                <a:gd name="T18" fmla="*/ 56 w 57"/>
                <a:gd name="T19" fmla="*/ 106 h 112"/>
                <a:gd name="T20" fmla="*/ 48 w 57"/>
                <a:gd name="T21" fmla="*/ 99 h 112"/>
                <a:gd name="T22" fmla="*/ 35 w 57"/>
                <a:gd name="T23" fmla="*/ 73 h 112"/>
                <a:gd name="T24" fmla="*/ 36 w 57"/>
                <a:gd name="T25" fmla="*/ 66 h 112"/>
                <a:gd name="T26" fmla="*/ 39 w 57"/>
                <a:gd name="T27" fmla="*/ 55 h 112"/>
                <a:gd name="T28" fmla="*/ 39 w 57"/>
                <a:gd name="T29" fmla="*/ 54 h 112"/>
                <a:gd name="T30" fmla="*/ 18 w 57"/>
                <a:gd name="T31" fmla="*/ 9 h 112"/>
                <a:gd name="T32" fmla="*/ 8 w 57"/>
                <a:gd name="T3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112">
                  <a:moveTo>
                    <a:pt x="8" y="0"/>
                  </a:moveTo>
                  <a:cubicBezTo>
                    <a:pt x="5" y="0"/>
                    <a:pt x="3" y="0"/>
                    <a:pt x="0" y="1"/>
                  </a:cubicBezTo>
                  <a:cubicBezTo>
                    <a:pt x="0" y="1"/>
                    <a:pt x="0" y="1"/>
                    <a:pt x="0" y="1"/>
                  </a:cubicBezTo>
                  <a:cubicBezTo>
                    <a:pt x="5" y="6"/>
                    <a:pt x="10" y="10"/>
                    <a:pt x="15" y="15"/>
                  </a:cubicBezTo>
                  <a:cubicBezTo>
                    <a:pt x="28" y="28"/>
                    <a:pt x="39" y="44"/>
                    <a:pt x="36" y="61"/>
                  </a:cubicBezTo>
                  <a:cubicBezTo>
                    <a:pt x="35" y="67"/>
                    <a:pt x="32" y="73"/>
                    <a:pt x="32" y="79"/>
                  </a:cubicBezTo>
                  <a:cubicBezTo>
                    <a:pt x="31" y="89"/>
                    <a:pt x="38" y="98"/>
                    <a:pt x="45" y="105"/>
                  </a:cubicBezTo>
                  <a:cubicBezTo>
                    <a:pt x="48" y="108"/>
                    <a:pt x="51" y="110"/>
                    <a:pt x="54" y="112"/>
                  </a:cubicBezTo>
                  <a:cubicBezTo>
                    <a:pt x="55" y="111"/>
                    <a:pt x="56" y="111"/>
                    <a:pt x="57" y="110"/>
                  </a:cubicBezTo>
                  <a:cubicBezTo>
                    <a:pt x="56" y="106"/>
                    <a:pt x="56" y="106"/>
                    <a:pt x="56" y="106"/>
                  </a:cubicBezTo>
                  <a:cubicBezTo>
                    <a:pt x="53" y="104"/>
                    <a:pt x="50" y="102"/>
                    <a:pt x="48" y="99"/>
                  </a:cubicBezTo>
                  <a:cubicBezTo>
                    <a:pt x="40" y="92"/>
                    <a:pt x="34" y="83"/>
                    <a:pt x="35" y="73"/>
                  </a:cubicBezTo>
                  <a:cubicBezTo>
                    <a:pt x="35" y="71"/>
                    <a:pt x="36" y="68"/>
                    <a:pt x="36" y="66"/>
                  </a:cubicBezTo>
                  <a:cubicBezTo>
                    <a:pt x="37" y="62"/>
                    <a:pt x="38" y="59"/>
                    <a:pt x="39" y="55"/>
                  </a:cubicBezTo>
                  <a:cubicBezTo>
                    <a:pt x="39" y="55"/>
                    <a:pt x="39" y="55"/>
                    <a:pt x="39" y="54"/>
                  </a:cubicBezTo>
                  <a:cubicBezTo>
                    <a:pt x="41" y="37"/>
                    <a:pt x="30" y="22"/>
                    <a:pt x="18" y="9"/>
                  </a:cubicBezTo>
                  <a:cubicBezTo>
                    <a:pt x="15" y="6"/>
                    <a:pt x="11" y="3"/>
                    <a:pt x="8"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ṩ1îḓé">
              <a:extLst>
                <a:ext uri="{FF2B5EF4-FFF2-40B4-BE49-F238E27FC236}">
                  <a16:creationId xmlns:a16="http://schemas.microsoft.com/office/drawing/2014/main" id="{3935B28A-DA51-49C6-9D97-EAF737641FDC}"/>
                </a:ext>
              </a:extLst>
            </p:cNvPr>
            <p:cNvSpPr/>
            <p:nvPr/>
          </p:nvSpPr>
          <p:spPr bwMode="auto">
            <a:xfrm>
              <a:off x="7242175" y="3238501"/>
              <a:ext cx="138113" cy="252413"/>
            </a:xfrm>
            <a:custGeom>
              <a:avLst/>
              <a:gdLst>
                <a:gd name="T0" fmla="*/ 4 w 99"/>
                <a:gd name="T1" fmla="*/ 0 h 181"/>
                <a:gd name="T2" fmla="*/ 0 w 99"/>
                <a:gd name="T3" fmla="*/ 5 h 181"/>
                <a:gd name="T4" fmla="*/ 1 w 99"/>
                <a:gd name="T5" fmla="*/ 5 h 181"/>
                <a:gd name="T6" fmla="*/ 71 w 99"/>
                <a:gd name="T7" fmla="*/ 90 h 181"/>
                <a:gd name="T8" fmla="*/ 70 w 99"/>
                <a:gd name="T9" fmla="*/ 123 h 181"/>
                <a:gd name="T10" fmla="*/ 73 w 99"/>
                <a:gd name="T11" fmla="*/ 155 h 181"/>
                <a:gd name="T12" fmla="*/ 91 w 99"/>
                <a:gd name="T13" fmla="*/ 181 h 181"/>
                <a:gd name="T14" fmla="*/ 91 w 99"/>
                <a:gd name="T15" fmla="*/ 181 h 181"/>
                <a:gd name="T16" fmla="*/ 91 w 99"/>
                <a:gd name="T17" fmla="*/ 181 h 181"/>
                <a:gd name="T18" fmla="*/ 99 w 99"/>
                <a:gd name="T19" fmla="*/ 180 h 181"/>
                <a:gd name="T20" fmla="*/ 76 w 99"/>
                <a:gd name="T21" fmla="*/ 149 h 181"/>
                <a:gd name="T22" fmla="*/ 74 w 99"/>
                <a:gd name="T23" fmla="*/ 85 h 181"/>
                <a:gd name="T24" fmla="*/ 4 w 99"/>
                <a:gd name="T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81">
                  <a:moveTo>
                    <a:pt x="4" y="0"/>
                  </a:moveTo>
                  <a:cubicBezTo>
                    <a:pt x="3" y="2"/>
                    <a:pt x="1" y="3"/>
                    <a:pt x="0" y="5"/>
                  </a:cubicBezTo>
                  <a:cubicBezTo>
                    <a:pt x="1" y="5"/>
                    <a:pt x="1" y="5"/>
                    <a:pt x="1" y="5"/>
                  </a:cubicBezTo>
                  <a:cubicBezTo>
                    <a:pt x="34" y="22"/>
                    <a:pt x="67" y="51"/>
                    <a:pt x="71" y="90"/>
                  </a:cubicBezTo>
                  <a:cubicBezTo>
                    <a:pt x="71" y="101"/>
                    <a:pt x="71" y="112"/>
                    <a:pt x="70" y="123"/>
                  </a:cubicBezTo>
                  <a:cubicBezTo>
                    <a:pt x="69" y="134"/>
                    <a:pt x="70" y="145"/>
                    <a:pt x="73" y="155"/>
                  </a:cubicBezTo>
                  <a:cubicBezTo>
                    <a:pt x="77" y="165"/>
                    <a:pt x="83" y="174"/>
                    <a:pt x="91" y="181"/>
                  </a:cubicBezTo>
                  <a:cubicBezTo>
                    <a:pt x="91" y="181"/>
                    <a:pt x="91" y="181"/>
                    <a:pt x="91" y="181"/>
                  </a:cubicBezTo>
                  <a:cubicBezTo>
                    <a:pt x="91" y="181"/>
                    <a:pt x="91" y="181"/>
                    <a:pt x="91" y="181"/>
                  </a:cubicBezTo>
                  <a:cubicBezTo>
                    <a:pt x="94" y="180"/>
                    <a:pt x="96" y="180"/>
                    <a:pt x="99" y="180"/>
                  </a:cubicBezTo>
                  <a:cubicBezTo>
                    <a:pt x="89" y="171"/>
                    <a:pt x="80" y="161"/>
                    <a:pt x="76" y="149"/>
                  </a:cubicBezTo>
                  <a:cubicBezTo>
                    <a:pt x="68" y="129"/>
                    <a:pt x="76" y="106"/>
                    <a:pt x="74" y="85"/>
                  </a:cubicBezTo>
                  <a:cubicBezTo>
                    <a:pt x="70" y="46"/>
                    <a:pt x="37" y="16"/>
                    <a:pt x="4"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ïŝļîḓe">
              <a:extLst>
                <a:ext uri="{FF2B5EF4-FFF2-40B4-BE49-F238E27FC236}">
                  <a16:creationId xmlns:a16="http://schemas.microsoft.com/office/drawing/2014/main" id="{8000F576-988D-4D5B-A0EF-39B5DC150D26}"/>
                </a:ext>
              </a:extLst>
            </p:cNvPr>
            <p:cNvSpPr/>
            <p:nvPr/>
          </p:nvSpPr>
          <p:spPr bwMode="auto">
            <a:xfrm>
              <a:off x="7445375" y="3641726"/>
              <a:ext cx="3175" cy="4763"/>
            </a:xfrm>
            <a:custGeom>
              <a:avLst/>
              <a:gdLst>
                <a:gd name="T0" fmla="*/ 3 w 3"/>
                <a:gd name="T1" fmla="*/ 0 h 4"/>
                <a:gd name="T2" fmla="*/ 0 w 3"/>
                <a:gd name="T3" fmla="*/ 2 h 4"/>
                <a:gd name="T4" fmla="*/ 3 w 3"/>
                <a:gd name="T5" fmla="*/ 4 h 4"/>
                <a:gd name="T6" fmla="*/ 3 w 3"/>
                <a:gd name="T7" fmla="*/ 0 h 4"/>
              </a:gdLst>
              <a:ahLst/>
              <a:cxnLst>
                <a:cxn ang="0">
                  <a:pos x="T0" y="T1"/>
                </a:cxn>
                <a:cxn ang="0">
                  <a:pos x="T2" y="T3"/>
                </a:cxn>
                <a:cxn ang="0">
                  <a:pos x="T4" y="T5"/>
                </a:cxn>
                <a:cxn ang="0">
                  <a:pos x="T6" y="T7"/>
                </a:cxn>
              </a:cxnLst>
              <a:rect l="0" t="0" r="r" b="b"/>
              <a:pathLst>
                <a:path w="3" h="4">
                  <a:moveTo>
                    <a:pt x="3" y="0"/>
                  </a:moveTo>
                  <a:cubicBezTo>
                    <a:pt x="2" y="1"/>
                    <a:pt x="1" y="1"/>
                    <a:pt x="0" y="2"/>
                  </a:cubicBezTo>
                  <a:cubicBezTo>
                    <a:pt x="1" y="3"/>
                    <a:pt x="2" y="3"/>
                    <a:pt x="3" y="4"/>
                  </a:cubicBezTo>
                  <a:cubicBezTo>
                    <a:pt x="3" y="0"/>
                    <a:pt x="3" y="0"/>
                    <a:pt x="3"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šľiḓé">
              <a:extLst>
                <a:ext uri="{FF2B5EF4-FFF2-40B4-BE49-F238E27FC236}">
                  <a16:creationId xmlns:a16="http://schemas.microsoft.com/office/drawing/2014/main" id="{3F9BBAAD-3169-46EC-9110-685803E9B8DD}"/>
                </a:ext>
              </a:extLst>
            </p:cNvPr>
            <p:cNvSpPr/>
            <p:nvPr/>
          </p:nvSpPr>
          <p:spPr bwMode="auto">
            <a:xfrm>
              <a:off x="7643813" y="3638551"/>
              <a:ext cx="0" cy="3175"/>
            </a:xfrm>
            <a:custGeom>
              <a:avLst/>
              <a:gdLst>
                <a:gd name="T0" fmla="*/ 0 h 2"/>
                <a:gd name="T1" fmla="*/ 0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1"/>
                    <a:pt x="0" y="2"/>
                    <a:pt x="0" y="2"/>
                  </a:cubicBezTo>
                  <a:cubicBezTo>
                    <a:pt x="0" y="2"/>
                    <a:pt x="0" y="2"/>
                    <a:pt x="0" y="2"/>
                  </a:cubicBezTo>
                  <a:cubicBezTo>
                    <a:pt x="0" y="1"/>
                    <a:pt x="0" y="1"/>
                    <a:pt x="0"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ŝļíďe">
              <a:extLst>
                <a:ext uri="{FF2B5EF4-FFF2-40B4-BE49-F238E27FC236}">
                  <a16:creationId xmlns:a16="http://schemas.microsoft.com/office/drawing/2014/main" id="{51968175-EA56-43F9-A4C9-CF502BFBB611}"/>
                </a:ext>
              </a:extLst>
            </p:cNvPr>
            <p:cNvSpPr/>
            <p:nvPr/>
          </p:nvSpPr>
          <p:spPr bwMode="auto">
            <a:xfrm>
              <a:off x="7446963" y="3635376"/>
              <a:ext cx="6350" cy="6350"/>
            </a:xfrm>
            <a:custGeom>
              <a:avLst/>
              <a:gdLst>
                <a:gd name="T0" fmla="*/ 0 w 4"/>
                <a:gd name="T1" fmla="*/ 0 h 4"/>
                <a:gd name="T2" fmla="*/ 1 w 4"/>
                <a:gd name="T3" fmla="*/ 4 h 4"/>
                <a:gd name="T4" fmla="*/ 4 w 4"/>
                <a:gd name="T5" fmla="*/ 2 h 4"/>
                <a:gd name="T6" fmla="*/ 0 w 4"/>
                <a:gd name="T7" fmla="*/ 0 h 4"/>
              </a:gdLst>
              <a:ahLst/>
              <a:cxnLst>
                <a:cxn ang="0">
                  <a:pos x="T0" y="T1"/>
                </a:cxn>
                <a:cxn ang="0">
                  <a:pos x="T2" y="T3"/>
                </a:cxn>
                <a:cxn ang="0">
                  <a:pos x="T4" y="T5"/>
                </a:cxn>
                <a:cxn ang="0">
                  <a:pos x="T6" y="T7"/>
                </a:cxn>
              </a:cxnLst>
              <a:rect l="0" t="0" r="r" b="b"/>
              <a:pathLst>
                <a:path w="4" h="4">
                  <a:moveTo>
                    <a:pt x="0" y="0"/>
                  </a:moveTo>
                  <a:cubicBezTo>
                    <a:pt x="1" y="4"/>
                    <a:pt x="1" y="4"/>
                    <a:pt x="1" y="4"/>
                  </a:cubicBezTo>
                  <a:cubicBezTo>
                    <a:pt x="2" y="3"/>
                    <a:pt x="3" y="3"/>
                    <a:pt x="4" y="2"/>
                  </a:cubicBezTo>
                  <a:cubicBezTo>
                    <a:pt x="3" y="1"/>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ļîḓe">
              <a:extLst>
                <a:ext uri="{FF2B5EF4-FFF2-40B4-BE49-F238E27FC236}">
                  <a16:creationId xmlns:a16="http://schemas.microsoft.com/office/drawing/2014/main" id="{8F460B56-570A-4234-8BFB-FE4F1FD777A1}"/>
                </a:ext>
              </a:extLst>
            </p:cNvPr>
            <p:cNvSpPr/>
            <p:nvPr/>
          </p:nvSpPr>
          <p:spPr bwMode="auto">
            <a:xfrm>
              <a:off x="7448550" y="3638551"/>
              <a:ext cx="7938" cy="9525"/>
            </a:xfrm>
            <a:custGeom>
              <a:avLst/>
              <a:gdLst>
                <a:gd name="T0" fmla="*/ 3 w 6"/>
                <a:gd name="T1" fmla="*/ 0 h 7"/>
                <a:gd name="T2" fmla="*/ 0 w 6"/>
                <a:gd name="T3" fmla="*/ 2 h 7"/>
                <a:gd name="T4" fmla="*/ 0 w 6"/>
                <a:gd name="T5" fmla="*/ 6 h 7"/>
                <a:gd name="T6" fmla="*/ 2 w 6"/>
                <a:gd name="T7" fmla="*/ 7 h 7"/>
                <a:gd name="T8" fmla="*/ 2 w 6"/>
                <a:gd name="T9" fmla="*/ 7 h 7"/>
                <a:gd name="T10" fmla="*/ 6 w 6"/>
                <a:gd name="T11" fmla="*/ 5 h 7"/>
                <a:gd name="T12" fmla="*/ 6 w 6"/>
                <a:gd name="T13" fmla="*/ 4 h 7"/>
                <a:gd name="T14" fmla="*/ 5 w 6"/>
                <a:gd name="T15" fmla="*/ 1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cubicBezTo>
                    <a:pt x="2" y="1"/>
                    <a:pt x="1" y="1"/>
                    <a:pt x="0" y="2"/>
                  </a:cubicBezTo>
                  <a:cubicBezTo>
                    <a:pt x="0" y="6"/>
                    <a:pt x="0" y="6"/>
                    <a:pt x="0" y="6"/>
                  </a:cubicBezTo>
                  <a:cubicBezTo>
                    <a:pt x="1" y="6"/>
                    <a:pt x="1" y="6"/>
                    <a:pt x="2" y="7"/>
                  </a:cubicBezTo>
                  <a:cubicBezTo>
                    <a:pt x="2" y="7"/>
                    <a:pt x="2" y="7"/>
                    <a:pt x="2" y="7"/>
                  </a:cubicBezTo>
                  <a:cubicBezTo>
                    <a:pt x="3" y="6"/>
                    <a:pt x="5" y="5"/>
                    <a:pt x="6" y="5"/>
                  </a:cubicBezTo>
                  <a:cubicBezTo>
                    <a:pt x="6" y="4"/>
                    <a:pt x="6" y="4"/>
                    <a:pt x="6" y="4"/>
                  </a:cubicBezTo>
                  <a:cubicBezTo>
                    <a:pt x="5" y="1"/>
                    <a:pt x="5" y="1"/>
                    <a:pt x="5" y="1"/>
                  </a:cubicBezTo>
                  <a:cubicBezTo>
                    <a:pt x="5" y="1"/>
                    <a:pt x="4" y="0"/>
                    <a:pt x="3" y="0"/>
                  </a:cubicBezTo>
                </a:path>
              </a:pathLst>
            </a:custGeom>
            <a:solidFill>
              <a:srgbClr val="7E50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ḷíḓé">
              <a:extLst>
                <a:ext uri="{FF2B5EF4-FFF2-40B4-BE49-F238E27FC236}">
                  <a16:creationId xmlns:a16="http://schemas.microsoft.com/office/drawing/2014/main" id="{9DC8BE1A-9C7C-4497-BA16-FDA67ACDF753}"/>
                </a:ext>
              </a:extLst>
            </p:cNvPr>
            <p:cNvSpPr/>
            <p:nvPr/>
          </p:nvSpPr>
          <p:spPr bwMode="auto">
            <a:xfrm>
              <a:off x="7451725" y="3646488"/>
              <a:ext cx="4763" cy="4763"/>
            </a:xfrm>
            <a:custGeom>
              <a:avLst/>
              <a:gdLst>
                <a:gd name="T0" fmla="*/ 4 w 4"/>
                <a:gd name="T1" fmla="*/ 0 h 4"/>
                <a:gd name="T2" fmla="*/ 0 w 4"/>
                <a:gd name="T3" fmla="*/ 2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3" y="0"/>
                    <a:pt x="1" y="1"/>
                    <a:pt x="0" y="2"/>
                  </a:cubicBezTo>
                  <a:cubicBezTo>
                    <a:pt x="1" y="3"/>
                    <a:pt x="3" y="3"/>
                    <a:pt x="4" y="4"/>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ṡ1íďê">
              <a:extLst>
                <a:ext uri="{FF2B5EF4-FFF2-40B4-BE49-F238E27FC236}">
                  <a16:creationId xmlns:a16="http://schemas.microsoft.com/office/drawing/2014/main" id="{7187F00D-E9D5-492F-BA32-526197E0EDA8}"/>
                </a:ext>
              </a:extLst>
            </p:cNvPr>
            <p:cNvSpPr/>
            <p:nvPr/>
          </p:nvSpPr>
          <p:spPr bwMode="auto">
            <a:xfrm>
              <a:off x="7456488" y="3638551"/>
              <a:ext cx="187325" cy="61913"/>
            </a:xfrm>
            <a:custGeom>
              <a:avLst/>
              <a:gdLst>
                <a:gd name="T0" fmla="*/ 0 w 135"/>
                <a:gd name="T1" fmla="*/ 1 h 44"/>
                <a:gd name="T2" fmla="*/ 1 w 135"/>
                <a:gd name="T3" fmla="*/ 4 h 44"/>
                <a:gd name="T4" fmla="*/ 1 w 135"/>
                <a:gd name="T5" fmla="*/ 5 h 44"/>
                <a:gd name="T6" fmla="*/ 1 w 135"/>
                <a:gd name="T7" fmla="*/ 9 h 44"/>
                <a:gd name="T8" fmla="*/ 1 w 135"/>
                <a:gd name="T9" fmla="*/ 9 h 44"/>
                <a:gd name="T10" fmla="*/ 11 w 135"/>
                <a:gd name="T11" fmla="*/ 12 h 44"/>
                <a:gd name="T12" fmla="*/ 16 w 135"/>
                <a:gd name="T13" fmla="*/ 13 h 44"/>
                <a:gd name="T14" fmla="*/ 27 w 135"/>
                <a:gd name="T15" fmla="*/ 14 h 44"/>
                <a:gd name="T16" fmla="*/ 30 w 135"/>
                <a:gd name="T17" fmla="*/ 14 h 44"/>
                <a:gd name="T18" fmla="*/ 51 w 135"/>
                <a:gd name="T19" fmla="*/ 12 h 44"/>
                <a:gd name="T20" fmla="*/ 53 w 135"/>
                <a:gd name="T21" fmla="*/ 12 h 44"/>
                <a:gd name="T22" fmla="*/ 54 w 135"/>
                <a:gd name="T23" fmla="*/ 12 h 44"/>
                <a:gd name="T24" fmla="*/ 73 w 135"/>
                <a:gd name="T25" fmla="*/ 21 h 44"/>
                <a:gd name="T26" fmla="*/ 82 w 135"/>
                <a:gd name="T27" fmla="*/ 39 h 44"/>
                <a:gd name="T28" fmla="*/ 94 w 135"/>
                <a:gd name="T29" fmla="*/ 44 h 44"/>
                <a:gd name="T30" fmla="*/ 100 w 135"/>
                <a:gd name="T31" fmla="*/ 44 h 44"/>
                <a:gd name="T32" fmla="*/ 108 w 135"/>
                <a:gd name="T33" fmla="*/ 41 h 44"/>
                <a:gd name="T34" fmla="*/ 109 w 135"/>
                <a:gd name="T35" fmla="*/ 37 h 44"/>
                <a:gd name="T36" fmla="*/ 102 w 135"/>
                <a:gd name="T37" fmla="*/ 38 h 44"/>
                <a:gd name="T38" fmla="*/ 97 w 135"/>
                <a:gd name="T39" fmla="*/ 38 h 44"/>
                <a:gd name="T40" fmla="*/ 85 w 135"/>
                <a:gd name="T41" fmla="*/ 33 h 44"/>
                <a:gd name="T42" fmla="*/ 75 w 135"/>
                <a:gd name="T43" fmla="*/ 15 h 44"/>
                <a:gd name="T44" fmla="*/ 56 w 135"/>
                <a:gd name="T45" fmla="*/ 6 h 44"/>
                <a:gd name="T46" fmla="*/ 55 w 135"/>
                <a:gd name="T47" fmla="*/ 6 h 44"/>
                <a:gd name="T48" fmla="*/ 54 w 135"/>
                <a:gd name="T49" fmla="*/ 6 h 44"/>
                <a:gd name="T50" fmla="*/ 33 w 135"/>
                <a:gd name="T51" fmla="*/ 8 h 44"/>
                <a:gd name="T52" fmla="*/ 30 w 135"/>
                <a:gd name="T53" fmla="*/ 8 h 44"/>
                <a:gd name="T54" fmla="*/ 0 w 135"/>
                <a:gd name="T55" fmla="*/ 1 h 44"/>
                <a:gd name="T56" fmla="*/ 135 w 135"/>
                <a:gd name="T57" fmla="*/ 0 h 44"/>
                <a:gd name="T58" fmla="*/ 131 w 135"/>
                <a:gd name="T59" fmla="*/ 3 h 44"/>
                <a:gd name="T60" fmla="*/ 112 w 135"/>
                <a:gd name="T61" fmla="*/ 23 h 44"/>
                <a:gd name="T62" fmla="*/ 129 w 135"/>
                <a:gd name="T63" fmla="*/ 9 h 44"/>
                <a:gd name="T64" fmla="*/ 135 w 135"/>
                <a:gd name="T65" fmla="*/ 2 h 44"/>
                <a:gd name="T66" fmla="*/ 135 w 135"/>
                <a:gd name="T6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44">
                  <a:moveTo>
                    <a:pt x="0" y="1"/>
                  </a:moveTo>
                  <a:cubicBezTo>
                    <a:pt x="1" y="4"/>
                    <a:pt x="1" y="4"/>
                    <a:pt x="1" y="4"/>
                  </a:cubicBezTo>
                  <a:cubicBezTo>
                    <a:pt x="1" y="5"/>
                    <a:pt x="1" y="5"/>
                    <a:pt x="1" y="5"/>
                  </a:cubicBezTo>
                  <a:cubicBezTo>
                    <a:pt x="1" y="9"/>
                    <a:pt x="1" y="9"/>
                    <a:pt x="1" y="9"/>
                  </a:cubicBezTo>
                  <a:cubicBezTo>
                    <a:pt x="1" y="9"/>
                    <a:pt x="1" y="9"/>
                    <a:pt x="1" y="9"/>
                  </a:cubicBezTo>
                  <a:cubicBezTo>
                    <a:pt x="5" y="10"/>
                    <a:pt x="8" y="11"/>
                    <a:pt x="11" y="12"/>
                  </a:cubicBezTo>
                  <a:cubicBezTo>
                    <a:pt x="13" y="13"/>
                    <a:pt x="14" y="13"/>
                    <a:pt x="16" y="13"/>
                  </a:cubicBezTo>
                  <a:cubicBezTo>
                    <a:pt x="20" y="14"/>
                    <a:pt x="23" y="14"/>
                    <a:pt x="27" y="14"/>
                  </a:cubicBezTo>
                  <a:cubicBezTo>
                    <a:pt x="28" y="14"/>
                    <a:pt x="29" y="14"/>
                    <a:pt x="30" y="14"/>
                  </a:cubicBezTo>
                  <a:cubicBezTo>
                    <a:pt x="37" y="14"/>
                    <a:pt x="44" y="12"/>
                    <a:pt x="51" y="12"/>
                  </a:cubicBezTo>
                  <a:cubicBezTo>
                    <a:pt x="52" y="12"/>
                    <a:pt x="52" y="12"/>
                    <a:pt x="53" y="12"/>
                  </a:cubicBezTo>
                  <a:cubicBezTo>
                    <a:pt x="53" y="12"/>
                    <a:pt x="53" y="12"/>
                    <a:pt x="54" y="12"/>
                  </a:cubicBezTo>
                  <a:cubicBezTo>
                    <a:pt x="61" y="12"/>
                    <a:pt x="68" y="16"/>
                    <a:pt x="73" y="21"/>
                  </a:cubicBezTo>
                  <a:cubicBezTo>
                    <a:pt x="77" y="27"/>
                    <a:pt x="77" y="35"/>
                    <a:pt x="82" y="39"/>
                  </a:cubicBezTo>
                  <a:cubicBezTo>
                    <a:pt x="86" y="42"/>
                    <a:pt x="90" y="43"/>
                    <a:pt x="94" y="44"/>
                  </a:cubicBezTo>
                  <a:cubicBezTo>
                    <a:pt x="96" y="44"/>
                    <a:pt x="98" y="44"/>
                    <a:pt x="100" y="44"/>
                  </a:cubicBezTo>
                  <a:cubicBezTo>
                    <a:pt x="103" y="44"/>
                    <a:pt x="106" y="43"/>
                    <a:pt x="108" y="41"/>
                  </a:cubicBezTo>
                  <a:cubicBezTo>
                    <a:pt x="108" y="39"/>
                    <a:pt x="109" y="38"/>
                    <a:pt x="109" y="37"/>
                  </a:cubicBezTo>
                  <a:cubicBezTo>
                    <a:pt x="107" y="38"/>
                    <a:pt x="105" y="38"/>
                    <a:pt x="102" y="38"/>
                  </a:cubicBezTo>
                  <a:cubicBezTo>
                    <a:pt x="100" y="38"/>
                    <a:pt x="99" y="38"/>
                    <a:pt x="97" y="38"/>
                  </a:cubicBezTo>
                  <a:cubicBezTo>
                    <a:pt x="93" y="37"/>
                    <a:pt x="89" y="36"/>
                    <a:pt x="85" y="33"/>
                  </a:cubicBezTo>
                  <a:cubicBezTo>
                    <a:pt x="80" y="29"/>
                    <a:pt x="79" y="21"/>
                    <a:pt x="75" y="15"/>
                  </a:cubicBezTo>
                  <a:cubicBezTo>
                    <a:pt x="71" y="10"/>
                    <a:pt x="64" y="6"/>
                    <a:pt x="56" y="6"/>
                  </a:cubicBezTo>
                  <a:cubicBezTo>
                    <a:pt x="56" y="6"/>
                    <a:pt x="56" y="6"/>
                    <a:pt x="55" y="6"/>
                  </a:cubicBezTo>
                  <a:cubicBezTo>
                    <a:pt x="55" y="6"/>
                    <a:pt x="54" y="6"/>
                    <a:pt x="54" y="6"/>
                  </a:cubicBezTo>
                  <a:cubicBezTo>
                    <a:pt x="47" y="6"/>
                    <a:pt x="40" y="8"/>
                    <a:pt x="33" y="8"/>
                  </a:cubicBezTo>
                  <a:cubicBezTo>
                    <a:pt x="32" y="8"/>
                    <a:pt x="31" y="8"/>
                    <a:pt x="30" y="8"/>
                  </a:cubicBezTo>
                  <a:cubicBezTo>
                    <a:pt x="20" y="8"/>
                    <a:pt x="9" y="6"/>
                    <a:pt x="0" y="1"/>
                  </a:cubicBezTo>
                  <a:moveTo>
                    <a:pt x="135" y="0"/>
                  </a:moveTo>
                  <a:cubicBezTo>
                    <a:pt x="134" y="1"/>
                    <a:pt x="133" y="2"/>
                    <a:pt x="131" y="3"/>
                  </a:cubicBezTo>
                  <a:cubicBezTo>
                    <a:pt x="124" y="9"/>
                    <a:pt x="114" y="14"/>
                    <a:pt x="112" y="23"/>
                  </a:cubicBezTo>
                  <a:cubicBezTo>
                    <a:pt x="116" y="18"/>
                    <a:pt x="123" y="14"/>
                    <a:pt x="129" y="9"/>
                  </a:cubicBezTo>
                  <a:cubicBezTo>
                    <a:pt x="131" y="7"/>
                    <a:pt x="133" y="5"/>
                    <a:pt x="135" y="2"/>
                  </a:cubicBezTo>
                  <a:cubicBezTo>
                    <a:pt x="135" y="2"/>
                    <a:pt x="135" y="1"/>
                    <a:pt x="135"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ṡľíḓè">
              <a:extLst>
                <a:ext uri="{FF2B5EF4-FFF2-40B4-BE49-F238E27FC236}">
                  <a16:creationId xmlns:a16="http://schemas.microsoft.com/office/drawing/2014/main" id="{49C34985-173E-43D9-B2DF-FCFCAC53CDD3}"/>
                </a:ext>
              </a:extLst>
            </p:cNvPr>
            <p:cNvSpPr/>
            <p:nvPr/>
          </p:nvSpPr>
          <p:spPr bwMode="auto">
            <a:xfrm>
              <a:off x="7219950" y="3125788"/>
              <a:ext cx="447675" cy="566738"/>
            </a:xfrm>
            <a:custGeom>
              <a:avLst/>
              <a:gdLst>
                <a:gd name="T0" fmla="*/ 8 w 321"/>
                <a:gd name="T1" fmla="*/ 57 h 408"/>
                <a:gd name="T2" fmla="*/ 16 w 321"/>
                <a:gd name="T3" fmla="*/ 51 h 408"/>
                <a:gd name="T4" fmla="*/ 18 w 321"/>
                <a:gd name="T5" fmla="*/ 21 h 408"/>
                <a:gd name="T6" fmla="*/ 46 w 321"/>
                <a:gd name="T7" fmla="*/ 7 h 408"/>
                <a:gd name="T8" fmla="*/ 79 w 321"/>
                <a:gd name="T9" fmla="*/ 14 h 408"/>
                <a:gd name="T10" fmla="*/ 131 w 321"/>
                <a:gd name="T11" fmla="*/ 4 h 408"/>
                <a:gd name="T12" fmla="*/ 180 w 321"/>
                <a:gd name="T13" fmla="*/ 13 h 408"/>
                <a:gd name="T14" fmla="*/ 206 w 321"/>
                <a:gd name="T15" fmla="*/ 58 h 408"/>
                <a:gd name="T16" fmla="*/ 228 w 321"/>
                <a:gd name="T17" fmla="*/ 66 h 408"/>
                <a:gd name="T18" fmla="*/ 247 w 321"/>
                <a:gd name="T19" fmla="*/ 84 h 408"/>
                <a:gd name="T20" fmla="*/ 262 w 321"/>
                <a:gd name="T21" fmla="*/ 145 h 408"/>
                <a:gd name="T22" fmla="*/ 256 w 321"/>
                <a:gd name="T23" fmla="*/ 180 h 408"/>
                <a:gd name="T24" fmla="*/ 258 w 321"/>
                <a:gd name="T25" fmla="*/ 216 h 408"/>
                <a:gd name="T26" fmla="*/ 280 w 321"/>
                <a:gd name="T27" fmla="*/ 244 h 408"/>
                <a:gd name="T28" fmla="*/ 288 w 321"/>
                <a:gd name="T29" fmla="*/ 247 h 408"/>
                <a:gd name="T30" fmla="*/ 292 w 321"/>
                <a:gd name="T31" fmla="*/ 270 h 408"/>
                <a:gd name="T32" fmla="*/ 285 w 321"/>
                <a:gd name="T33" fmla="*/ 302 h 408"/>
                <a:gd name="T34" fmla="*/ 309 w 321"/>
                <a:gd name="T35" fmla="*/ 311 h 408"/>
                <a:gd name="T36" fmla="*/ 315 w 321"/>
                <a:gd name="T37" fmla="*/ 320 h 408"/>
                <a:gd name="T38" fmla="*/ 300 w 321"/>
                <a:gd name="T39" fmla="*/ 372 h 408"/>
                <a:gd name="T40" fmla="*/ 281 w 321"/>
                <a:gd name="T41" fmla="*/ 394 h 408"/>
                <a:gd name="T42" fmla="*/ 280 w 321"/>
                <a:gd name="T43" fmla="*/ 404 h 408"/>
                <a:gd name="T44" fmla="*/ 266 w 321"/>
                <a:gd name="T45" fmla="*/ 407 h 408"/>
                <a:gd name="T46" fmla="*/ 254 w 321"/>
                <a:gd name="T47" fmla="*/ 402 h 408"/>
                <a:gd name="T48" fmla="*/ 244 w 321"/>
                <a:gd name="T49" fmla="*/ 384 h 408"/>
                <a:gd name="T50" fmla="*/ 224 w 321"/>
                <a:gd name="T51" fmla="*/ 375 h 408"/>
                <a:gd name="T52" fmla="*/ 202 w 321"/>
                <a:gd name="T53" fmla="*/ 377 h 408"/>
                <a:gd name="T54" fmla="*/ 155 w 321"/>
                <a:gd name="T55" fmla="*/ 360 h 408"/>
                <a:gd name="T56" fmla="*/ 142 w 321"/>
                <a:gd name="T57" fmla="*/ 334 h 408"/>
                <a:gd name="T58" fmla="*/ 146 w 321"/>
                <a:gd name="T59" fmla="*/ 316 h 408"/>
                <a:gd name="T60" fmla="*/ 125 w 321"/>
                <a:gd name="T61" fmla="*/ 270 h 408"/>
                <a:gd name="T62" fmla="*/ 92 w 321"/>
                <a:gd name="T63" fmla="*/ 230 h 408"/>
                <a:gd name="T64" fmla="*/ 90 w 321"/>
                <a:gd name="T65" fmla="*/ 166 h 408"/>
                <a:gd name="T66" fmla="*/ 20 w 321"/>
                <a:gd name="T67" fmla="*/ 81 h 408"/>
                <a:gd name="T68" fmla="*/ 8 w 321"/>
                <a:gd name="T69" fmla="*/ 5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408">
                  <a:moveTo>
                    <a:pt x="8" y="57"/>
                  </a:moveTo>
                  <a:cubicBezTo>
                    <a:pt x="10" y="55"/>
                    <a:pt x="14" y="54"/>
                    <a:pt x="16" y="51"/>
                  </a:cubicBezTo>
                  <a:cubicBezTo>
                    <a:pt x="23" y="44"/>
                    <a:pt x="16" y="31"/>
                    <a:pt x="18" y="21"/>
                  </a:cubicBezTo>
                  <a:cubicBezTo>
                    <a:pt x="21" y="10"/>
                    <a:pt x="35" y="6"/>
                    <a:pt x="46" y="7"/>
                  </a:cubicBezTo>
                  <a:cubicBezTo>
                    <a:pt x="57" y="8"/>
                    <a:pt x="68" y="13"/>
                    <a:pt x="79" y="14"/>
                  </a:cubicBezTo>
                  <a:cubicBezTo>
                    <a:pt x="97" y="16"/>
                    <a:pt x="114" y="9"/>
                    <a:pt x="131" y="4"/>
                  </a:cubicBezTo>
                  <a:cubicBezTo>
                    <a:pt x="148" y="0"/>
                    <a:pt x="168" y="0"/>
                    <a:pt x="180" y="13"/>
                  </a:cubicBezTo>
                  <a:cubicBezTo>
                    <a:pt x="192" y="26"/>
                    <a:pt x="191" y="48"/>
                    <a:pt x="206" y="58"/>
                  </a:cubicBezTo>
                  <a:cubicBezTo>
                    <a:pt x="213" y="62"/>
                    <a:pt x="221" y="62"/>
                    <a:pt x="228" y="66"/>
                  </a:cubicBezTo>
                  <a:cubicBezTo>
                    <a:pt x="236" y="70"/>
                    <a:pt x="243" y="76"/>
                    <a:pt x="247" y="84"/>
                  </a:cubicBezTo>
                  <a:cubicBezTo>
                    <a:pt x="259" y="102"/>
                    <a:pt x="264" y="124"/>
                    <a:pt x="262" y="145"/>
                  </a:cubicBezTo>
                  <a:cubicBezTo>
                    <a:pt x="261" y="157"/>
                    <a:pt x="257" y="168"/>
                    <a:pt x="256" y="180"/>
                  </a:cubicBezTo>
                  <a:cubicBezTo>
                    <a:pt x="255" y="192"/>
                    <a:pt x="255" y="204"/>
                    <a:pt x="258" y="216"/>
                  </a:cubicBezTo>
                  <a:cubicBezTo>
                    <a:pt x="261" y="228"/>
                    <a:pt x="268" y="241"/>
                    <a:pt x="280" y="244"/>
                  </a:cubicBezTo>
                  <a:cubicBezTo>
                    <a:pt x="283" y="245"/>
                    <a:pt x="286" y="246"/>
                    <a:pt x="288" y="247"/>
                  </a:cubicBezTo>
                  <a:cubicBezTo>
                    <a:pt x="295" y="252"/>
                    <a:pt x="294" y="262"/>
                    <a:pt x="292" y="270"/>
                  </a:cubicBezTo>
                  <a:cubicBezTo>
                    <a:pt x="285" y="302"/>
                    <a:pt x="285" y="302"/>
                    <a:pt x="285" y="302"/>
                  </a:cubicBezTo>
                  <a:cubicBezTo>
                    <a:pt x="292" y="308"/>
                    <a:pt x="303" y="305"/>
                    <a:pt x="309" y="311"/>
                  </a:cubicBezTo>
                  <a:cubicBezTo>
                    <a:pt x="312" y="313"/>
                    <a:pt x="314" y="316"/>
                    <a:pt x="315" y="320"/>
                  </a:cubicBezTo>
                  <a:cubicBezTo>
                    <a:pt x="321" y="338"/>
                    <a:pt x="316" y="359"/>
                    <a:pt x="300" y="372"/>
                  </a:cubicBezTo>
                  <a:cubicBezTo>
                    <a:pt x="292" y="379"/>
                    <a:pt x="282" y="384"/>
                    <a:pt x="281" y="394"/>
                  </a:cubicBezTo>
                  <a:cubicBezTo>
                    <a:pt x="281" y="397"/>
                    <a:pt x="281" y="401"/>
                    <a:pt x="280" y="404"/>
                  </a:cubicBezTo>
                  <a:cubicBezTo>
                    <a:pt x="277" y="408"/>
                    <a:pt x="271" y="408"/>
                    <a:pt x="266" y="407"/>
                  </a:cubicBezTo>
                  <a:cubicBezTo>
                    <a:pt x="262" y="406"/>
                    <a:pt x="258" y="405"/>
                    <a:pt x="254" y="402"/>
                  </a:cubicBezTo>
                  <a:cubicBezTo>
                    <a:pt x="249" y="398"/>
                    <a:pt x="248" y="390"/>
                    <a:pt x="244" y="384"/>
                  </a:cubicBezTo>
                  <a:cubicBezTo>
                    <a:pt x="240" y="378"/>
                    <a:pt x="232" y="375"/>
                    <a:pt x="224" y="375"/>
                  </a:cubicBezTo>
                  <a:cubicBezTo>
                    <a:pt x="217" y="375"/>
                    <a:pt x="210" y="377"/>
                    <a:pt x="202" y="377"/>
                  </a:cubicBezTo>
                  <a:cubicBezTo>
                    <a:pt x="185" y="378"/>
                    <a:pt x="168" y="372"/>
                    <a:pt x="155" y="360"/>
                  </a:cubicBezTo>
                  <a:cubicBezTo>
                    <a:pt x="147" y="353"/>
                    <a:pt x="141" y="344"/>
                    <a:pt x="142" y="334"/>
                  </a:cubicBezTo>
                  <a:cubicBezTo>
                    <a:pt x="142" y="328"/>
                    <a:pt x="145" y="322"/>
                    <a:pt x="146" y="316"/>
                  </a:cubicBezTo>
                  <a:cubicBezTo>
                    <a:pt x="149" y="299"/>
                    <a:pt x="138" y="283"/>
                    <a:pt x="125" y="270"/>
                  </a:cubicBezTo>
                  <a:cubicBezTo>
                    <a:pt x="113" y="258"/>
                    <a:pt x="98" y="247"/>
                    <a:pt x="92" y="230"/>
                  </a:cubicBezTo>
                  <a:cubicBezTo>
                    <a:pt x="84" y="210"/>
                    <a:pt x="92" y="187"/>
                    <a:pt x="90" y="166"/>
                  </a:cubicBezTo>
                  <a:cubicBezTo>
                    <a:pt x="86" y="127"/>
                    <a:pt x="53" y="97"/>
                    <a:pt x="20" y="81"/>
                  </a:cubicBezTo>
                  <a:cubicBezTo>
                    <a:pt x="12" y="77"/>
                    <a:pt x="0" y="67"/>
                    <a:pt x="8" y="57"/>
                  </a:cubicBezTo>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îṣḻíḍê">
              <a:extLst>
                <a:ext uri="{FF2B5EF4-FFF2-40B4-BE49-F238E27FC236}">
                  <a16:creationId xmlns:a16="http://schemas.microsoft.com/office/drawing/2014/main" id="{04451DA9-7B42-434B-BE7E-09B6145BBA26}"/>
                </a:ext>
              </a:extLst>
            </p:cNvPr>
            <p:cNvSpPr/>
            <p:nvPr/>
          </p:nvSpPr>
          <p:spPr bwMode="auto">
            <a:xfrm>
              <a:off x="7224713" y="3135313"/>
              <a:ext cx="46038" cy="90488"/>
            </a:xfrm>
            <a:custGeom>
              <a:avLst/>
              <a:gdLst>
                <a:gd name="T0" fmla="*/ 33 w 33"/>
                <a:gd name="T1" fmla="*/ 0 h 65"/>
                <a:gd name="T2" fmla="*/ 15 w 33"/>
                <a:gd name="T3" fmla="*/ 14 h 65"/>
                <a:gd name="T4" fmla="*/ 13 w 33"/>
                <a:gd name="T5" fmla="*/ 44 h 65"/>
                <a:gd name="T6" fmla="*/ 5 w 33"/>
                <a:gd name="T7" fmla="*/ 50 h 65"/>
                <a:gd name="T8" fmla="*/ 5 w 33"/>
                <a:gd name="T9" fmla="*/ 65 h 65"/>
                <a:gd name="T10" fmla="*/ 5 w 33"/>
                <a:gd name="T11" fmla="*/ 50 h 65"/>
                <a:gd name="T12" fmla="*/ 13 w 33"/>
                <a:gd name="T13" fmla="*/ 44 h 65"/>
                <a:gd name="T14" fmla="*/ 15 w 33"/>
                <a:gd name="T15" fmla="*/ 14 h 65"/>
                <a:gd name="T16" fmla="*/ 33 w 33"/>
                <a:gd name="T17" fmla="*/ 0 h 65"/>
                <a:gd name="T18" fmla="*/ 33 w 3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65">
                  <a:moveTo>
                    <a:pt x="33" y="0"/>
                  </a:moveTo>
                  <a:cubicBezTo>
                    <a:pt x="25" y="1"/>
                    <a:pt x="17" y="6"/>
                    <a:pt x="15" y="14"/>
                  </a:cubicBezTo>
                  <a:cubicBezTo>
                    <a:pt x="13" y="24"/>
                    <a:pt x="20" y="36"/>
                    <a:pt x="13" y="44"/>
                  </a:cubicBezTo>
                  <a:cubicBezTo>
                    <a:pt x="10" y="46"/>
                    <a:pt x="7" y="48"/>
                    <a:pt x="5" y="50"/>
                  </a:cubicBezTo>
                  <a:cubicBezTo>
                    <a:pt x="0" y="55"/>
                    <a:pt x="2" y="60"/>
                    <a:pt x="5" y="65"/>
                  </a:cubicBezTo>
                  <a:cubicBezTo>
                    <a:pt x="2" y="60"/>
                    <a:pt x="1" y="55"/>
                    <a:pt x="5" y="50"/>
                  </a:cubicBezTo>
                  <a:cubicBezTo>
                    <a:pt x="7" y="48"/>
                    <a:pt x="11" y="47"/>
                    <a:pt x="13" y="44"/>
                  </a:cubicBezTo>
                  <a:cubicBezTo>
                    <a:pt x="20" y="37"/>
                    <a:pt x="13" y="24"/>
                    <a:pt x="15" y="14"/>
                  </a:cubicBezTo>
                  <a:cubicBezTo>
                    <a:pt x="17" y="7"/>
                    <a:pt x="25" y="2"/>
                    <a:pt x="33" y="0"/>
                  </a:cubicBezTo>
                  <a:cubicBezTo>
                    <a:pt x="33" y="0"/>
                    <a:pt x="33" y="0"/>
                    <a:pt x="33"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îṩļïḍè">
              <a:extLst>
                <a:ext uri="{FF2B5EF4-FFF2-40B4-BE49-F238E27FC236}">
                  <a16:creationId xmlns:a16="http://schemas.microsoft.com/office/drawing/2014/main" id="{C469F42B-18C0-457B-A3F8-6BE3C2F7ABC9}"/>
                </a:ext>
              </a:extLst>
            </p:cNvPr>
            <p:cNvSpPr/>
            <p:nvPr/>
          </p:nvSpPr>
          <p:spPr bwMode="auto">
            <a:xfrm>
              <a:off x="7419975" y="3563938"/>
              <a:ext cx="3175" cy="15875"/>
            </a:xfrm>
            <a:custGeom>
              <a:avLst/>
              <a:gdLst>
                <a:gd name="T0" fmla="*/ 3 w 3"/>
                <a:gd name="T1" fmla="*/ 0 h 12"/>
                <a:gd name="T2" fmla="*/ 3 w 3"/>
                <a:gd name="T3" fmla="*/ 1 h 12"/>
                <a:gd name="T4" fmla="*/ 0 w 3"/>
                <a:gd name="T5" fmla="*/ 12 h 12"/>
                <a:gd name="T6" fmla="*/ 3 w 3"/>
                <a:gd name="T7" fmla="*/ 1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cubicBezTo>
                    <a:pt x="3" y="1"/>
                    <a:pt x="3" y="1"/>
                    <a:pt x="3" y="1"/>
                  </a:cubicBezTo>
                  <a:cubicBezTo>
                    <a:pt x="2" y="5"/>
                    <a:pt x="1" y="8"/>
                    <a:pt x="0" y="12"/>
                  </a:cubicBezTo>
                  <a:cubicBezTo>
                    <a:pt x="1" y="9"/>
                    <a:pt x="2" y="5"/>
                    <a:pt x="3" y="1"/>
                  </a:cubicBezTo>
                  <a:cubicBezTo>
                    <a:pt x="3" y="1"/>
                    <a:pt x="3" y="1"/>
                    <a:pt x="3"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iSḻíḋé">
              <a:extLst>
                <a:ext uri="{FF2B5EF4-FFF2-40B4-BE49-F238E27FC236}">
                  <a16:creationId xmlns:a16="http://schemas.microsoft.com/office/drawing/2014/main" id="{80AA5B66-3AC1-452B-8337-605B68134A5D}"/>
                </a:ext>
              </a:extLst>
            </p:cNvPr>
            <p:cNvSpPr/>
            <p:nvPr/>
          </p:nvSpPr>
          <p:spPr bwMode="auto">
            <a:xfrm>
              <a:off x="7610475" y="3679826"/>
              <a:ext cx="1588" cy="7938"/>
            </a:xfrm>
            <a:custGeom>
              <a:avLst/>
              <a:gdLst>
                <a:gd name="T0" fmla="*/ 1 w 1"/>
                <a:gd name="T1" fmla="*/ 0 h 6"/>
                <a:gd name="T2" fmla="*/ 0 w 1"/>
                <a:gd name="T3" fmla="*/ 6 h 6"/>
                <a:gd name="T4" fmla="*/ 0 w 1"/>
                <a:gd name="T5" fmla="*/ 5 h 6"/>
                <a:gd name="T6" fmla="*/ 1 w 1"/>
                <a:gd name="T7" fmla="*/ 0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cubicBezTo>
                    <a:pt x="1" y="2"/>
                    <a:pt x="0" y="4"/>
                    <a:pt x="0" y="6"/>
                  </a:cubicBezTo>
                  <a:cubicBezTo>
                    <a:pt x="0" y="5"/>
                    <a:pt x="0" y="5"/>
                    <a:pt x="0" y="5"/>
                  </a:cubicBezTo>
                  <a:cubicBezTo>
                    <a:pt x="1" y="4"/>
                    <a:pt x="1" y="2"/>
                    <a:pt x="1" y="0"/>
                  </a:cubicBezTo>
                  <a:cubicBezTo>
                    <a:pt x="1" y="0"/>
                    <a:pt x="1" y="0"/>
                    <a:pt x="1"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ş1ïḑè">
              <a:extLst>
                <a:ext uri="{FF2B5EF4-FFF2-40B4-BE49-F238E27FC236}">
                  <a16:creationId xmlns:a16="http://schemas.microsoft.com/office/drawing/2014/main" id="{4942B760-2C43-4298-8A37-4ECD480203B6}"/>
                </a:ext>
              </a:extLst>
            </p:cNvPr>
            <p:cNvSpPr/>
            <p:nvPr/>
          </p:nvSpPr>
          <p:spPr bwMode="auto">
            <a:xfrm>
              <a:off x="7226300" y="3135313"/>
              <a:ext cx="385763" cy="555625"/>
            </a:xfrm>
            <a:custGeom>
              <a:avLst/>
              <a:gdLst>
                <a:gd name="T0" fmla="*/ 32 w 277"/>
                <a:gd name="T1" fmla="*/ 0 h 400"/>
                <a:gd name="T2" fmla="*/ 14 w 277"/>
                <a:gd name="T3" fmla="*/ 14 h 400"/>
                <a:gd name="T4" fmla="*/ 12 w 277"/>
                <a:gd name="T5" fmla="*/ 44 h 400"/>
                <a:gd name="T6" fmla="*/ 4 w 277"/>
                <a:gd name="T7" fmla="*/ 50 h 400"/>
                <a:gd name="T8" fmla="*/ 4 w 277"/>
                <a:gd name="T9" fmla="*/ 65 h 400"/>
                <a:gd name="T10" fmla="*/ 16 w 277"/>
                <a:gd name="T11" fmla="*/ 73 h 400"/>
                <a:gd name="T12" fmla="*/ 86 w 277"/>
                <a:gd name="T13" fmla="*/ 158 h 400"/>
                <a:gd name="T14" fmla="*/ 88 w 277"/>
                <a:gd name="T15" fmla="*/ 223 h 400"/>
                <a:gd name="T16" fmla="*/ 121 w 277"/>
                <a:gd name="T17" fmla="*/ 263 h 400"/>
                <a:gd name="T18" fmla="*/ 142 w 277"/>
                <a:gd name="T19" fmla="*/ 308 h 400"/>
                <a:gd name="T20" fmla="*/ 142 w 277"/>
                <a:gd name="T21" fmla="*/ 309 h 400"/>
                <a:gd name="T22" fmla="*/ 139 w 277"/>
                <a:gd name="T23" fmla="*/ 320 h 400"/>
                <a:gd name="T24" fmla="*/ 138 w 277"/>
                <a:gd name="T25" fmla="*/ 327 h 400"/>
                <a:gd name="T26" fmla="*/ 151 w 277"/>
                <a:gd name="T27" fmla="*/ 353 h 400"/>
                <a:gd name="T28" fmla="*/ 195 w 277"/>
                <a:gd name="T29" fmla="*/ 370 h 400"/>
                <a:gd name="T30" fmla="*/ 198 w 277"/>
                <a:gd name="T31" fmla="*/ 370 h 400"/>
                <a:gd name="T32" fmla="*/ 219 w 277"/>
                <a:gd name="T33" fmla="*/ 368 h 400"/>
                <a:gd name="T34" fmla="*/ 221 w 277"/>
                <a:gd name="T35" fmla="*/ 368 h 400"/>
                <a:gd name="T36" fmla="*/ 222 w 277"/>
                <a:gd name="T37" fmla="*/ 368 h 400"/>
                <a:gd name="T38" fmla="*/ 241 w 277"/>
                <a:gd name="T39" fmla="*/ 377 h 400"/>
                <a:gd name="T40" fmla="*/ 250 w 277"/>
                <a:gd name="T41" fmla="*/ 395 h 400"/>
                <a:gd name="T42" fmla="*/ 262 w 277"/>
                <a:gd name="T43" fmla="*/ 399 h 400"/>
                <a:gd name="T44" fmla="*/ 268 w 277"/>
                <a:gd name="T45" fmla="*/ 400 h 400"/>
                <a:gd name="T46" fmla="*/ 276 w 277"/>
                <a:gd name="T47" fmla="*/ 397 h 400"/>
                <a:gd name="T48" fmla="*/ 277 w 277"/>
                <a:gd name="T49" fmla="*/ 391 h 400"/>
                <a:gd name="T50" fmla="*/ 266 w 277"/>
                <a:gd name="T51" fmla="*/ 386 h 400"/>
                <a:gd name="T52" fmla="*/ 256 w 277"/>
                <a:gd name="T53" fmla="*/ 368 h 400"/>
                <a:gd name="T54" fmla="*/ 237 w 277"/>
                <a:gd name="T55" fmla="*/ 359 h 400"/>
                <a:gd name="T56" fmla="*/ 236 w 277"/>
                <a:gd name="T57" fmla="*/ 359 h 400"/>
                <a:gd name="T58" fmla="*/ 235 w 277"/>
                <a:gd name="T59" fmla="*/ 359 h 400"/>
                <a:gd name="T60" fmla="*/ 214 w 277"/>
                <a:gd name="T61" fmla="*/ 361 h 400"/>
                <a:gd name="T62" fmla="*/ 211 w 277"/>
                <a:gd name="T63" fmla="*/ 361 h 400"/>
                <a:gd name="T64" fmla="*/ 166 w 277"/>
                <a:gd name="T65" fmla="*/ 344 h 400"/>
                <a:gd name="T66" fmla="*/ 154 w 277"/>
                <a:gd name="T67" fmla="*/ 318 h 400"/>
                <a:gd name="T68" fmla="*/ 158 w 277"/>
                <a:gd name="T69" fmla="*/ 300 h 400"/>
                <a:gd name="T70" fmla="*/ 137 w 277"/>
                <a:gd name="T71" fmla="*/ 254 h 400"/>
                <a:gd name="T72" fmla="*/ 103 w 277"/>
                <a:gd name="T73" fmla="*/ 214 h 400"/>
                <a:gd name="T74" fmla="*/ 101 w 277"/>
                <a:gd name="T75" fmla="*/ 149 h 400"/>
                <a:gd name="T76" fmla="*/ 31 w 277"/>
                <a:gd name="T77" fmla="*/ 65 h 400"/>
                <a:gd name="T78" fmla="*/ 19 w 277"/>
                <a:gd name="T79" fmla="*/ 41 h 400"/>
                <a:gd name="T80" fmla="*/ 27 w 277"/>
                <a:gd name="T81" fmla="*/ 35 h 400"/>
                <a:gd name="T82" fmla="*/ 30 w 277"/>
                <a:gd name="T83" fmla="*/ 5 h 400"/>
                <a:gd name="T84" fmla="*/ 32 w 277"/>
                <a:gd name="T8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400">
                  <a:moveTo>
                    <a:pt x="32" y="0"/>
                  </a:moveTo>
                  <a:cubicBezTo>
                    <a:pt x="24" y="2"/>
                    <a:pt x="16" y="7"/>
                    <a:pt x="14" y="14"/>
                  </a:cubicBezTo>
                  <a:cubicBezTo>
                    <a:pt x="12" y="24"/>
                    <a:pt x="19" y="37"/>
                    <a:pt x="12" y="44"/>
                  </a:cubicBezTo>
                  <a:cubicBezTo>
                    <a:pt x="10" y="47"/>
                    <a:pt x="6" y="48"/>
                    <a:pt x="4" y="50"/>
                  </a:cubicBezTo>
                  <a:cubicBezTo>
                    <a:pt x="0" y="55"/>
                    <a:pt x="1" y="60"/>
                    <a:pt x="4" y="65"/>
                  </a:cubicBezTo>
                  <a:cubicBezTo>
                    <a:pt x="7" y="68"/>
                    <a:pt x="12" y="72"/>
                    <a:pt x="16" y="73"/>
                  </a:cubicBezTo>
                  <a:cubicBezTo>
                    <a:pt x="49" y="90"/>
                    <a:pt x="82" y="119"/>
                    <a:pt x="86" y="158"/>
                  </a:cubicBezTo>
                  <a:cubicBezTo>
                    <a:pt x="88" y="180"/>
                    <a:pt x="80" y="203"/>
                    <a:pt x="88" y="223"/>
                  </a:cubicBezTo>
                  <a:cubicBezTo>
                    <a:pt x="94" y="239"/>
                    <a:pt x="109" y="251"/>
                    <a:pt x="121" y="263"/>
                  </a:cubicBezTo>
                  <a:cubicBezTo>
                    <a:pt x="133" y="275"/>
                    <a:pt x="145" y="291"/>
                    <a:pt x="142" y="308"/>
                  </a:cubicBezTo>
                  <a:cubicBezTo>
                    <a:pt x="142" y="309"/>
                    <a:pt x="142" y="309"/>
                    <a:pt x="142" y="309"/>
                  </a:cubicBezTo>
                  <a:cubicBezTo>
                    <a:pt x="141" y="313"/>
                    <a:pt x="140" y="317"/>
                    <a:pt x="139" y="320"/>
                  </a:cubicBezTo>
                  <a:cubicBezTo>
                    <a:pt x="139" y="322"/>
                    <a:pt x="138" y="325"/>
                    <a:pt x="138" y="327"/>
                  </a:cubicBezTo>
                  <a:cubicBezTo>
                    <a:pt x="137" y="337"/>
                    <a:pt x="144" y="346"/>
                    <a:pt x="151" y="353"/>
                  </a:cubicBezTo>
                  <a:cubicBezTo>
                    <a:pt x="163" y="364"/>
                    <a:pt x="179" y="370"/>
                    <a:pt x="195" y="370"/>
                  </a:cubicBezTo>
                  <a:cubicBezTo>
                    <a:pt x="196" y="370"/>
                    <a:pt x="197" y="370"/>
                    <a:pt x="198" y="370"/>
                  </a:cubicBezTo>
                  <a:cubicBezTo>
                    <a:pt x="205" y="370"/>
                    <a:pt x="212" y="368"/>
                    <a:pt x="219" y="368"/>
                  </a:cubicBezTo>
                  <a:cubicBezTo>
                    <a:pt x="220" y="368"/>
                    <a:pt x="220" y="368"/>
                    <a:pt x="221" y="368"/>
                  </a:cubicBezTo>
                  <a:cubicBezTo>
                    <a:pt x="221" y="368"/>
                    <a:pt x="221" y="368"/>
                    <a:pt x="222" y="368"/>
                  </a:cubicBezTo>
                  <a:cubicBezTo>
                    <a:pt x="229" y="368"/>
                    <a:pt x="236" y="371"/>
                    <a:pt x="241" y="377"/>
                  </a:cubicBezTo>
                  <a:cubicBezTo>
                    <a:pt x="245" y="383"/>
                    <a:pt x="245" y="391"/>
                    <a:pt x="250" y="395"/>
                  </a:cubicBezTo>
                  <a:cubicBezTo>
                    <a:pt x="254" y="398"/>
                    <a:pt x="258" y="399"/>
                    <a:pt x="262" y="399"/>
                  </a:cubicBezTo>
                  <a:cubicBezTo>
                    <a:pt x="264" y="400"/>
                    <a:pt x="266" y="400"/>
                    <a:pt x="268" y="400"/>
                  </a:cubicBezTo>
                  <a:cubicBezTo>
                    <a:pt x="271" y="400"/>
                    <a:pt x="274" y="399"/>
                    <a:pt x="276" y="397"/>
                  </a:cubicBezTo>
                  <a:cubicBezTo>
                    <a:pt x="276" y="395"/>
                    <a:pt x="277" y="393"/>
                    <a:pt x="277" y="391"/>
                  </a:cubicBezTo>
                  <a:cubicBezTo>
                    <a:pt x="273" y="390"/>
                    <a:pt x="269" y="389"/>
                    <a:pt x="266" y="386"/>
                  </a:cubicBezTo>
                  <a:cubicBezTo>
                    <a:pt x="261" y="382"/>
                    <a:pt x="260" y="374"/>
                    <a:pt x="256" y="368"/>
                  </a:cubicBezTo>
                  <a:cubicBezTo>
                    <a:pt x="251" y="363"/>
                    <a:pt x="244" y="359"/>
                    <a:pt x="237" y="359"/>
                  </a:cubicBezTo>
                  <a:cubicBezTo>
                    <a:pt x="237" y="359"/>
                    <a:pt x="236" y="359"/>
                    <a:pt x="236" y="359"/>
                  </a:cubicBezTo>
                  <a:cubicBezTo>
                    <a:pt x="236" y="359"/>
                    <a:pt x="235" y="359"/>
                    <a:pt x="235" y="359"/>
                  </a:cubicBezTo>
                  <a:cubicBezTo>
                    <a:pt x="228" y="359"/>
                    <a:pt x="221" y="361"/>
                    <a:pt x="214" y="361"/>
                  </a:cubicBezTo>
                  <a:cubicBezTo>
                    <a:pt x="213" y="361"/>
                    <a:pt x="212" y="361"/>
                    <a:pt x="211" y="361"/>
                  </a:cubicBezTo>
                  <a:cubicBezTo>
                    <a:pt x="194" y="361"/>
                    <a:pt x="179" y="355"/>
                    <a:pt x="166" y="344"/>
                  </a:cubicBezTo>
                  <a:cubicBezTo>
                    <a:pt x="159" y="337"/>
                    <a:pt x="153" y="328"/>
                    <a:pt x="154" y="318"/>
                  </a:cubicBezTo>
                  <a:cubicBezTo>
                    <a:pt x="154" y="312"/>
                    <a:pt x="157" y="306"/>
                    <a:pt x="158" y="300"/>
                  </a:cubicBezTo>
                  <a:cubicBezTo>
                    <a:pt x="161" y="283"/>
                    <a:pt x="149" y="267"/>
                    <a:pt x="137" y="254"/>
                  </a:cubicBezTo>
                  <a:cubicBezTo>
                    <a:pt x="124" y="242"/>
                    <a:pt x="110" y="231"/>
                    <a:pt x="103" y="214"/>
                  </a:cubicBezTo>
                  <a:cubicBezTo>
                    <a:pt x="96" y="194"/>
                    <a:pt x="103" y="171"/>
                    <a:pt x="101" y="149"/>
                  </a:cubicBezTo>
                  <a:cubicBezTo>
                    <a:pt x="98" y="111"/>
                    <a:pt x="64" y="81"/>
                    <a:pt x="31" y="65"/>
                  </a:cubicBezTo>
                  <a:cubicBezTo>
                    <a:pt x="23" y="61"/>
                    <a:pt x="11" y="51"/>
                    <a:pt x="19" y="41"/>
                  </a:cubicBezTo>
                  <a:cubicBezTo>
                    <a:pt x="22" y="39"/>
                    <a:pt x="25" y="37"/>
                    <a:pt x="27" y="35"/>
                  </a:cubicBezTo>
                  <a:cubicBezTo>
                    <a:pt x="34" y="28"/>
                    <a:pt x="27" y="15"/>
                    <a:pt x="30" y="5"/>
                  </a:cubicBezTo>
                  <a:cubicBezTo>
                    <a:pt x="30" y="4"/>
                    <a:pt x="31" y="2"/>
                    <a:pt x="32"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îŝḻïďé">
              <a:extLst>
                <a:ext uri="{FF2B5EF4-FFF2-40B4-BE49-F238E27FC236}">
                  <a16:creationId xmlns:a16="http://schemas.microsoft.com/office/drawing/2014/main" id="{B90F8D5A-A449-4DE1-B86C-1CDC25192C6B}"/>
                </a:ext>
              </a:extLst>
            </p:cNvPr>
            <p:cNvSpPr/>
            <p:nvPr/>
          </p:nvSpPr>
          <p:spPr bwMode="auto">
            <a:xfrm>
              <a:off x="5846763" y="1104901"/>
              <a:ext cx="1493838" cy="2238375"/>
            </a:xfrm>
            <a:custGeom>
              <a:avLst/>
              <a:gdLst>
                <a:gd name="T0" fmla="*/ 676 w 1074"/>
                <a:gd name="T1" fmla="*/ 1611 h 1611"/>
                <a:gd name="T2" fmla="*/ 399 w 1074"/>
                <a:gd name="T3" fmla="*/ 1611 h 1611"/>
                <a:gd name="T4" fmla="*/ 399 w 1074"/>
                <a:gd name="T5" fmla="*/ 1338 h 1611"/>
                <a:gd name="T6" fmla="*/ 676 w 1074"/>
                <a:gd name="T7" fmla="*/ 1338 h 1611"/>
                <a:gd name="T8" fmla="*/ 676 w 1074"/>
                <a:gd name="T9" fmla="*/ 1611 h 1611"/>
                <a:gd name="T10" fmla="*/ 672 w 1074"/>
                <a:gd name="T11" fmla="*/ 1200 h 1611"/>
                <a:gd name="T12" fmla="*/ 403 w 1074"/>
                <a:gd name="T13" fmla="*/ 1200 h 1611"/>
                <a:gd name="T14" fmla="*/ 806 w 1074"/>
                <a:gd name="T15" fmla="*/ 533 h 1611"/>
                <a:gd name="T16" fmla="*/ 537 w 1074"/>
                <a:gd name="T17" fmla="*/ 267 h 1611"/>
                <a:gd name="T18" fmla="*/ 269 w 1074"/>
                <a:gd name="T19" fmla="*/ 537 h 1611"/>
                <a:gd name="T20" fmla="*/ 0 w 1074"/>
                <a:gd name="T21" fmla="*/ 537 h 1611"/>
                <a:gd name="T22" fmla="*/ 535 w 1074"/>
                <a:gd name="T23" fmla="*/ 0 h 1611"/>
                <a:gd name="T24" fmla="*/ 537 w 1074"/>
                <a:gd name="T25" fmla="*/ 0 h 1611"/>
                <a:gd name="T26" fmla="*/ 1074 w 1074"/>
                <a:gd name="T27" fmla="*/ 533 h 1611"/>
                <a:gd name="T28" fmla="*/ 671 w 1074"/>
                <a:gd name="T29" fmla="*/ 1200 h 1611"/>
                <a:gd name="T30" fmla="*/ 672 w 1074"/>
                <a:gd name="T31" fmla="*/ 1200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4" h="1611">
                  <a:moveTo>
                    <a:pt x="676" y="1611"/>
                  </a:moveTo>
                  <a:cubicBezTo>
                    <a:pt x="399" y="1611"/>
                    <a:pt x="399" y="1611"/>
                    <a:pt x="399" y="1611"/>
                  </a:cubicBezTo>
                  <a:cubicBezTo>
                    <a:pt x="399" y="1338"/>
                    <a:pt x="399" y="1338"/>
                    <a:pt x="399" y="1338"/>
                  </a:cubicBezTo>
                  <a:cubicBezTo>
                    <a:pt x="676" y="1338"/>
                    <a:pt x="676" y="1338"/>
                    <a:pt x="676" y="1338"/>
                  </a:cubicBezTo>
                  <a:lnTo>
                    <a:pt x="676" y="1611"/>
                  </a:lnTo>
                  <a:close/>
                  <a:moveTo>
                    <a:pt x="672" y="1200"/>
                  </a:moveTo>
                  <a:cubicBezTo>
                    <a:pt x="403" y="1200"/>
                    <a:pt x="403" y="1200"/>
                    <a:pt x="403" y="1200"/>
                  </a:cubicBezTo>
                  <a:cubicBezTo>
                    <a:pt x="403" y="776"/>
                    <a:pt x="806" y="801"/>
                    <a:pt x="806" y="533"/>
                  </a:cubicBezTo>
                  <a:cubicBezTo>
                    <a:pt x="806" y="385"/>
                    <a:pt x="685" y="267"/>
                    <a:pt x="537" y="267"/>
                  </a:cubicBezTo>
                  <a:cubicBezTo>
                    <a:pt x="389" y="267"/>
                    <a:pt x="269" y="394"/>
                    <a:pt x="269" y="537"/>
                  </a:cubicBezTo>
                  <a:cubicBezTo>
                    <a:pt x="0" y="537"/>
                    <a:pt x="0" y="537"/>
                    <a:pt x="0" y="537"/>
                  </a:cubicBezTo>
                  <a:cubicBezTo>
                    <a:pt x="0" y="241"/>
                    <a:pt x="239" y="0"/>
                    <a:pt x="535" y="0"/>
                  </a:cubicBezTo>
                  <a:cubicBezTo>
                    <a:pt x="536" y="0"/>
                    <a:pt x="536" y="0"/>
                    <a:pt x="537" y="0"/>
                  </a:cubicBezTo>
                  <a:cubicBezTo>
                    <a:pt x="834" y="0"/>
                    <a:pt x="1074" y="236"/>
                    <a:pt x="1074" y="533"/>
                  </a:cubicBezTo>
                  <a:cubicBezTo>
                    <a:pt x="1074" y="868"/>
                    <a:pt x="671" y="906"/>
                    <a:pt x="671" y="1200"/>
                  </a:cubicBezTo>
                  <a:lnTo>
                    <a:pt x="672" y="1200"/>
                  </a:lnTo>
                  <a:close/>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ïṣľiḋe">
              <a:extLst>
                <a:ext uri="{FF2B5EF4-FFF2-40B4-BE49-F238E27FC236}">
                  <a16:creationId xmlns:a16="http://schemas.microsoft.com/office/drawing/2014/main" id="{2D07E01F-0348-4368-9F82-340CE12C553A}"/>
                </a:ext>
              </a:extLst>
            </p:cNvPr>
            <p:cNvSpPr/>
            <p:nvPr/>
          </p:nvSpPr>
          <p:spPr bwMode="auto">
            <a:xfrm>
              <a:off x="4624388" y="2655888"/>
              <a:ext cx="384175" cy="573088"/>
            </a:xfrm>
            <a:custGeom>
              <a:avLst/>
              <a:gdLst>
                <a:gd name="T0" fmla="*/ 174 w 276"/>
                <a:gd name="T1" fmla="*/ 343 h 413"/>
                <a:gd name="T2" fmla="*/ 102 w 276"/>
                <a:gd name="T3" fmla="*/ 343 h 413"/>
                <a:gd name="T4" fmla="*/ 102 w 276"/>
                <a:gd name="T5" fmla="*/ 413 h 413"/>
                <a:gd name="T6" fmla="*/ 174 w 276"/>
                <a:gd name="T7" fmla="*/ 413 h 413"/>
                <a:gd name="T8" fmla="*/ 174 w 276"/>
                <a:gd name="T9" fmla="*/ 343 h 413"/>
                <a:gd name="T10" fmla="*/ 138 w 276"/>
                <a:gd name="T11" fmla="*/ 0 h 413"/>
                <a:gd name="T12" fmla="*/ 0 w 276"/>
                <a:gd name="T13" fmla="*/ 136 h 413"/>
                <a:gd name="T14" fmla="*/ 69 w 276"/>
                <a:gd name="T15" fmla="*/ 136 h 413"/>
                <a:gd name="T16" fmla="*/ 138 w 276"/>
                <a:gd name="T17" fmla="*/ 67 h 413"/>
                <a:gd name="T18" fmla="*/ 138 w 276"/>
                <a:gd name="T19" fmla="*/ 67 h 413"/>
                <a:gd name="T20" fmla="*/ 138 w 276"/>
                <a:gd name="T21" fmla="*/ 67 h 413"/>
                <a:gd name="T22" fmla="*/ 207 w 276"/>
                <a:gd name="T23" fmla="*/ 135 h 413"/>
                <a:gd name="T24" fmla="*/ 103 w 276"/>
                <a:gd name="T25" fmla="*/ 307 h 413"/>
                <a:gd name="T26" fmla="*/ 172 w 276"/>
                <a:gd name="T27" fmla="*/ 307 h 413"/>
                <a:gd name="T28" fmla="*/ 172 w 276"/>
                <a:gd name="T29" fmla="*/ 307 h 413"/>
                <a:gd name="T30" fmla="*/ 276 w 276"/>
                <a:gd name="T31" fmla="*/ 135 h 413"/>
                <a:gd name="T32" fmla="*/ 140 w 276"/>
                <a:gd name="T33" fmla="*/ 0 h 413"/>
                <a:gd name="T34" fmla="*/ 138 w 276"/>
                <a:gd name="T3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413">
                  <a:moveTo>
                    <a:pt x="174" y="343"/>
                  </a:moveTo>
                  <a:cubicBezTo>
                    <a:pt x="102" y="343"/>
                    <a:pt x="102" y="343"/>
                    <a:pt x="102" y="343"/>
                  </a:cubicBezTo>
                  <a:cubicBezTo>
                    <a:pt x="102" y="413"/>
                    <a:pt x="102" y="413"/>
                    <a:pt x="102" y="413"/>
                  </a:cubicBezTo>
                  <a:cubicBezTo>
                    <a:pt x="174" y="413"/>
                    <a:pt x="174" y="413"/>
                    <a:pt x="174" y="413"/>
                  </a:cubicBezTo>
                  <a:cubicBezTo>
                    <a:pt x="174" y="343"/>
                    <a:pt x="174" y="343"/>
                    <a:pt x="174" y="343"/>
                  </a:cubicBezTo>
                  <a:moveTo>
                    <a:pt x="138" y="0"/>
                  </a:moveTo>
                  <a:cubicBezTo>
                    <a:pt x="62" y="0"/>
                    <a:pt x="1" y="61"/>
                    <a:pt x="0" y="136"/>
                  </a:cubicBezTo>
                  <a:cubicBezTo>
                    <a:pt x="69" y="136"/>
                    <a:pt x="69" y="136"/>
                    <a:pt x="69" y="136"/>
                  </a:cubicBezTo>
                  <a:cubicBezTo>
                    <a:pt x="69" y="98"/>
                    <a:pt x="100" y="68"/>
                    <a:pt x="138" y="67"/>
                  </a:cubicBezTo>
                  <a:cubicBezTo>
                    <a:pt x="138" y="67"/>
                    <a:pt x="138" y="67"/>
                    <a:pt x="138" y="67"/>
                  </a:cubicBezTo>
                  <a:cubicBezTo>
                    <a:pt x="138" y="67"/>
                    <a:pt x="138" y="67"/>
                    <a:pt x="138" y="67"/>
                  </a:cubicBezTo>
                  <a:cubicBezTo>
                    <a:pt x="176" y="67"/>
                    <a:pt x="207" y="97"/>
                    <a:pt x="207" y="135"/>
                  </a:cubicBezTo>
                  <a:cubicBezTo>
                    <a:pt x="207" y="205"/>
                    <a:pt x="103" y="198"/>
                    <a:pt x="103" y="307"/>
                  </a:cubicBezTo>
                  <a:cubicBezTo>
                    <a:pt x="172" y="307"/>
                    <a:pt x="172" y="307"/>
                    <a:pt x="172" y="307"/>
                  </a:cubicBezTo>
                  <a:cubicBezTo>
                    <a:pt x="172" y="307"/>
                    <a:pt x="172" y="307"/>
                    <a:pt x="172" y="307"/>
                  </a:cubicBezTo>
                  <a:cubicBezTo>
                    <a:pt x="172" y="232"/>
                    <a:pt x="276" y="222"/>
                    <a:pt x="276" y="135"/>
                  </a:cubicBezTo>
                  <a:cubicBezTo>
                    <a:pt x="275" y="61"/>
                    <a:pt x="214" y="1"/>
                    <a:pt x="140" y="0"/>
                  </a:cubicBezTo>
                  <a:cubicBezTo>
                    <a:pt x="139" y="0"/>
                    <a:pt x="139" y="0"/>
                    <a:pt x="138" y="0"/>
                  </a:cubicBezTo>
                </a:path>
              </a:pathLst>
            </a:custGeom>
            <a:solidFill>
              <a:srgbClr val="4285F4">
                <a:alpha val="20000"/>
              </a:srgbClr>
            </a:solidFill>
            <a:ln>
              <a:noFill/>
            </a:ln>
          </p:spPr>
          <p:txBody>
            <a:bodyPr anchor="ctr"/>
            <a:lstStyle/>
            <a:p>
              <a:pPr algn="ctr"/>
              <a:endParaRPr/>
            </a:p>
          </p:txBody>
        </p:sp>
        <p:sp>
          <p:nvSpPr>
            <p:cNvPr id="102" name="íšḷïḓè">
              <a:extLst>
                <a:ext uri="{FF2B5EF4-FFF2-40B4-BE49-F238E27FC236}">
                  <a16:creationId xmlns:a16="http://schemas.microsoft.com/office/drawing/2014/main" id="{606B516E-1B8A-4821-AC19-73F089F88CFC}"/>
                </a:ext>
              </a:extLst>
            </p:cNvPr>
            <p:cNvSpPr/>
            <p:nvPr/>
          </p:nvSpPr>
          <p:spPr bwMode="auto">
            <a:xfrm>
              <a:off x="5376863" y="3335338"/>
              <a:ext cx="384175" cy="574675"/>
            </a:xfrm>
            <a:custGeom>
              <a:avLst/>
              <a:gdLst>
                <a:gd name="T0" fmla="*/ 174 w 277"/>
                <a:gd name="T1" fmla="*/ 343 h 413"/>
                <a:gd name="T2" fmla="*/ 103 w 277"/>
                <a:gd name="T3" fmla="*/ 343 h 413"/>
                <a:gd name="T4" fmla="*/ 103 w 277"/>
                <a:gd name="T5" fmla="*/ 413 h 413"/>
                <a:gd name="T6" fmla="*/ 174 w 277"/>
                <a:gd name="T7" fmla="*/ 413 h 413"/>
                <a:gd name="T8" fmla="*/ 174 w 277"/>
                <a:gd name="T9" fmla="*/ 343 h 413"/>
                <a:gd name="T10" fmla="*/ 138 w 277"/>
                <a:gd name="T11" fmla="*/ 0 h 413"/>
                <a:gd name="T12" fmla="*/ 0 w 277"/>
                <a:gd name="T13" fmla="*/ 136 h 413"/>
                <a:gd name="T14" fmla="*/ 69 w 277"/>
                <a:gd name="T15" fmla="*/ 136 h 413"/>
                <a:gd name="T16" fmla="*/ 138 w 277"/>
                <a:gd name="T17" fmla="*/ 67 h 413"/>
                <a:gd name="T18" fmla="*/ 138 w 277"/>
                <a:gd name="T19" fmla="*/ 67 h 413"/>
                <a:gd name="T20" fmla="*/ 139 w 277"/>
                <a:gd name="T21" fmla="*/ 67 h 413"/>
                <a:gd name="T22" fmla="*/ 207 w 277"/>
                <a:gd name="T23" fmla="*/ 135 h 413"/>
                <a:gd name="T24" fmla="*/ 104 w 277"/>
                <a:gd name="T25" fmla="*/ 307 h 413"/>
                <a:gd name="T26" fmla="*/ 173 w 277"/>
                <a:gd name="T27" fmla="*/ 307 h 413"/>
                <a:gd name="T28" fmla="*/ 276 w 277"/>
                <a:gd name="T29" fmla="*/ 135 h 413"/>
                <a:gd name="T30" fmla="*/ 140 w 277"/>
                <a:gd name="T31" fmla="*/ 0 h 413"/>
                <a:gd name="T32" fmla="*/ 138 w 277"/>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13">
                  <a:moveTo>
                    <a:pt x="174" y="343"/>
                  </a:moveTo>
                  <a:cubicBezTo>
                    <a:pt x="103" y="343"/>
                    <a:pt x="103" y="343"/>
                    <a:pt x="103" y="343"/>
                  </a:cubicBezTo>
                  <a:cubicBezTo>
                    <a:pt x="103" y="413"/>
                    <a:pt x="103" y="413"/>
                    <a:pt x="103" y="413"/>
                  </a:cubicBezTo>
                  <a:cubicBezTo>
                    <a:pt x="174" y="413"/>
                    <a:pt x="174" y="413"/>
                    <a:pt x="174" y="413"/>
                  </a:cubicBezTo>
                  <a:cubicBezTo>
                    <a:pt x="174" y="343"/>
                    <a:pt x="174" y="343"/>
                    <a:pt x="174" y="343"/>
                  </a:cubicBezTo>
                  <a:moveTo>
                    <a:pt x="138" y="0"/>
                  </a:moveTo>
                  <a:cubicBezTo>
                    <a:pt x="62" y="0"/>
                    <a:pt x="1" y="60"/>
                    <a:pt x="0" y="136"/>
                  </a:cubicBezTo>
                  <a:cubicBezTo>
                    <a:pt x="69" y="136"/>
                    <a:pt x="69" y="136"/>
                    <a:pt x="69" y="136"/>
                  </a:cubicBezTo>
                  <a:cubicBezTo>
                    <a:pt x="69" y="98"/>
                    <a:pt x="100" y="67"/>
                    <a:pt x="138" y="67"/>
                  </a:cubicBezTo>
                  <a:cubicBezTo>
                    <a:pt x="138" y="67"/>
                    <a:pt x="138" y="67"/>
                    <a:pt x="138" y="67"/>
                  </a:cubicBezTo>
                  <a:cubicBezTo>
                    <a:pt x="138" y="67"/>
                    <a:pt x="139" y="67"/>
                    <a:pt x="139" y="67"/>
                  </a:cubicBezTo>
                  <a:cubicBezTo>
                    <a:pt x="176" y="67"/>
                    <a:pt x="207" y="97"/>
                    <a:pt x="207" y="135"/>
                  </a:cubicBezTo>
                  <a:cubicBezTo>
                    <a:pt x="207" y="204"/>
                    <a:pt x="104" y="198"/>
                    <a:pt x="104" y="307"/>
                  </a:cubicBezTo>
                  <a:cubicBezTo>
                    <a:pt x="173" y="307"/>
                    <a:pt x="173" y="307"/>
                    <a:pt x="173" y="307"/>
                  </a:cubicBezTo>
                  <a:cubicBezTo>
                    <a:pt x="173" y="231"/>
                    <a:pt x="277" y="222"/>
                    <a:pt x="276" y="135"/>
                  </a:cubicBezTo>
                  <a:cubicBezTo>
                    <a:pt x="275" y="60"/>
                    <a:pt x="214" y="1"/>
                    <a:pt x="140" y="0"/>
                  </a:cubicBezTo>
                  <a:cubicBezTo>
                    <a:pt x="139" y="0"/>
                    <a:pt x="139" y="0"/>
                    <a:pt x="138" y="0"/>
                  </a:cubicBezTo>
                </a:path>
              </a:pathLst>
            </a:custGeom>
            <a:solidFill>
              <a:srgbClr val="4285F4">
                <a:alpha val="20000"/>
              </a:srgbClr>
            </a:solidFill>
            <a:ln>
              <a:noFill/>
            </a:ln>
          </p:spPr>
          <p:txBody>
            <a:bodyPr anchor="ctr"/>
            <a:lstStyle/>
            <a:p>
              <a:pPr algn="ctr"/>
              <a:endParaRPr/>
            </a:p>
          </p:txBody>
        </p:sp>
        <p:sp>
          <p:nvSpPr>
            <p:cNvPr id="103" name="iŝḻîdê">
              <a:extLst>
                <a:ext uri="{FF2B5EF4-FFF2-40B4-BE49-F238E27FC236}">
                  <a16:creationId xmlns:a16="http://schemas.microsoft.com/office/drawing/2014/main" id="{5458CC67-6606-49BB-A8C1-87BC69B260B6}"/>
                </a:ext>
              </a:extLst>
            </p:cNvPr>
            <p:cNvSpPr/>
            <p:nvPr/>
          </p:nvSpPr>
          <p:spPr bwMode="auto">
            <a:xfrm>
              <a:off x="5899150" y="2287588"/>
              <a:ext cx="279400" cy="417513"/>
            </a:xfrm>
            <a:custGeom>
              <a:avLst/>
              <a:gdLst>
                <a:gd name="T0" fmla="*/ 126 w 201"/>
                <a:gd name="T1" fmla="*/ 250 h 301"/>
                <a:gd name="T2" fmla="*/ 75 w 201"/>
                <a:gd name="T3" fmla="*/ 250 h 301"/>
                <a:gd name="T4" fmla="*/ 75 w 201"/>
                <a:gd name="T5" fmla="*/ 301 h 301"/>
                <a:gd name="T6" fmla="*/ 126 w 201"/>
                <a:gd name="T7" fmla="*/ 301 h 301"/>
                <a:gd name="T8" fmla="*/ 126 w 201"/>
                <a:gd name="T9" fmla="*/ 250 h 301"/>
                <a:gd name="T10" fmla="*/ 101 w 201"/>
                <a:gd name="T11" fmla="*/ 0 h 301"/>
                <a:gd name="T12" fmla="*/ 100 w 201"/>
                <a:gd name="T13" fmla="*/ 0 h 301"/>
                <a:gd name="T14" fmla="*/ 0 w 201"/>
                <a:gd name="T15" fmla="*/ 101 h 301"/>
                <a:gd name="T16" fmla="*/ 50 w 201"/>
                <a:gd name="T17" fmla="*/ 101 h 301"/>
                <a:gd name="T18" fmla="*/ 101 w 201"/>
                <a:gd name="T19" fmla="*/ 50 h 301"/>
                <a:gd name="T20" fmla="*/ 101 w 201"/>
                <a:gd name="T21" fmla="*/ 50 h 301"/>
                <a:gd name="T22" fmla="*/ 101 w 201"/>
                <a:gd name="T23" fmla="*/ 50 h 301"/>
                <a:gd name="T24" fmla="*/ 151 w 201"/>
                <a:gd name="T25" fmla="*/ 100 h 301"/>
                <a:gd name="T26" fmla="*/ 76 w 201"/>
                <a:gd name="T27" fmla="*/ 224 h 301"/>
                <a:gd name="T28" fmla="*/ 126 w 201"/>
                <a:gd name="T29" fmla="*/ 224 h 301"/>
                <a:gd name="T30" fmla="*/ 201 w 201"/>
                <a:gd name="T31" fmla="*/ 100 h 301"/>
                <a:gd name="T32" fmla="*/ 101 w 201"/>
                <a:gd name="T3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301">
                  <a:moveTo>
                    <a:pt x="126" y="250"/>
                  </a:moveTo>
                  <a:cubicBezTo>
                    <a:pt x="75" y="250"/>
                    <a:pt x="75" y="250"/>
                    <a:pt x="75" y="250"/>
                  </a:cubicBezTo>
                  <a:cubicBezTo>
                    <a:pt x="75" y="301"/>
                    <a:pt x="75" y="301"/>
                    <a:pt x="75" y="301"/>
                  </a:cubicBezTo>
                  <a:cubicBezTo>
                    <a:pt x="126" y="301"/>
                    <a:pt x="126" y="301"/>
                    <a:pt x="126" y="301"/>
                  </a:cubicBezTo>
                  <a:cubicBezTo>
                    <a:pt x="126" y="250"/>
                    <a:pt x="126" y="250"/>
                    <a:pt x="126" y="250"/>
                  </a:cubicBezTo>
                  <a:moveTo>
                    <a:pt x="101" y="0"/>
                  </a:moveTo>
                  <a:cubicBezTo>
                    <a:pt x="100" y="0"/>
                    <a:pt x="100" y="0"/>
                    <a:pt x="100" y="0"/>
                  </a:cubicBezTo>
                  <a:cubicBezTo>
                    <a:pt x="45" y="0"/>
                    <a:pt x="0" y="45"/>
                    <a:pt x="0" y="101"/>
                  </a:cubicBezTo>
                  <a:cubicBezTo>
                    <a:pt x="50" y="101"/>
                    <a:pt x="50" y="101"/>
                    <a:pt x="50" y="101"/>
                  </a:cubicBezTo>
                  <a:cubicBezTo>
                    <a:pt x="51" y="73"/>
                    <a:pt x="73" y="51"/>
                    <a:pt x="101" y="50"/>
                  </a:cubicBezTo>
                  <a:cubicBezTo>
                    <a:pt x="101" y="50"/>
                    <a:pt x="101" y="50"/>
                    <a:pt x="101" y="50"/>
                  </a:cubicBezTo>
                  <a:cubicBezTo>
                    <a:pt x="101" y="50"/>
                    <a:pt x="101" y="50"/>
                    <a:pt x="101" y="50"/>
                  </a:cubicBezTo>
                  <a:cubicBezTo>
                    <a:pt x="128" y="50"/>
                    <a:pt x="151" y="72"/>
                    <a:pt x="151" y="100"/>
                  </a:cubicBezTo>
                  <a:cubicBezTo>
                    <a:pt x="151" y="150"/>
                    <a:pt x="76" y="145"/>
                    <a:pt x="76" y="224"/>
                  </a:cubicBezTo>
                  <a:cubicBezTo>
                    <a:pt x="126" y="224"/>
                    <a:pt x="126" y="224"/>
                    <a:pt x="126" y="224"/>
                  </a:cubicBezTo>
                  <a:cubicBezTo>
                    <a:pt x="126" y="170"/>
                    <a:pt x="201" y="162"/>
                    <a:pt x="201" y="100"/>
                  </a:cubicBezTo>
                  <a:cubicBezTo>
                    <a:pt x="201" y="45"/>
                    <a:pt x="156" y="0"/>
                    <a:pt x="101" y="0"/>
                  </a:cubicBezTo>
                </a:path>
              </a:pathLst>
            </a:custGeom>
            <a:solidFill>
              <a:srgbClr val="4285F4">
                <a:alpha val="20000"/>
              </a:srgbClr>
            </a:solidFill>
            <a:ln>
              <a:noFill/>
            </a:ln>
          </p:spPr>
          <p:txBody>
            <a:bodyPr anchor="ctr"/>
            <a:lstStyle/>
            <a:p>
              <a:pPr algn="ctr"/>
              <a:endParaRPr/>
            </a:p>
          </p:txBody>
        </p:sp>
        <p:sp>
          <p:nvSpPr>
            <p:cNvPr id="104" name="ïSlïdê">
              <a:extLst>
                <a:ext uri="{FF2B5EF4-FFF2-40B4-BE49-F238E27FC236}">
                  <a16:creationId xmlns:a16="http://schemas.microsoft.com/office/drawing/2014/main" id="{3A53E740-F289-48E0-A883-45072325A891}"/>
                </a:ext>
              </a:extLst>
            </p:cNvPr>
            <p:cNvSpPr/>
            <p:nvPr/>
          </p:nvSpPr>
          <p:spPr bwMode="auto">
            <a:xfrm>
              <a:off x="7204075" y="2570163"/>
              <a:ext cx="158750" cy="234950"/>
            </a:xfrm>
            <a:custGeom>
              <a:avLst/>
              <a:gdLst>
                <a:gd name="T0" fmla="*/ 72 w 114"/>
                <a:gd name="T1" fmla="*/ 140 h 169"/>
                <a:gd name="T2" fmla="*/ 43 w 114"/>
                <a:gd name="T3" fmla="*/ 140 h 169"/>
                <a:gd name="T4" fmla="*/ 43 w 114"/>
                <a:gd name="T5" fmla="*/ 169 h 169"/>
                <a:gd name="T6" fmla="*/ 72 w 114"/>
                <a:gd name="T7" fmla="*/ 169 h 169"/>
                <a:gd name="T8" fmla="*/ 72 w 114"/>
                <a:gd name="T9" fmla="*/ 140 h 169"/>
                <a:gd name="T10" fmla="*/ 57 w 114"/>
                <a:gd name="T11" fmla="*/ 0 h 169"/>
                <a:gd name="T12" fmla="*/ 0 w 114"/>
                <a:gd name="T13" fmla="*/ 56 h 169"/>
                <a:gd name="T14" fmla="*/ 29 w 114"/>
                <a:gd name="T15" fmla="*/ 56 h 169"/>
                <a:gd name="T16" fmla="*/ 57 w 114"/>
                <a:gd name="T17" fmla="*/ 27 h 169"/>
                <a:gd name="T18" fmla="*/ 57 w 114"/>
                <a:gd name="T19" fmla="*/ 27 h 169"/>
                <a:gd name="T20" fmla="*/ 85 w 114"/>
                <a:gd name="T21" fmla="*/ 55 h 169"/>
                <a:gd name="T22" fmla="*/ 43 w 114"/>
                <a:gd name="T23" fmla="*/ 126 h 169"/>
                <a:gd name="T24" fmla="*/ 71 w 114"/>
                <a:gd name="T25" fmla="*/ 126 h 169"/>
                <a:gd name="T26" fmla="*/ 114 w 114"/>
                <a:gd name="T27" fmla="*/ 55 h 169"/>
                <a:gd name="T28" fmla="*/ 58 w 114"/>
                <a:gd name="T29" fmla="*/ 0 h 169"/>
                <a:gd name="T30" fmla="*/ 57 w 114"/>
                <a:gd name="T3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9">
                  <a:moveTo>
                    <a:pt x="72" y="140"/>
                  </a:moveTo>
                  <a:cubicBezTo>
                    <a:pt x="43" y="140"/>
                    <a:pt x="43" y="140"/>
                    <a:pt x="43" y="140"/>
                  </a:cubicBezTo>
                  <a:cubicBezTo>
                    <a:pt x="43" y="169"/>
                    <a:pt x="43" y="169"/>
                    <a:pt x="43" y="169"/>
                  </a:cubicBezTo>
                  <a:cubicBezTo>
                    <a:pt x="72" y="169"/>
                    <a:pt x="72" y="169"/>
                    <a:pt x="72" y="169"/>
                  </a:cubicBezTo>
                  <a:cubicBezTo>
                    <a:pt x="72" y="140"/>
                    <a:pt x="72" y="140"/>
                    <a:pt x="72" y="140"/>
                  </a:cubicBezTo>
                  <a:moveTo>
                    <a:pt x="57" y="0"/>
                  </a:moveTo>
                  <a:cubicBezTo>
                    <a:pt x="26" y="0"/>
                    <a:pt x="1" y="25"/>
                    <a:pt x="0" y="56"/>
                  </a:cubicBezTo>
                  <a:cubicBezTo>
                    <a:pt x="29" y="56"/>
                    <a:pt x="29" y="56"/>
                    <a:pt x="29" y="56"/>
                  </a:cubicBezTo>
                  <a:cubicBezTo>
                    <a:pt x="29" y="40"/>
                    <a:pt x="41" y="28"/>
                    <a:pt x="57" y="27"/>
                  </a:cubicBezTo>
                  <a:cubicBezTo>
                    <a:pt x="57" y="27"/>
                    <a:pt x="57" y="27"/>
                    <a:pt x="57" y="27"/>
                  </a:cubicBezTo>
                  <a:cubicBezTo>
                    <a:pt x="73" y="27"/>
                    <a:pt x="85" y="40"/>
                    <a:pt x="85" y="55"/>
                  </a:cubicBezTo>
                  <a:cubicBezTo>
                    <a:pt x="85" y="84"/>
                    <a:pt x="43" y="81"/>
                    <a:pt x="43" y="126"/>
                  </a:cubicBezTo>
                  <a:cubicBezTo>
                    <a:pt x="71" y="126"/>
                    <a:pt x="71" y="126"/>
                    <a:pt x="71" y="126"/>
                  </a:cubicBezTo>
                  <a:cubicBezTo>
                    <a:pt x="71" y="95"/>
                    <a:pt x="114" y="90"/>
                    <a:pt x="114" y="55"/>
                  </a:cubicBezTo>
                  <a:cubicBezTo>
                    <a:pt x="113" y="25"/>
                    <a:pt x="88" y="1"/>
                    <a:pt x="58" y="0"/>
                  </a:cubicBezTo>
                  <a:cubicBezTo>
                    <a:pt x="58" y="0"/>
                    <a:pt x="57" y="0"/>
                    <a:pt x="57" y="0"/>
                  </a:cubicBezTo>
                </a:path>
              </a:pathLst>
            </a:custGeom>
            <a:solidFill>
              <a:srgbClr val="4285F4">
                <a:alpha val="20000"/>
              </a:srgbClr>
            </a:solidFill>
            <a:ln>
              <a:noFill/>
            </a:ln>
          </p:spPr>
          <p:txBody>
            <a:bodyPr anchor="ctr"/>
            <a:lstStyle/>
            <a:p>
              <a:pPr algn="ctr"/>
              <a:endParaRPr/>
            </a:p>
          </p:txBody>
        </p:sp>
        <p:sp>
          <p:nvSpPr>
            <p:cNvPr id="105" name="íṧ1îďé">
              <a:extLst>
                <a:ext uri="{FF2B5EF4-FFF2-40B4-BE49-F238E27FC236}">
                  <a16:creationId xmlns:a16="http://schemas.microsoft.com/office/drawing/2014/main" id="{4C907F72-52D8-4622-A8FB-B7CD5AF51B13}"/>
                </a:ext>
              </a:extLst>
            </p:cNvPr>
            <p:cNvSpPr/>
            <p:nvPr/>
          </p:nvSpPr>
          <p:spPr bwMode="auto">
            <a:xfrm>
              <a:off x="7827963" y="4391026"/>
              <a:ext cx="157163" cy="234950"/>
            </a:xfrm>
            <a:custGeom>
              <a:avLst/>
              <a:gdLst>
                <a:gd name="T0" fmla="*/ 71 w 113"/>
                <a:gd name="T1" fmla="*/ 140 h 169"/>
                <a:gd name="T2" fmla="*/ 42 w 113"/>
                <a:gd name="T3" fmla="*/ 140 h 169"/>
                <a:gd name="T4" fmla="*/ 42 w 113"/>
                <a:gd name="T5" fmla="*/ 169 h 169"/>
                <a:gd name="T6" fmla="*/ 71 w 113"/>
                <a:gd name="T7" fmla="*/ 169 h 169"/>
                <a:gd name="T8" fmla="*/ 71 w 113"/>
                <a:gd name="T9" fmla="*/ 140 h 169"/>
                <a:gd name="T10" fmla="*/ 56 w 113"/>
                <a:gd name="T11" fmla="*/ 0 h 169"/>
                <a:gd name="T12" fmla="*/ 0 w 113"/>
                <a:gd name="T13" fmla="*/ 56 h 169"/>
                <a:gd name="T14" fmla="*/ 28 w 113"/>
                <a:gd name="T15" fmla="*/ 56 h 169"/>
                <a:gd name="T16" fmla="*/ 56 w 113"/>
                <a:gd name="T17" fmla="*/ 27 h 169"/>
                <a:gd name="T18" fmla="*/ 56 w 113"/>
                <a:gd name="T19" fmla="*/ 27 h 169"/>
                <a:gd name="T20" fmla="*/ 85 w 113"/>
                <a:gd name="T21" fmla="*/ 55 h 169"/>
                <a:gd name="T22" fmla="*/ 42 w 113"/>
                <a:gd name="T23" fmla="*/ 126 h 169"/>
                <a:gd name="T24" fmla="*/ 70 w 113"/>
                <a:gd name="T25" fmla="*/ 126 h 169"/>
                <a:gd name="T26" fmla="*/ 71 w 113"/>
                <a:gd name="T27" fmla="*/ 126 h 169"/>
                <a:gd name="T28" fmla="*/ 113 w 113"/>
                <a:gd name="T29" fmla="*/ 55 h 169"/>
                <a:gd name="T30" fmla="*/ 57 w 113"/>
                <a:gd name="T31" fmla="*/ 0 h 169"/>
                <a:gd name="T32" fmla="*/ 56 w 113"/>
                <a:gd name="T3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69">
                  <a:moveTo>
                    <a:pt x="71" y="140"/>
                  </a:moveTo>
                  <a:cubicBezTo>
                    <a:pt x="42" y="140"/>
                    <a:pt x="42" y="140"/>
                    <a:pt x="42" y="140"/>
                  </a:cubicBezTo>
                  <a:cubicBezTo>
                    <a:pt x="42" y="169"/>
                    <a:pt x="42" y="169"/>
                    <a:pt x="42" y="169"/>
                  </a:cubicBezTo>
                  <a:cubicBezTo>
                    <a:pt x="71" y="169"/>
                    <a:pt x="71" y="169"/>
                    <a:pt x="71" y="169"/>
                  </a:cubicBezTo>
                  <a:cubicBezTo>
                    <a:pt x="71" y="140"/>
                    <a:pt x="71" y="140"/>
                    <a:pt x="71" y="140"/>
                  </a:cubicBezTo>
                  <a:moveTo>
                    <a:pt x="56" y="0"/>
                  </a:moveTo>
                  <a:cubicBezTo>
                    <a:pt x="25" y="0"/>
                    <a:pt x="0" y="25"/>
                    <a:pt x="0" y="56"/>
                  </a:cubicBezTo>
                  <a:cubicBezTo>
                    <a:pt x="28" y="56"/>
                    <a:pt x="28" y="56"/>
                    <a:pt x="28" y="56"/>
                  </a:cubicBezTo>
                  <a:cubicBezTo>
                    <a:pt x="28" y="40"/>
                    <a:pt x="41" y="27"/>
                    <a:pt x="56" y="27"/>
                  </a:cubicBezTo>
                  <a:cubicBezTo>
                    <a:pt x="56" y="27"/>
                    <a:pt x="56" y="27"/>
                    <a:pt x="56" y="27"/>
                  </a:cubicBezTo>
                  <a:cubicBezTo>
                    <a:pt x="72" y="27"/>
                    <a:pt x="84" y="40"/>
                    <a:pt x="85" y="55"/>
                  </a:cubicBezTo>
                  <a:cubicBezTo>
                    <a:pt x="85" y="83"/>
                    <a:pt x="42" y="81"/>
                    <a:pt x="42" y="126"/>
                  </a:cubicBezTo>
                  <a:cubicBezTo>
                    <a:pt x="70" y="126"/>
                    <a:pt x="70" y="126"/>
                    <a:pt x="70" y="126"/>
                  </a:cubicBezTo>
                  <a:cubicBezTo>
                    <a:pt x="71" y="126"/>
                    <a:pt x="71" y="126"/>
                    <a:pt x="71" y="126"/>
                  </a:cubicBezTo>
                  <a:cubicBezTo>
                    <a:pt x="71" y="95"/>
                    <a:pt x="113" y="90"/>
                    <a:pt x="113" y="55"/>
                  </a:cubicBezTo>
                  <a:cubicBezTo>
                    <a:pt x="112" y="25"/>
                    <a:pt x="88" y="1"/>
                    <a:pt x="57" y="0"/>
                  </a:cubicBezTo>
                  <a:cubicBezTo>
                    <a:pt x="57" y="0"/>
                    <a:pt x="57" y="0"/>
                    <a:pt x="56" y="0"/>
                  </a:cubicBezTo>
                </a:path>
              </a:pathLst>
            </a:custGeom>
            <a:solidFill>
              <a:srgbClr val="4285F4">
                <a:alpha val="20000"/>
              </a:srgbClr>
            </a:solidFill>
            <a:ln>
              <a:noFill/>
            </a:ln>
          </p:spPr>
          <p:txBody>
            <a:bodyPr anchor="ctr"/>
            <a:lstStyle/>
            <a:p>
              <a:pPr algn="ctr"/>
              <a:endParaRPr/>
            </a:p>
          </p:txBody>
        </p:sp>
      </p:grpSp>
      <mc:AlternateContent xmlns:mc="http://schemas.openxmlformats.org/markup-compatibility/2006" xmlns:a14="http://schemas.microsoft.com/office/drawing/2010/main">
        <mc:Choice Requires="a14">
          <p:sp>
            <p:nvSpPr>
              <p:cNvPr id="106" name="文本框 105">
                <a:extLst>
                  <a:ext uri="{FF2B5EF4-FFF2-40B4-BE49-F238E27FC236}">
                    <a16:creationId xmlns:a16="http://schemas.microsoft.com/office/drawing/2014/main" id="{46B2379C-AF83-42D2-8D61-CE87B4DB0530}"/>
                  </a:ext>
                </a:extLst>
              </p:cNvPr>
              <p:cNvSpPr txBox="1"/>
              <p:nvPr/>
            </p:nvSpPr>
            <p:spPr>
              <a:xfrm>
                <a:off x="898634" y="1805152"/>
                <a:ext cx="4765566" cy="923330"/>
              </a:xfrm>
              <a:prstGeom prst="rect">
                <a:avLst/>
              </a:prstGeom>
              <a:noFill/>
            </p:spPr>
            <p:txBody>
              <a:bodyPr wrap="square" rtlCol="0">
                <a:spAutoFit/>
              </a:bodyPr>
              <a:lstStyle/>
              <a:p>
                <a:r>
                  <a:rPr lang="zh-CN" altLang="en-US" dirty="0"/>
                  <a:t>我们都知道，</a:t>
                </a:r>
                <a:r>
                  <a:rPr lang="en-US" altLang="zh-CN" dirty="0"/>
                  <a:t>Java</a:t>
                </a:r>
                <a:r>
                  <a:rPr lang="zh-CN" altLang="en-US" dirty="0"/>
                  <a:t>是强类型语言，但是对于像</a:t>
                </a:r>
                <a14:m>
                  <m:oMath xmlns:m="http://schemas.openxmlformats.org/officeDocument/2006/math">
                    <m:r>
                      <m:rPr>
                        <m:nor/>
                      </m:rPr>
                      <a:rPr lang="en-US" altLang="zh-CN" dirty="0"/>
                      <m:t>(</m:t>
                    </m:r>
                    <m:r>
                      <m:rPr>
                        <m:nor/>
                      </m:rPr>
                      <a:rPr lang="zh-CN" altLang="en-US" dirty="0"/>
                      <m:t>𝑥</m:t>
                    </m:r>
                    <m:r>
                      <m:rPr>
                        <m:nor/>
                      </m:rPr>
                      <a:rPr lang="en-US" altLang="zh-CN" dirty="0"/>
                      <m:t>, </m:t>
                    </m:r>
                    <m:r>
                      <m:rPr>
                        <m:nor/>
                      </m:rPr>
                      <a:rPr lang="zh-CN" altLang="en-US" dirty="0"/>
                      <m:t>𝑦</m:t>
                    </m:r>
                    <m:r>
                      <m:rPr>
                        <m:nor/>
                      </m:rPr>
                      <a:rPr lang="en-US" altLang="zh-CN" dirty="0"/>
                      <m:t>) −&gt; </m:t>
                    </m:r>
                    <m:r>
                      <m:rPr>
                        <m:nor/>
                      </m:rPr>
                      <a:rPr lang="zh-CN" altLang="en-US" dirty="0"/>
                      <m:t>𝑥</m:t>
                    </m:r>
                    <m:r>
                      <m:rPr>
                        <m:nor/>
                      </m:rPr>
                      <a:rPr lang="zh-CN" altLang="en-US" dirty="0"/>
                      <m:t> </m:t>
                    </m:r>
                    <m:r>
                      <m:rPr>
                        <m:nor/>
                      </m:rPr>
                      <a:rPr lang="en-US" altLang="zh-CN" dirty="0"/>
                      <m:t>+ </m:t>
                    </m:r>
                    <m:r>
                      <m:rPr>
                        <m:nor/>
                      </m:rPr>
                      <a:rPr lang="zh-CN" altLang="en-US" dirty="0"/>
                      <m:t>𝑦</m:t>
                    </m:r>
                  </m:oMath>
                </a14:m>
                <a:r>
                  <a:rPr lang="zh-CN" altLang="en-US" dirty="0"/>
                  <a:t>这样的</a:t>
                </a:r>
                <a:r>
                  <a:rPr lang="en-US" altLang="zh-CN" dirty="0"/>
                  <a:t>lambda</a:t>
                </a:r>
                <a:r>
                  <a:rPr lang="zh-CN" altLang="en-US" dirty="0"/>
                  <a:t>表达式，编译器是如何知道入参以及返回值的参数类型的？</a:t>
                </a:r>
              </a:p>
            </p:txBody>
          </p:sp>
        </mc:Choice>
        <mc:Fallback xmlns="">
          <p:sp>
            <p:nvSpPr>
              <p:cNvPr id="106" name="文本框 105">
                <a:extLst>
                  <a:ext uri="{FF2B5EF4-FFF2-40B4-BE49-F238E27FC236}">
                    <a16:creationId xmlns:a16="http://schemas.microsoft.com/office/drawing/2014/main" id="{46B2379C-AF83-42D2-8D61-CE87B4DB0530}"/>
                  </a:ext>
                </a:extLst>
              </p:cNvPr>
              <p:cNvSpPr txBox="1">
                <a:spLocks noRot="1" noChangeAspect="1" noMove="1" noResize="1" noEditPoints="1" noAdjustHandles="1" noChangeArrowheads="1" noChangeShapeType="1" noTextEdit="1"/>
              </p:cNvSpPr>
              <p:nvPr/>
            </p:nvSpPr>
            <p:spPr>
              <a:xfrm>
                <a:off x="898634" y="1805152"/>
                <a:ext cx="4765566" cy="923330"/>
              </a:xfrm>
              <a:prstGeom prst="rect">
                <a:avLst/>
              </a:prstGeom>
              <a:blipFill>
                <a:blip r:embed="rId4"/>
                <a:stretch>
                  <a:fillRect l="-1023" t="-3289" r="-1151" b="-921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9" name="文本框 108">
                <a:extLst>
                  <a:ext uri="{FF2B5EF4-FFF2-40B4-BE49-F238E27FC236}">
                    <a16:creationId xmlns:a16="http://schemas.microsoft.com/office/drawing/2014/main" id="{C8425CC8-0BD1-4BC3-A914-A1F9BF817606}"/>
                  </a:ext>
                </a:extLst>
              </p:cNvPr>
              <p:cNvSpPr txBox="1"/>
              <p:nvPr/>
            </p:nvSpPr>
            <p:spPr>
              <a:xfrm>
                <a:off x="898634" y="4033071"/>
                <a:ext cx="4765566" cy="646331"/>
              </a:xfrm>
              <a:prstGeom prst="rect">
                <a:avLst/>
              </a:prstGeom>
              <a:noFill/>
            </p:spPr>
            <p:txBody>
              <a:bodyPr wrap="square" rtlCol="0">
                <a:spAutoFit/>
              </a:bodyPr>
              <a:lstStyle/>
              <a:p>
                <a:r>
                  <a:rPr lang="zh-CN" altLang="en-US" dirty="0"/>
                  <a:t>完整的</a:t>
                </a:r>
                <a:r>
                  <a:rPr lang="en-US" altLang="zh-CN" dirty="0"/>
                  <a:t>lambda</a:t>
                </a:r>
                <a:r>
                  <a:rPr lang="zh-CN" altLang="en-US" dirty="0"/>
                  <a:t>表达式：</a:t>
                </a:r>
                <a:endParaRPr lang="en-US" altLang="zh-CN" dirty="0"/>
              </a:p>
              <a:p>
                <a:pPr/>
                <a14:m>
                  <m:oMathPara xmlns:m="http://schemas.openxmlformats.org/officeDocument/2006/math">
                    <m:oMathParaPr>
                      <m:jc m:val="centerGroup"/>
                    </m:oMathParaPr>
                    <m:oMath xmlns:m="http://schemas.openxmlformats.org/officeDocument/2006/math">
                      <m:r>
                        <m:rPr>
                          <m:nor/>
                        </m:rPr>
                        <a:rPr lang="es-ES" altLang="zh-CN" i="1" dirty="0"/>
                        <m:t>IntBinaryOperator</m:t>
                      </m:r>
                      <m:r>
                        <m:rPr>
                          <m:nor/>
                        </m:rPr>
                        <a:rPr lang="es-ES" altLang="zh-CN" i="1" dirty="0"/>
                        <m:t> </m:t>
                      </m:r>
                      <m:r>
                        <m:rPr>
                          <m:nor/>
                        </m:rPr>
                        <a:rPr lang="es-ES" altLang="zh-CN" i="1" dirty="0"/>
                        <m:t>func</m:t>
                      </m:r>
                      <m:r>
                        <m:rPr>
                          <m:nor/>
                        </m:rPr>
                        <a:rPr lang="es-ES" altLang="zh-CN" i="1" dirty="0"/>
                        <m:t> = (</m:t>
                      </m:r>
                      <m:r>
                        <m:rPr>
                          <m:nor/>
                        </m:rPr>
                        <a:rPr lang="es-ES" altLang="zh-CN" i="1" dirty="0"/>
                        <m:t>x</m:t>
                      </m:r>
                      <m:r>
                        <m:rPr>
                          <m:nor/>
                        </m:rPr>
                        <a:rPr lang="es-ES" altLang="zh-CN" i="1" dirty="0"/>
                        <m:t>, </m:t>
                      </m:r>
                      <m:r>
                        <m:rPr>
                          <m:nor/>
                        </m:rPr>
                        <a:rPr lang="es-ES" altLang="zh-CN" i="1" dirty="0"/>
                        <m:t>y</m:t>
                      </m:r>
                      <m:r>
                        <m:rPr>
                          <m:nor/>
                        </m:rPr>
                        <a:rPr lang="es-ES" altLang="zh-CN" i="1" dirty="0"/>
                        <m:t>) −&gt; </m:t>
                      </m:r>
                      <m:r>
                        <m:rPr>
                          <m:nor/>
                        </m:rPr>
                        <a:rPr lang="es-ES" altLang="zh-CN" i="1" dirty="0"/>
                        <m:t>x</m:t>
                      </m:r>
                      <m:r>
                        <m:rPr>
                          <m:nor/>
                        </m:rPr>
                        <a:rPr lang="es-ES" altLang="zh-CN" i="1" dirty="0"/>
                        <m:t> + </m:t>
                      </m:r>
                      <m:r>
                        <m:rPr>
                          <m:nor/>
                        </m:rPr>
                        <a:rPr lang="es-ES" altLang="zh-CN" i="1" dirty="0"/>
                        <m:t>y</m:t>
                      </m:r>
                      <m:r>
                        <m:rPr>
                          <m:nor/>
                        </m:rPr>
                        <a:rPr lang="es-ES" altLang="zh-CN" i="1" dirty="0"/>
                        <m:t>;</m:t>
                      </m:r>
                    </m:oMath>
                  </m:oMathPara>
                </a14:m>
                <a:endParaRPr lang="en-US" altLang="zh-CN" dirty="0"/>
              </a:p>
            </p:txBody>
          </p:sp>
        </mc:Choice>
        <mc:Fallback xmlns="">
          <p:sp>
            <p:nvSpPr>
              <p:cNvPr id="109" name="文本框 108">
                <a:extLst>
                  <a:ext uri="{FF2B5EF4-FFF2-40B4-BE49-F238E27FC236}">
                    <a16:creationId xmlns:a16="http://schemas.microsoft.com/office/drawing/2014/main" id="{C8425CC8-0BD1-4BC3-A914-A1F9BF817606}"/>
                  </a:ext>
                </a:extLst>
              </p:cNvPr>
              <p:cNvSpPr txBox="1">
                <a:spLocks noRot="1" noChangeAspect="1" noMove="1" noResize="1" noEditPoints="1" noAdjustHandles="1" noChangeArrowheads="1" noChangeShapeType="1" noTextEdit="1"/>
              </p:cNvSpPr>
              <p:nvPr/>
            </p:nvSpPr>
            <p:spPr>
              <a:xfrm>
                <a:off x="898634" y="4033071"/>
                <a:ext cx="4765566" cy="646331"/>
              </a:xfrm>
              <a:prstGeom prst="rect">
                <a:avLst/>
              </a:prstGeom>
              <a:blipFill>
                <a:blip r:embed="rId5"/>
                <a:stretch>
                  <a:fillRect l="-1023" t="-5660" b="-7547"/>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25947568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106687" y="3203039"/>
            <a:ext cx="3546362" cy="895350"/>
          </a:xfrm>
        </p:spPr>
        <p:txBody>
          <a:bodyPr>
            <a:normAutofit/>
          </a:bodyPr>
          <a:lstStyle/>
          <a:p>
            <a:r>
              <a:rPr lang="zh-CN" altLang="en-US" sz="3600" dirty="0"/>
              <a:t>函数类型</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639609" y="320928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1519616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3.</a:t>
            </a:r>
            <a:r>
              <a:rPr lang="zh-CN" altLang="en-US" dirty="0"/>
              <a:t> 函数类型</a:t>
            </a:r>
          </a:p>
        </p:txBody>
      </p:sp>
      <p:sp>
        <p:nvSpPr>
          <p:cNvPr id="3" name="页脚占位符 2"/>
          <p:cNvSpPr>
            <a:spLocks noGrp="1"/>
          </p:cNvSpPr>
          <p:nvPr>
            <p:ph type="ftr" sz="quarter" idx="11"/>
          </p:nvPr>
        </p:nvSpPr>
        <p:spPr/>
        <p:txBody>
          <a:bodyPr/>
          <a:lstStyle/>
          <a:p>
            <a:r>
              <a:rPr lang="zh-CN" altLang="en-US"/>
              <a:t>请在插入菜单</a:t>
            </a:r>
            <a:r>
              <a:rPr lang="en-US" altLang="zh-CN"/>
              <a:t>—</a:t>
            </a:r>
            <a:r>
              <a:rPr lang="zh-CN" altLang="en-US"/>
              <a:t>页眉和</a:t>
            </a:r>
            <a:r>
              <a:rPr lang="zh-CN" altLang="en-US" sz="100"/>
              <a:t> </a:t>
            </a:r>
            <a:r>
              <a:rPr lang="zh-CN" altLang="en-US"/>
              <a:t>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106" name="文本框 105">
            <a:extLst>
              <a:ext uri="{FF2B5EF4-FFF2-40B4-BE49-F238E27FC236}">
                <a16:creationId xmlns:a16="http://schemas.microsoft.com/office/drawing/2014/main" id="{46B2379C-AF83-42D2-8D61-CE87B4DB0530}"/>
              </a:ext>
            </a:extLst>
          </p:cNvPr>
          <p:cNvSpPr txBox="1"/>
          <p:nvPr/>
        </p:nvSpPr>
        <p:spPr>
          <a:xfrm>
            <a:off x="7291469" y="1926431"/>
            <a:ext cx="3318899" cy="2535951"/>
          </a:xfrm>
          <a:prstGeom prst="rect">
            <a:avLst/>
          </a:prstGeom>
          <a:noFill/>
        </p:spPr>
        <p:txBody>
          <a:bodyPr wrap="square" rtlCol="0">
            <a:spAutoFit/>
          </a:bodyPr>
          <a:lstStyle/>
          <a:p>
            <a:pPr>
              <a:lnSpc>
                <a:spcPct val="150000"/>
              </a:lnSpc>
            </a:pPr>
            <a:r>
              <a:rPr lang="zh-CN" altLang="en-US" b="1" dirty="0"/>
              <a:t>解释：</a:t>
            </a:r>
            <a:r>
              <a:rPr lang="zh-CN" altLang="en-US" dirty="0"/>
              <a:t>就像声明变量一样，声明函数时也需要指定函数类型，函数类型是用来定义</a:t>
            </a:r>
            <a:r>
              <a:rPr lang="en-US" altLang="zh-CN" dirty="0"/>
              <a:t>lambda</a:t>
            </a:r>
            <a:r>
              <a:rPr lang="zh-CN" altLang="en-US" dirty="0"/>
              <a:t>表达式如何书写的，编译器可以根据函数类型来自动推断出参数类型和返回值类型</a:t>
            </a:r>
          </a:p>
        </p:txBody>
      </p:sp>
      <p:grpSp>
        <p:nvGrpSpPr>
          <p:cNvPr id="108" name="fad7ec86-620f-4471-af1b-bd52339dc0f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A6ACC42-62C7-436C-A953-DE77C2A5F61A}"/>
              </a:ext>
            </a:extLst>
          </p:cNvPr>
          <p:cNvGrpSpPr>
            <a:grpSpLocks noChangeAspect="1"/>
          </p:cNvGrpSpPr>
          <p:nvPr>
            <p:custDataLst>
              <p:tags r:id="rId2"/>
            </p:custDataLst>
          </p:nvPr>
        </p:nvGrpSpPr>
        <p:grpSpPr>
          <a:xfrm>
            <a:off x="765256" y="1202531"/>
            <a:ext cx="5203825" cy="4864101"/>
            <a:chOff x="3494088" y="996950"/>
            <a:chExt cx="5203825" cy="4864101"/>
          </a:xfrm>
        </p:grpSpPr>
        <p:sp>
          <p:nvSpPr>
            <p:cNvPr id="110" name="işļïďê">
              <a:extLst>
                <a:ext uri="{FF2B5EF4-FFF2-40B4-BE49-F238E27FC236}">
                  <a16:creationId xmlns:a16="http://schemas.microsoft.com/office/drawing/2014/main" id="{53AD2922-1C27-489E-B809-261ED7A71430}"/>
                </a:ext>
              </a:extLst>
            </p:cNvPr>
            <p:cNvSpPr/>
            <p:nvPr/>
          </p:nvSpPr>
          <p:spPr bwMode="auto">
            <a:xfrm>
              <a:off x="3494088" y="1162050"/>
              <a:ext cx="4843463" cy="4198938"/>
            </a:xfrm>
            <a:custGeom>
              <a:avLst/>
              <a:gdLst>
                <a:gd name="T0" fmla="*/ 807 w 1264"/>
                <a:gd name="T1" fmla="*/ 107 h 1097"/>
                <a:gd name="T2" fmla="*/ 988 w 1264"/>
                <a:gd name="T3" fmla="*/ 152 h 1097"/>
                <a:gd name="T4" fmla="*/ 1250 w 1264"/>
                <a:gd name="T5" fmla="*/ 334 h 1097"/>
                <a:gd name="T6" fmla="*/ 1181 w 1264"/>
                <a:gd name="T7" fmla="*/ 548 h 1097"/>
                <a:gd name="T8" fmla="*/ 1069 w 1264"/>
                <a:gd name="T9" fmla="*/ 688 h 1097"/>
                <a:gd name="T10" fmla="*/ 1085 w 1264"/>
                <a:gd name="T11" fmla="*/ 842 h 1097"/>
                <a:gd name="T12" fmla="*/ 995 w 1264"/>
                <a:gd name="T13" fmla="*/ 961 h 1097"/>
                <a:gd name="T14" fmla="*/ 219 w 1264"/>
                <a:gd name="T15" fmla="*/ 929 h 1097"/>
                <a:gd name="T16" fmla="*/ 248 w 1264"/>
                <a:gd name="T17" fmla="*/ 164 h 1097"/>
                <a:gd name="T18" fmla="*/ 807 w 1264"/>
                <a:gd name="T19" fmla="*/ 10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1097">
                  <a:moveTo>
                    <a:pt x="807" y="107"/>
                  </a:moveTo>
                  <a:cubicBezTo>
                    <a:pt x="864" y="131"/>
                    <a:pt x="926" y="143"/>
                    <a:pt x="988" y="152"/>
                  </a:cubicBezTo>
                  <a:cubicBezTo>
                    <a:pt x="1105" y="170"/>
                    <a:pt x="1226" y="200"/>
                    <a:pt x="1250" y="334"/>
                  </a:cubicBezTo>
                  <a:cubicBezTo>
                    <a:pt x="1264" y="410"/>
                    <a:pt x="1235" y="491"/>
                    <a:pt x="1181" y="548"/>
                  </a:cubicBezTo>
                  <a:cubicBezTo>
                    <a:pt x="1139" y="592"/>
                    <a:pt x="1079" y="628"/>
                    <a:pt x="1069" y="688"/>
                  </a:cubicBezTo>
                  <a:cubicBezTo>
                    <a:pt x="1060" y="739"/>
                    <a:pt x="1091" y="791"/>
                    <a:pt x="1085" y="842"/>
                  </a:cubicBezTo>
                  <a:cubicBezTo>
                    <a:pt x="1079" y="893"/>
                    <a:pt x="1036" y="930"/>
                    <a:pt x="995" y="961"/>
                  </a:cubicBezTo>
                  <a:cubicBezTo>
                    <a:pt x="839" y="1080"/>
                    <a:pt x="391" y="1097"/>
                    <a:pt x="219" y="929"/>
                  </a:cubicBezTo>
                  <a:cubicBezTo>
                    <a:pt x="0" y="717"/>
                    <a:pt x="39" y="325"/>
                    <a:pt x="248" y="164"/>
                  </a:cubicBezTo>
                  <a:cubicBezTo>
                    <a:pt x="458" y="0"/>
                    <a:pt x="640" y="36"/>
                    <a:pt x="807" y="107"/>
                  </a:cubicBezTo>
                </a:path>
              </a:pathLst>
            </a:custGeom>
            <a:solidFill>
              <a:srgbClr val="0BA9B9">
                <a:alpha val="3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1" name="isḻïdè">
              <a:extLst>
                <a:ext uri="{FF2B5EF4-FFF2-40B4-BE49-F238E27FC236}">
                  <a16:creationId xmlns:a16="http://schemas.microsoft.com/office/drawing/2014/main" id="{7097D67A-4917-4505-921D-9614CAA87597}"/>
                </a:ext>
              </a:extLst>
            </p:cNvPr>
            <p:cNvSpPr/>
            <p:nvPr/>
          </p:nvSpPr>
          <p:spPr bwMode="auto">
            <a:xfrm>
              <a:off x="3881438" y="5348288"/>
              <a:ext cx="4383088" cy="512763"/>
            </a:xfrm>
            <a:custGeom>
              <a:avLst/>
              <a:gdLst>
                <a:gd name="T0" fmla="*/ 1001 w 1144"/>
                <a:gd name="T1" fmla="*/ 59 h 134"/>
                <a:gd name="T2" fmla="*/ 1025 w 1144"/>
                <a:gd name="T3" fmla="*/ 45 h 134"/>
                <a:gd name="T4" fmla="*/ 513 w 1144"/>
                <a:gd name="T5" fmla="*/ 0 h 134"/>
                <a:gd name="T6" fmla="*/ 0 w 1144"/>
                <a:gd name="T7" fmla="*/ 45 h 134"/>
                <a:gd name="T8" fmla="*/ 144 w 1144"/>
                <a:gd name="T9" fmla="*/ 76 h 134"/>
                <a:gd name="T10" fmla="*/ 119 w 1144"/>
                <a:gd name="T11" fmla="*/ 90 h 134"/>
                <a:gd name="T12" fmla="*/ 632 w 1144"/>
                <a:gd name="T13" fmla="*/ 134 h 134"/>
                <a:gd name="T14" fmla="*/ 1144 w 1144"/>
                <a:gd name="T15" fmla="*/ 90 h 134"/>
                <a:gd name="T16" fmla="*/ 1001 w 1144"/>
                <a:gd name="T17" fmla="*/ 5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4" h="134">
                  <a:moveTo>
                    <a:pt x="1001" y="59"/>
                  </a:moveTo>
                  <a:cubicBezTo>
                    <a:pt x="1017" y="54"/>
                    <a:pt x="1025" y="50"/>
                    <a:pt x="1025" y="45"/>
                  </a:cubicBezTo>
                  <a:cubicBezTo>
                    <a:pt x="1025" y="20"/>
                    <a:pt x="796" y="0"/>
                    <a:pt x="513" y="0"/>
                  </a:cubicBezTo>
                  <a:cubicBezTo>
                    <a:pt x="230" y="0"/>
                    <a:pt x="0" y="20"/>
                    <a:pt x="0" y="45"/>
                  </a:cubicBezTo>
                  <a:cubicBezTo>
                    <a:pt x="0" y="57"/>
                    <a:pt x="55" y="68"/>
                    <a:pt x="144" y="76"/>
                  </a:cubicBezTo>
                  <a:cubicBezTo>
                    <a:pt x="128" y="80"/>
                    <a:pt x="119" y="85"/>
                    <a:pt x="119" y="90"/>
                  </a:cubicBezTo>
                  <a:cubicBezTo>
                    <a:pt x="119" y="114"/>
                    <a:pt x="349" y="134"/>
                    <a:pt x="632" y="134"/>
                  </a:cubicBezTo>
                  <a:cubicBezTo>
                    <a:pt x="915" y="134"/>
                    <a:pt x="1144" y="114"/>
                    <a:pt x="1144" y="90"/>
                  </a:cubicBezTo>
                  <a:cubicBezTo>
                    <a:pt x="1144" y="78"/>
                    <a:pt x="1090" y="67"/>
                    <a:pt x="1001" y="59"/>
                  </a:cubicBezTo>
                </a:path>
              </a:pathLst>
            </a:custGeom>
            <a:solidFill>
              <a:srgbClr val="117BD3">
                <a:alpha val="3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2" name="ïṥlïḑê">
              <a:extLst>
                <a:ext uri="{FF2B5EF4-FFF2-40B4-BE49-F238E27FC236}">
                  <a16:creationId xmlns:a16="http://schemas.microsoft.com/office/drawing/2014/main" id="{D1399F96-BE2E-4D12-8680-199EB21891E1}"/>
                </a:ext>
              </a:extLst>
            </p:cNvPr>
            <p:cNvSpPr/>
            <p:nvPr/>
          </p:nvSpPr>
          <p:spPr bwMode="auto">
            <a:xfrm>
              <a:off x="5475288" y="2314575"/>
              <a:ext cx="146050" cy="206375"/>
            </a:xfrm>
            <a:custGeom>
              <a:avLst/>
              <a:gdLst>
                <a:gd name="T0" fmla="*/ 24 w 38"/>
                <a:gd name="T1" fmla="*/ 51 h 54"/>
                <a:gd name="T2" fmla="*/ 33 w 38"/>
                <a:gd name="T3" fmla="*/ 16 h 54"/>
                <a:gd name="T4" fmla="*/ 12 w 38"/>
                <a:gd name="T5" fmla="*/ 16 h 54"/>
                <a:gd name="T6" fmla="*/ 10 w 38"/>
                <a:gd name="T7" fmla="*/ 29 h 54"/>
                <a:gd name="T8" fmla="*/ 8 w 38"/>
                <a:gd name="T9" fmla="*/ 28 h 54"/>
                <a:gd name="T10" fmla="*/ 6 w 38"/>
                <a:gd name="T11" fmla="*/ 18 h 54"/>
                <a:gd name="T12" fmla="*/ 4 w 38"/>
                <a:gd name="T13" fmla="*/ 45 h 54"/>
                <a:gd name="T14" fmla="*/ 24 w 38"/>
                <a:gd name="T15" fmla="*/ 51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54">
                  <a:moveTo>
                    <a:pt x="24" y="51"/>
                  </a:moveTo>
                  <a:cubicBezTo>
                    <a:pt x="24" y="51"/>
                    <a:pt x="38" y="31"/>
                    <a:pt x="33" y="16"/>
                  </a:cubicBezTo>
                  <a:cubicBezTo>
                    <a:pt x="28" y="0"/>
                    <a:pt x="14" y="7"/>
                    <a:pt x="12" y="16"/>
                  </a:cubicBezTo>
                  <a:cubicBezTo>
                    <a:pt x="11" y="26"/>
                    <a:pt x="11" y="26"/>
                    <a:pt x="10" y="29"/>
                  </a:cubicBezTo>
                  <a:cubicBezTo>
                    <a:pt x="8" y="31"/>
                    <a:pt x="7" y="32"/>
                    <a:pt x="8" y="28"/>
                  </a:cubicBezTo>
                  <a:cubicBezTo>
                    <a:pt x="9" y="24"/>
                    <a:pt x="10" y="16"/>
                    <a:pt x="6" y="18"/>
                  </a:cubicBezTo>
                  <a:cubicBezTo>
                    <a:pt x="3" y="21"/>
                    <a:pt x="0" y="36"/>
                    <a:pt x="4" y="45"/>
                  </a:cubicBezTo>
                  <a:cubicBezTo>
                    <a:pt x="9" y="54"/>
                    <a:pt x="24" y="51"/>
                    <a:pt x="24" y="51"/>
                  </a:cubicBezTo>
                </a:path>
              </a:pathLst>
            </a:custGeom>
            <a:solidFill>
              <a:srgbClr val="EAC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íšḷiďê">
              <a:extLst>
                <a:ext uri="{FF2B5EF4-FFF2-40B4-BE49-F238E27FC236}">
                  <a16:creationId xmlns:a16="http://schemas.microsoft.com/office/drawing/2014/main" id="{F0985F41-CF6B-4880-B891-13F7E8C8D50E}"/>
                </a:ext>
              </a:extLst>
            </p:cNvPr>
            <p:cNvSpPr/>
            <p:nvPr/>
          </p:nvSpPr>
          <p:spPr bwMode="auto">
            <a:xfrm>
              <a:off x="4732338" y="2474913"/>
              <a:ext cx="869950" cy="846138"/>
            </a:xfrm>
            <a:custGeom>
              <a:avLst/>
              <a:gdLst>
                <a:gd name="T0" fmla="*/ 78 w 227"/>
                <a:gd name="T1" fmla="*/ 199 h 221"/>
                <a:gd name="T2" fmla="*/ 186 w 227"/>
                <a:gd name="T3" fmla="*/ 119 h 221"/>
                <a:gd name="T4" fmla="*/ 221 w 227"/>
                <a:gd name="T5" fmla="*/ 8 h 221"/>
                <a:gd name="T6" fmla="*/ 195 w 227"/>
                <a:gd name="T7" fmla="*/ 0 h 221"/>
                <a:gd name="T8" fmla="*/ 151 w 227"/>
                <a:gd name="T9" fmla="*/ 89 h 221"/>
                <a:gd name="T10" fmla="*/ 39 w 227"/>
                <a:gd name="T11" fmla="*/ 135 h 221"/>
                <a:gd name="T12" fmla="*/ 78 w 227"/>
                <a:gd name="T13" fmla="*/ 199 h 221"/>
              </a:gdLst>
              <a:ahLst/>
              <a:cxnLst>
                <a:cxn ang="0">
                  <a:pos x="T0" y="T1"/>
                </a:cxn>
                <a:cxn ang="0">
                  <a:pos x="T2" y="T3"/>
                </a:cxn>
                <a:cxn ang="0">
                  <a:pos x="T4" y="T5"/>
                </a:cxn>
                <a:cxn ang="0">
                  <a:pos x="T6" y="T7"/>
                </a:cxn>
                <a:cxn ang="0">
                  <a:pos x="T8" y="T9"/>
                </a:cxn>
                <a:cxn ang="0">
                  <a:pos x="T10" y="T11"/>
                </a:cxn>
                <a:cxn ang="0">
                  <a:pos x="T12" y="T13"/>
                </a:cxn>
              </a:cxnLst>
              <a:rect l="0" t="0" r="r" b="b"/>
              <a:pathLst>
                <a:path w="227" h="221">
                  <a:moveTo>
                    <a:pt x="78" y="199"/>
                  </a:moveTo>
                  <a:cubicBezTo>
                    <a:pt x="102" y="186"/>
                    <a:pt x="145" y="163"/>
                    <a:pt x="186" y="119"/>
                  </a:cubicBezTo>
                  <a:cubicBezTo>
                    <a:pt x="227" y="75"/>
                    <a:pt x="221" y="8"/>
                    <a:pt x="221" y="8"/>
                  </a:cubicBezTo>
                  <a:cubicBezTo>
                    <a:pt x="195" y="0"/>
                    <a:pt x="195" y="0"/>
                    <a:pt x="195" y="0"/>
                  </a:cubicBezTo>
                  <a:cubicBezTo>
                    <a:pt x="195" y="0"/>
                    <a:pt x="167" y="73"/>
                    <a:pt x="151" y="89"/>
                  </a:cubicBezTo>
                  <a:cubicBezTo>
                    <a:pt x="134" y="106"/>
                    <a:pt x="58" y="119"/>
                    <a:pt x="39" y="135"/>
                  </a:cubicBezTo>
                  <a:cubicBezTo>
                    <a:pt x="0" y="168"/>
                    <a:pt x="40" y="221"/>
                    <a:pt x="78" y="199"/>
                  </a:cubicBezTo>
                </a:path>
              </a:pathLst>
            </a:custGeom>
            <a:solidFill>
              <a:srgbClr val="F77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ísļîďè">
              <a:extLst>
                <a:ext uri="{FF2B5EF4-FFF2-40B4-BE49-F238E27FC236}">
                  <a16:creationId xmlns:a16="http://schemas.microsoft.com/office/drawing/2014/main" id="{70FFEB60-3D13-4F93-A574-EEF6FB1FCC29}"/>
                </a:ext>
              </a:extLst>
            </p:cNvPr>
            <p:cNvSpPr/>
            <p:nvPr/>
          </p:nvSpPr>
          <p:spPr bwMode="auto">
            <a:xfrm>
              <a:off x="5008563" y="2474913"/>
              <a:ext cx="569913" cy="658813"/>
            </a:xfrm>
            <a:custGeom>
              <a:avLst/>
              <a:gdLst>
                <a:gd name="T0" fmla="*/ 123 w 149"/>
                <a:gd name="T1" fmla="*/ 0 h 172"/>
                <a:gd name="T2" fmla="*/ 79 w 149"/>
                <a:gd name="T3" fmla="*/ 89 h 172"/>
                <a:gd name="T4" fmla="*/ 0 w 149"/>
                <a:gd name="T5" fmla="*/ 120 h 172"/>
                <a:gd name="T6" fmla="*/ 1 w 149"/>
                <a:gd name="T7" fmla="*/ 123 h 172"/>
                <a:gd name="T8" fmla="*/ 4 w 149"/>
                <a:gd name="T9" fmla="*/ 122 h 172"/>
                <a:gd name="T10" fmla="*/ 52 w 149"/>
                <a:gd name="T11" fmla="*/ 172 h 172"/>
                <a:gd name="T12" fmla="*/ 114 w 149"/>
                <a:gd name="T13" fmla="*/ 119 h 172"/>
                <a:gd name="T14" fmla="*/ 133 w 149"/>
                <a:gd name="T15" fmla="*/ 91 h 172"/>
                <a:gd name="T16" fmla="*/ 133 w 149"/>
                <a:gd name="T17" fmla="*/ 76 h 172"/>
                <a:gd name="T18" fmla="*/ 133 w 149"/>
                <a:gd name="T19" fmla="*/ 76 h 172"/>
                <a:gd name="T20" fmla="*/ 140 w 149"/>
                <a:gd name="T21" fmla="*/ 72 h 172"/>
                <a:gd name="T22" fmla="*/ 149 w 149"/>
                <a:gd name="T23" fmla="*/ 17 h 172"/>
                <a:gd name="T24" fmla="*/ 149 w 149"/>
                <a:gd name="T25" fmla="*/ 8 h 172"/>
                <a:gd name="T26" fmla="*/ 147 w 149"/>
                <a:gd name="T27" fmla="*/ 8 h 172"/>
                <a:gd name="T28" fmla="*/ 126 w 149"/>
                <a:gd name="T29" fmla="*/ 1 h 172"/>
                <a:gd name="T30" fmla="*/ 123 w 149"/>
                <a:gd name="T3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72">
                  <a:moveTo>
                    <a:pt x="123" y="0"/>
                  </a:moveTo>
                  <a:cubicBezTo>
                    <a:pt x="123" y="0"/>
                    <a:pt x="95" y="73"/>
                    <a:pt x="79" y="89"/>
                  </a:cubicBezTo>
                  <a:cubicBezTo>
                    <a:pt x="68" y="100"/>
                    <a:pt x="30" y="110"/>
                    <a:pt x="0" y="120"/>
                  </a:cubicBezTo>
                  <a:cubicBezTo>
                    <a:pt x="0" y="121"/>
                    <a:pt x="1" y="122"/>
                    <a:pt x="1" y="123"/>
                  </a:cubicBezTo>
                  <a:cubicBezTo>
                    <a:pt x="2" y="123"/>
                    <a:pt x="3" y="122"/>
                    <a:pt x="4" y="122"/>
                  </a:cubicBezTo>
                  <a:cubicBezTo>
                    <a:pt x="4" y="122"/>
                    <a:pt x="32" y="128"/>
                    <a:pt x="52" y="172"/>
                  </a:cubicBezTo>
                  <a:cubicBezTo>
                    <a:pt x="71" y="159"/>
                    <a:pt x="93" y="142"/>
                    <a:pt x="114" y="119"/>
                  </a:cubicBezTo>
                  <a:cubicBezTo>
                    <a:pt x="122" y="110"/>
                    <a:pt x="128" y="101"/>
                    <a:pt x="133" y="91"/>
                  </a:cubicBezTo>
                  <a:cubicBezTo>
                    <a:pt x="133" y="76"/>
                    <a:pt x="133" y="76"/>
                    <a:pt x="133" y="76"/>
                  </a:cubicBezTo>
                  <a:cubicBezTo>
                    <a:pt x="133" y="76"/>
                    <a:pt x="133" y="76"/>
                    <a:pt x="133" y="76"/>
                  </a:cubicBezTo>
                  <a:cubicBezTo>
                    <a:pt x="133" y="75"/>
                    <a:pt x="136" y="74"/>
                    <a:pt x="140" y="72"/>
                  </a:cubicBezTo>
                  <a:cubicBezTo>
                    <a:pt x="148" y="50"/>
                    <a:pt x="149" y="29"/>
                    <a:pt x="149" y="17"/>
                  </a:cubicBezTo>
                  <a:cubicBezTo>
                    <a:pt x="149" y="12"/>
                    <a:pt x="149" y="8"/>
                    <a:pt x="149" y="8"/>
                  </a:cubicBezTo>
                  <a:cubicBezTo>
                    <a:pt x="147" y="8"/>
                    <a:pt x="147" y="8"/>
                    <a:pt x="147" y="8"/>
                  </a:cubicBezTo>
                  <a:cubicBezTo>
                    <a:pt x="126" y="1"/>
                    <a:pt x="126" y="1"/>
                    <a:pt x="126" y="1"/>
                  </a:cubicBezTo>
                  <a:cubicBezTo>
                    <a:pt x="123" y="0"/>
                    <a:pt x="123" y="0"/>
                    <a:pt x="123" y="0"/>
                  </a:cubicBezTo>
                </a:path>
              </a:pathLst>
            </a:custGeom>
            <a:solidFill>
              <a:srgbClr val="F56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iṣḻiḓê">
              <a:extLst>
                <a:ext uri="{FF2B5EF4-FFF2-40B4-BE49-F238E27FC236}">
                  <a16:creationId xmlns:a16="http://schemas.microsoft.com/office/drawing/2014/main" id="{0C9CB004-ED1F-4096-A01B-7B11A82EA9D3}"/>
                </a:ext>
              </a:extLst>
            </p:cNvPr>
            <p:cNvSpPr/>
            <p:nvPr/>
          </p:nvSpPr>
          <p:spPr bwMode="auto">
            <a:xfrm>
              <a:off x="5491163" y="3063875"/>
              <a:ext cx="919163" cy="1152525"/>
            </a:xfrm>
            <a:custGeom>
              <a:avLst/>
              <a:gdLst>
                <a:gd name="T0" fmla="*/ 165 w 240"/>
                <a:gd name="T1" fmla="*/ 0 h 301"/>
                <a:gd name="T2" fmla="*/ 154 w 240"/>
                <a:gd name="T3" fmla="*/ 0 h 301"/>
                <a:gd name="T4" fmla="*/ 122 w 240"/>
                <a:gd name="T5" fmla="*/ 215 h 301"/>
                <a:gd name="T6" fmla="*/ 122 w 240"/>
                <a:gd name="T7" fmla="*/ 216 h 301"/>
                <a:gd name="T8" fmla="*/ 122 w 240"/>
                <a:gd name="T9" fmla="*/ 215 h 301"/>
                <a:gd name="T10" fmla="*/ 122 w 240"/>
                <a:gd name="T11" fmla="*/ 216 h 301"/>
                <a:gd name="T12" fmla="*/ 122 w 240"/>
                <a:gd name="T13" fmla="*/ 215 h 301"/>
                <a:gd name="T14" fmla="*/ 90 w 240"/>
                <a:gd name="T15" fmla="*/ 0 h 301"/>
                <a:gd name="T16" fmla="*/ 75 w 240"/>
                <a:gd name="T17" fmla="*/ 0 h 301"/>
                <a:gd name="T18" fmla="*/ 120 w 240"/>
                <a:gd name="T19" fmla="*/ 299 h 301"/>
                <a:gd name="T20" fmla="*/ 120 w 240"/>
                <a:gd name="T21" fmla="*/ 301 h 301"/>
                <a:gd name="T22" fmla="*/ 120 w 240"/>
                <a:gd name="T23" fmla="*/ 300 h 301"/>
                <a:gd name="T24" fmla="*/ 121 w 240"/>
                <a:gd name="T25" fmla="*/ 301 h 301"/>
                <a:gd name="T26" fmla="*/ 121 w 240"/>
                <a:gd name="T27" fmla="*/ 299 h 301"/>
                <a:gd name="T28" fmla="*/ 165 w 240"/>
                <a:gd name="T2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301">
                  <a:moveTo>
                    <a:pt x="165" y="0"/>
                  </a:moveTo>
                  <a:cubicBezTo>
                    <a:pt x="154" y="0"/>
                    <a:pt x="154" y="0"/>
                    <a:pt x="154" y="0"/>
                  </a:cubicBezTo>
                  <a:cubicBezTo>
                    <a:pt x="154" y="0"/>
                    <a:pt x="208" y="57"/>
                    <a:pt x="122" y="215"/>
                  </a:cubicBezTo>
                  <a:cubicBezTo>
                    <a:pt x="122" y="216"/>
                    <a:pt x="122" y="216"/>
                    <a:pt x="122" y="216"/>
                  </a:cubicBezTo>
                  <a:cubicBezTo>
                    <a:pt x="122" y="215"/>
                    <a:pt x="122" y="215"/>
                    <a:pt x="122" y="215"/>
                  </a:cubicBezTo>
                  <a:cubicBezTo>
                    <a:pt x="122" y="216"/>
                    <a:pt x="122" y="216"/>
                    <a:pt x="122" y="216"/>
                  </a:cubicBezTo>
                  <a:cubicBezTo>
                    <a:pt x="122" y="215"/>
                    <a:pt x="122" y="215"/>
                    <a:pt x="122" y="215"/>
                  </a:cubicBezTo>
                  <a:cubicBezTo>
                    <a:pt x="36" y="57"/>
                    <a:pt x="90" y="0"/>
                    <a:pt x="90" y="0"/>
                  </a:cubicBezTo>
                  <a:cubicBezTo>
                    <a:pt x="75" y="0"/>
                    <a:pt x="75" y="0"/>
                    <a:pt x="75" y="0"/>
                  </a:cubicBezTo>
                  <a:cubicBezTo>
                    <a:pt x="75" y="0"/>
                    <a:pt x="0" y="80"/>
                    <a:pt x="120" y="299"/>
                  </a:cubicBezTo>
                  <a:cubicBezTo>
                    <a:pt x="120" y="301"/>
                    <a:pt x="120" y="301"/>
                    <a:pt x="120" y="301"/>
                  </a:cubicBezTo>
                  <a:cubicBezTo>
                    <a:pt x="120" y="300"/>
                    <a:pt x="120" y="300"/>
                    <a:pt x="120" y="300"/>
                  </a:cubicBezTo>
                  <a:cubicBezTo>
                    <a:pt x="121" y="301"/>
                    <a:pt x="121" y="301"/>
                    <a:pt x="121" y="301"/>
                  </a:cubicBezTo>
                  <a:cubicBezTo>
                    <a:pt x="121" y="299"/>
                    <a:pt x="121" y="299"/>
                    <a:pt x="121" y="299"/>
                  </a:cubicBezTo>
                  <a:cubicBezTo>
                    <a:pt x="240" y="80"/>
                    <a:pt x="165" y="0"/>
                    <a:pt x="165" y="0"/>
                  </a:cubicBezTo>
                </a:path>
              </a:pathLst>
            </a:custGeom>
            <a:solidFill>
              <a:srgbClr val="C5BE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ïśḷiḑê">
              <a:extLst>
                <a:ext uri="{FF2B5EF4-FFF2-40B4-BE49-F238E27FC236}">
                  <a16:creationId xmlns:a16="http://schemas.microsoft.com/office/drawing/2014/main" id="{38FAD402-A02A-4F31-B2ED-22AF3354B3D5}"/>
                </a:ext>
              </a:extLst>
            </p:cNvPr>
            <p:cNvSpPr/>
            <p:nvPr/>
          </p:nvSpPr>
          <p:spPr bwMode="auto">
            <a:xfrm>
              <a:off x="5629276" y="3063875"/>
              <a:ext cx="658813" cy="827088"/>
            </a:xfrm>
            <a:custGeom>
              <a:avLst/>
              <a:gdLst>
                <a:gd name="T0" fmla="*/ 118 w 172"/>
                <a:gd name="T1" fmla="*/ 0 h 216"/>
                <a:gd name="T2" fmla="*/ 105 w 172"/>
                <a:gd name="T3" fmla="*/ 0 h 216"/>
                <a:gd name="T4" fmla="*/ 86 w 172"/>
                <a:gd name="T5" fmla="*/ 127 h 216"/>
                <a:gd name="T6" fmla="*/ 86 w 172"/>
                <a:gd name="T7" fmla="*/ 127 h 216"/>
                <a:gd name="T8" fmla="*/ 86 w 172"/>
                <a:gd name="T9" fmla="*/ 127 h 216"/>
                <a:gd name="T10" fmla="*/ 85 w 172"/>
                <a:gd name="T11" fmla="*/ 127 h 216"/>
                <a:gd name="T12" fmla="*/ 85 w 172"/>
                <a:gd name="T13" fmla="*/ 127 h 216"/>
                <a:gd name="T14" fmla="*/ 67 w 172"/>
                <a:gd name="T15" fmla="*/ 0 h 216"/>
                <a:gd name="T16" fmla="*/ 54 w 172"/>
                <a:gd name="T17" fmla="*/ 0 h 216"/>
                <a:gd name="T18" fmla="*/ 86 w 172"/>
                <a:gd name="T19" fmla="*/ 215 h 216"/>
                <a:gd name="T20" fmla="*/ 86 w 172"/>
                <a:gd name="T21" fmla="*/ 216 h 216"/>
                <a:gd name="T22" fmla="*/ 86 w 172"/>
                <a:gd name="T23" fmla="*/ 215 h 216"/>
                <a:gd name="T24" fmla="*/ 86 w 172"/>
                <a:gd name="T25" fmla="*/ 216 h 216"/>
                <a:gd name="T26" fmla="*/ 86 w 172"/>
                <a:gd name="T27" fmla="*/ 215 h 216"/>
                <a:gd name="T28" fmla="*/ 118 w 172"/>
                <a:gd name="T2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2" h="216">
                  <a:moveTo>
                    <a:pt x="118" y="0"/>
                  </a:moveTo>
                  <a:cubicBezTo>
                    <a:pt x="105" y="0"/>
                    <a:pt x="105" y="0"/>
                    <a:pt x="105" y="0"/>
                  </a:cubicBezTo>
                  <a:cubicBezTo>
                    <a:pt x="105" y="0"/>
                    <a:pt x="136" y="34"/>
                    <a:pt x="86" y="127"/>
                  </a:cubicBezTo>
                  <a:cubicBezTo>
                    <a:pt x="86" y="127"/>
                    <a:pt x="86" y="127"/>
                    <a:pt x="86" y="127"/>
                  </a:cubicBezTo>
                  <a:cubicBezTo>
                    <a:pt x="86" y="127"/>
                    <a:pt x="86" y="127"/>
                    <a:pt x="86" y="127"/>
                  </a:cubicBezTo>
                  <a:cubicBezTo>
                    <a:pt x="85" y="127"/>
                    <a:pt x="85" y="127"/>
                    <a:pt x="85" y="127"/>
                  </a:cubicBezTo>
                  <a:cubicBezTo>
                    <a:pt x="85" y="127"/>
                    <a:pt x="85" y="127"/>
                    <a:pt x="85" y="127"/>
                  </a:cubicBezTo>
                  <a:cubicBezTo>
                    <a:pt x="35" y="34"/>
                    <a:pt x="67" y="0"/>
                    <a:pt x="67" y="0"/>
                  </a:cubicBezTo>
                  <a:cubicBezTo>
                    <a:pt x="54" y="0"/>
                    <a:pt x="54" y="0"/>
                    <a:pt x="54" y="0"/>
                  </a:cubicBezTo>
                  <a:cubicBezTo>
                    <a:pt x="54" y="0"/>
                    <a:pt x="0" y="57"/>
                    <a:pt x="86" y="215"/>
                  </a:cubicBezTo>
                  <a:cubicBezTo>
                    <a:pt x="86" y="216"/>
                    <a:pt x="86" y="216"/>
                    <a:pt x="86" y="216"/>
                  </a:cubicBezTo>
                  <a:cubicBezTo>
                    <a:pt x="86" y="215"/>
                    <a:pt x="86" y="215"/>
                    <a:pt x="86" y="215"/>
                  </a:cubicBezTo>
                  <a:cubicBezTo>
                    <a:pt x="86" y="216"/>
                    <a:pt x="86" y="216"/>
                    <a:pt x="86" y="216"/>
                  </a:cubicBezTo>
                  <a:cubicBezTo>
                    <a:pt x="86" y="215"/>
                    <a:pt x="86" y="215"/>
                    <a:pt x="86" y="215"/>
                  </a:cubicBezTo>
                  <a:cubicBezTo>
                    <a:pt x="172" y="57"/>
                    <a:pt x="118" y="0"/>
                    <a:pt x="118" y="0"/>
                  </a:cubicBezTo>
                </a:path>
              </a:pathLst>
            </a:custGeom>
            <a:solidFill>
              <a:srgbClr val="DC9F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ïSḻïďé">
              <a:extLst>
                <a:ext uri="{FF2B5EF4-FFF2-40B4-BE49-F238E27FC236}">
                  <a16:creationId xmlns:a16="http://schemas.microsoft.com/office/drawing/2014/main" id="{7F8B0A30-B949-4281-B08F-FCCFF165B51F}"/>
                </a:ext>
              </a:extLst>
            </p:cNvPr>
            <p:cNvSpPr/>
            <p:nvPr/>
          </p:nvSpPr>
          <p:spPr bwMode="auto">
            <a:xfrm>
              <a:off x="5762626" y="3063875"/>
              <a:ext cx="387350" cy="485775"/>
            </a:xfrm>
            <a:custGeom>
              <a:avLst/>
              <a:gdLst>
                <a:gd name="T0" fmla="*/ 70 w 101"/>
                <a:gd name="T1" fmla="*/ 0 h 127"/>
                <a:gd name="T2" fmla="*/ 50 w 101"/>
                <a:gd name="T3" fmla="*/ 0 h 127"/>
                <a:gd name="T4" fmla="*/ 49 w 101"/>
                <a:gd name="T5" fmla="*/ 0 h 127"/>
                <a:gd name="T6" fmla="*/ 32 w 101"/>
                <a:gd name="T7" fmla="*/ 0 h 127"/>
                <a:gd name="T8" fmla="*/ 50 w 101"/>
                <a:gd name="T9" fmla="*/ 127 h 127"/>
                <a:gd name="T10" fmla="*/ 50 w 101"/>
                <a:gd name="T11" fmla="*/ 127 h 127"/>
                <a:gd name="T12" fmla="*/ 51 w 101"/>
                <a:gd name="T13" fmla="*/ 127 h 127"/>
                <a:gd name="T14" fmla="*/ 51 w 101"/>
                <a:gd name="T15" fmla="*/ 127 h 127"/>
                <a:gd name="T16" fmla="*/ 51 w 101"/>
                <a:gd name="T17" fmla="*/ 127 h 127"/>
                <a:gd name="T18" fmla="*/ 70 w 101"/>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27">
                  <a:moveTo>
                    <a:pt x="70" y="0"/>
                  </a:moveTo>
                  <a:cubicBezTo>
                    <a:pt x="50" y="0"/>
                    <a:pt x="50" y="0"/>
                    <a:pt x="50" y="0"/>
                  </a:cubicBezTo>
                  <a:cubicBezTo>
                    <a:pt x="49" y="0"/>
                    <a:pt x="49" y="0"/>
                    <a:pt x="49" y="0"/>
                  </a:cubicBezTo>
                  <a:cubicBezTo>
                    <a:pt x="32" y="0"/>
                    <a:pt x="32" y="0"/>
                    <a:pt x="32" y="0"/>
                  </a:cubicBezTo>
                  <a:cubicBezTo>
                    <a:pt x="32" y="0"/>
                    <a:pt x="0" y="34"/>
                    <a:pt x="50" y="127"/>
                  </a:cubicBezTo>
                  <a:cubicBezTo>
                    <a:pt x="50" y="127"/>
                    <a:pt x="50" y="127"/>
                    <a:pt x="50" y="127"/>
                  </a:cubicBezTo>
                  <a:cubicBezTo>
                    <a:pt x="51" y="127"/>
                    <a:pt x="51" y="127"/>
                    <a:pt x="51" y="127"/>
                  </a:cubicBezTo>
                  <a:cubicBezTo>
                    <a:pt x="51" y="127"/>
                    <a:pt x="51" y="127"/>
                    <a:pt x="51" y="127"/>
                  </a:cubicBezTo>
                  <a:cubicBezTo>
                    <a:pt x="51" y="127"/>
                    <a:pt x="51" y="127"/>
                    <a:pt x="51" y="127"/>
                  </a:cubicBezTo>
                  <a:cubicBezTo>
                    <a:pt x="101" y="34"/>
                    <a:pt x="70" y="0"/>
                    <a:pt x="70" y="0"/>
                  </a:cubicBezTo>
                </a:path>
              </a:pathLst>
            </a:custGeom>
            <a:solidFill>
              <a:srgbClr val="DC6E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îṥliḋe">
              <a:extLst>
                <a:ext uri="{FF2B5EF4-FFF2-40B4-BE49-F238E27FC236}">
                  <a16:creationId xmlns:a16="http://schemas.microsoft.com/office/drawing/2014/main" id="{99C695B1-93F9-4617-8BEF-D8DB46566CB4}"/>
                </a:ext>
              </a:extLst>
            </p:cNvPr>
            <p:cNvSpPr/>
            <p:nvPr/>
          </p:nvSpPr>
          <p:spPr bwMode="auto">
            <a:xfrm>
              <a:off x="5659438" y="2998788"/>
              <a:ext cx="574675" cy="103188"/>
            </a:xfrm>
            <a:custGeom>
              <a:avLst/>
              <a:gdLst>
                <a:gd name="T0" fmla="*/ 0 w 150"/>
                <a:gd name="T1" fmla="*/ 0 h 27"/>
                <a:gd name="T2" fmla="*/ 150 w 150"/>
                <a:gd name="T3" fmla="*/ 0 h 27"/>
                <a:gd name="T4" fmla="*/ 150 w 150"/>
                <a:gd name="T5" fmla="*/ 19 h 27"/>
                <a:gd name="T6" fmla="*/ 150 w 150"/>
                <a:gd name="T7" fmla="*/ 19 h 27"/>
                <a:gd name="T8" fmla="*/ 150 w 150"/>
                <a:gd name="T9" fmla="*/ 20 h 27"/>
                <a:gd name="T10" fmla="*/ 75 w 150"/>
                <a:gd name="T11" fmla="*/ 27 h 27"/>
                <a:gd name="T12" fmla="*/ 0 w 150"/>
                <a:gd name="T13" fmla="*/ 20 h 27"/>
                <a:gd name="T14" fmla="*/ 1 w 150"/>
                <a:gd name="T15" fmla="*/ 19 h 27"/>
                <a:gd name="T16" fmla="*/ 0 w 150"/>
                <a:gd name="T17" fmla="*/ 19 h 27"/>
                <a:gd name="T18" fmla="*/ 0 w 150"/>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27">
                  <a:moveTo>
                    <a:pt x="0" y="0"/>
                  </a:moveTo>
                  <a:cubicBezTo>
                    <a:pt x="150" y="0"/>
                    <a:pt x="150" y="0"/>
                    <a:pt x="150" y="0"/>
                  </a:cubicBezTo>
                  <a:cubicBezTo>
                    <a:pt x="150" y="19"/>
                    <a:pt x="150" y="19"/>
                    <a:pt x="150" y="19"/>
                  </a:cubicBezTo>
                  <a:cubicBezTo>
                    <a:pt x="150" y="19"/>
                    <a:pt x="150" y="19"/>
                    <a:pt x="150" y="19"/>
                  </a:cubicBezTo>
                  <a:cubicBezTo>
                    <a:pt x="150" y="20"/>
                    <a:pt x="150" y="20"/>
                    <a:pt x="150" y="20"/>
                  </a:cubicBezTo>
                  <a:cubicBezTo>
                    <a:pt x="150" y="23"/>
                    <a:pt x="117" y="27"/>
                    <a:pt x="75" y="27"/>
                  </a:cubicBezTo>
                  <a:cubicBezTo>
                    <a:pt x="34" y="27"/>
                    <a:pt x="0" y="23"/>
                    <a:pt x="0" y="20"/>
                  </a:cubicBezTo>
                  <a:cubicBezTo>
                    <a:pt x="1" y="19"/>
                    <a:pt x="1" y="19"/>
                    <a:pt x="1" y="19"/>
                  </a:cubicBezTo>
                  <a:cubicBezTo>
                    <a:pt x="0" y="19"/>
                    <a:pt x="0" y="19"/>
                    <a:pt x="0" y="19"/>
                  </a:cubicBezTo>
                  <a:lnTo>
                    <a:pt x="0" y="0"/>
                  </a:lnTo>
                  <a:close/>
                </a:path>
              </a:pathLst>
            </a:custGeom>
            <a:solidFill>
              <a:srgbClr val="0707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iş1îḑê">
              <a:extLst>
                <a:ext uri="{FF2B5EF4-FFF2-40B4-BE49-F238E27FC236}">
                  <a16:creationId xmlns:a16="http://schemas.microsoft.com/office/drawing/2014/main" id="{BF13342C-DEB4-4CCD-A0B3-64C902F7F1E7}"/>
                </a:ext>
              </a:extLst>
            </p:cNvPr>
            <p:cNvSpPr/>
            <p:nvPr/>
          </p:nvSpPr>
          <p:spPr bwMode="auto">
            <a:xfrm>
              <a:off x="5594351" y="2892425"/>
              <a:ext cx="709613" cy="125413"/>
            </a:xfrm>
            <a:custGeom>
              <a:avLst/>
              <a:gdLst>
                <a:gd name="T0" fmla="*/ 0 w 185"/>
                <a:gd name="T1" fmla="*/ 0 h 33"/>
                <a:gd name="T2" fmla="*/ 185 w 185"/>
                <a:gd name="T3" fmla="*/ 0 h 33"/>
                <a:gd name="T4" fmla="*/ 185 w 185"/>
                <a:gd name="T5" fmla="*/ 23 h 33"/>
                <a:gd name="T6" fmla="*/ 184 w 185"/>
                <a:gd name="T7" fmla="*/ 23 h 33"/>
                <a:gd name="T8" fmla="*/ 185 w 185"/>
                <a:gd name="T9" fmla="*/ 24 h 33"/>
                <a:gd name="T10" fmla="*/ 92 w 185"/>
                <a:gd name="T11" fmla="*/ 33 h 33"/>
                <a:gd name="T12" fmla="*/ 0 w 185"/>
                <a:gd name="T13" fmla="*/ 24 h 33"/>
                <a:gd name="T14" fmla="*/ 1 w 185"/>
                <a:gd name="T15" fmla="*/ 23 h 33"/>
                <a:gd name="T16" fmla="*/ 0 w 185"/>
                <a:gd name="T17" fmla="*/ 23 h 33"/>
                <a:gd name="T18" fmla="*/ 0 w 185"/>
                <a:gd name="T1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33">
                  <a:moveTo>
                    <a:pt x="0" y="0"/>
                  </a:moveTo>
                  <a:cubicBezTo>
                    <a:pt x="185" y="0"/>
                    <a:pt x="185" y="0"/>
                    <a:pt x="185" y="0"/>
                  </a:cubicBezTo>
                  <a:cubicBezTo>
                    <a:pt x="185" y="23"/>
                    <a:pt x="185" y="23"/>
                    <a:pt x="185" y="23"/>
                  </a:cubicBezTo>
                  <a:cubicBezTo>
                    <a:pt x="184" y="23"/>
                    <a:pt x="184" y="23"/>
                    <a:pt x="184" y="23"/>
                  </a:cubicBezTo>
                  <a:cubicBezTo>
                    <a:pt x="185" y="23"/>
                    <a:pt x="185" y="24"/>
                    <a:pt x="185" y="24"/>
                  </a:cubicBezTo>
                  <a:cubicBezTo>
                    <a:pt x="185" y="29"/>
                    <a:pt x="143" y="33"/>
                    <a:pt x="92" y="33"/>
                  </a:cubicBezTo>
                  <a:cubicBezTo>
                    <a:pt x="41" y="33"/>
                    <a:pt x="0" y="29"/>
                    <a:pt x="0" y="24"/>
                  </a:cubicBezTo>
                  <a:cubicBezTo>
                    <a:pt x="0" y="24"/>
                    <a:pt x="0" y="23"/>
                    <a:pt x="1" y="23"/>
                  </a:cubicBezTo>
                  <a:cubicBezTo>
                    <a:pt x="0" y="23"/>
                    <a:pt x="0" y="23"/>
                    <a:pt x="0" y="23"/>
                  </a:cubicBezTo>
                  <a:lnTo>
                    <a:pt x="0" y="0"/>
                  </a:lnTo>
                  <a:close/>
                </a:path>
              </a:pathLst>
            </a:custGeom>
            <a:solidFill>
              <a:srgbClr val="1718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íṡlíďé">
              <a:extLst>
                <a:ext uri="{FF2B5EF4-FFF2-40B4-BE49-F238E27FC236}">
                  <a16:creationId xmlns:a16="http://schemas.microsoft.com/office/drawing/2014/main" id="{3C45FBFD-AEED-402A-9480-28EF4899A1F0}"/>
                </a:ext>
              </a:extLst>
            </p:cNvPr>
            <p:cNvSpPr/>
            <p:nvPr/>
          </p:nvSpPr>
          <p:spPr bwMode="auto">
            <a:xfrm>
              <a:off x="5518151" y="2765425"/>
              <a:ext cx="862013" cy="153988"/>
            </a:xfrm>
            <a:custGeom>
              <a:avLst/>
              <a:gdLst>
                <a:gd name="T0" fmla="*/ 0 w 225"/>
                <a:gd name="T1" fmla="*/ 0 h 40"/>
                <a:gd name="T2" fmla="*/ 225 w 225"/>
                <a:gd name="T3" fmla="*/ 0 h 40"/>
                <a:gd name="T4" fmla="*/ 225 w 225"/>
                <a:gd name="T5" fmla="*/ 28 h 40"/>
                <a:gd name="T6" fmla="*/ 224 w 225"/>
                <a:gd name="T7" fmla="*/ 28 h 40"/>
                <a:gd name="T8" fmla="*/ 225 w 225"/>
                <a:gd name="T9" fmla="*/ 29 h 40"/>
                <a:gd name="T10" fmla="*/ 112 w 225"/>
                <a:gd name="T11" fmla="*/ 40 h 40"/>
                <a:gd name="T12" fmla="*/ 0 w 225"/>
                <a:gd name="T13" fmla="*/ 29 h 40"/>
                <a:gd name="T14" fmla="*/ 1 w 225"/>
                <a:gd name="T15" fmla="*/ 28 h 40"/>
                <a:gd name="T16" fmla="*/ 0 w 225"/>
                <a:gd name="T17" fmla="*/ 28 h 40"/>
                <a:gd name="T18" fmla="*/ 0 w 225"/>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40">
                  <a:moveTo>
                    <a:pt x="0" y="0"/>
                  </a:moveTo>
                  <a:cubicBezTo>
                    <a:pt x="225" y="0"/>
                    <a:pt x="225" y="0"/>
                    <a:pt x="225" y="0"/>
                  </a:cubicBezTo>
                  <a:cubicBezTo>
                    <a:pt x="225" y="28"/>
                    <a:pt x="225" y="28"/>
                    <a:pt x="225" y="28"/>
                  </a:cubicBezTo>
                  <a:cubicBezTo>
                    <a:pt x="224" y="28"/>
                    <a:pt x="224" y="28"/>
                    <a:pt x="224" y="28"/>
                  </a:cubicBezTo>
                  <a:cubicBezTo>
                    <a:pt x="225" y="29"/>
                    <a:pt x="225" y="29"/>
                    <a:pt x="225" y="29"/>
                  </a:cubicBezTo>
                  <a:cubicBezTo>
                    <a:pt x="225" y="35"/>
                    <a:pt x="175" y="40"/>
                    <a:pt x="112" y="40"/>
                  </a:cubicBezTo>
                  <a:cubicBezTo>
                    <a:pt x="50" y="40"/>
                    <a:pt x="0" y="35"/>
                    <a:pt x="0" y="29"/>
                  </a:cubicBezTo>
                  <a:cubicBezTo>
                    <a:pt x="0" y="29"/>
                    <a:pt x="0" y="29"/>
                    <a:pt x="1" y="28"/>
                  </a:cubicBezTo>
                  <a:cubicBezTo>
                    <a:pt x="0" y="28"/>
                    <a:pt x="0" y="28"/>
                    <a:pt x="0" y="28"/>
                  </a:cubicBezTo>
                  <a:cubicBezTo>
                    <a:pt x="0" y="0"/>
                    <a:pt x="0" y="0"/>
                    <a:pt x="0" y="0"/>
                  </a:cubicBezTo>
                </a:path>
              </a:pathLst>
            </a:custGeom>
            <a:solidFill>
              <a:srgbClr val="2122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íŝḷíďè">
              <a:extLst>
                <a:ext uri="{FF2B5EF4-FFF2-40B4-BE49-F238E27FC236}">
                  <a16:creationId xmlns:a16="http://schemas.microsoft.com/office/drawing/2014/main" id="{D5928501-302C-4915-9CE0-6E8E6A7DE3E3}"/>
                </a:ext>
              </a:extLst>
            </p:cNvPr>
            <p:cNvSpPr/>
            <p:nvPr/>
          </p:nvSpPr>
          <p:spPr bwMode="auto">
            <a:xfrm>
              <a:off x="5518151" y="2727325"/>
              <a:ext cx="862013" cy="8096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iślîdê">
              <a:extLst>
                <a:ext uri="{FF2B5EF4-FFF2-40B4-BE49-F238E27FC236}">
                  <a16:creationId xmlns:a16="http://schemas.microsoft.com/office/drawing/2014/main" id="{922CEEB2-BE35-4CEC-935D-4491FEC04EB5}"/>
                </a:ext>
              </a:extLst>
            </p:cNvPr>
            <p:cNvSpPr/>
            <p:nvPr/>
          </p:nvSpPr>
          <p:spPr bwMode="auto">
            <a:xfrm>
              <a:off x="5176838" y="996950"/>
              <a:ext cx="1501775" cy="1779588"/>
            </a:xfrm>
            <a:custGeom>
              <a:avLst/>
              <a:gdLst>
                <a:gd name="T0" fmla="*/ 13 w 392"/>
                <a:gd name="T1" fmla="*/ 193 h 465"/>
                <a:gd name="T2" fmla="*/ 210 w 392"/>
                <a:gd name="T3" fmla="*/ 4 h 465"/>
                <a:gd name="T4" fmla="*/ 390 w 392"/>
                <a:gd name="T5" fmla="*/ 180 h 465"/>
                <a:gd name="T6" fmla="*/ 374 w 392"/>
                <a:gd name="T7" fmla="*/ 269 h 465"/>
                <a:gd name="T8" fmla="*/ 297 w 392"/>
                <a:gd name="T9" fmla="*/ 382 h 465"/>
                <a:gd name="T10" fmla="*/ 267 w 392"/>
                <a:gd name="T11" fmla="*/ 456 h 465"/>
                <a:gd name="T12" fmla="*/ 257 w 392"/>
                <a:gd name="T13" fmla="*/ 465 h 465"/>
                <a:gd name="T14" fmla="*/ 202 w 392"/>
                <a:gd name="T15" fmla="*/ 465 h 465"/>
                <a:gd name="T16" fmla="*/ 199 w 392"/>
                <a:gd name="T17" fmla="*/ 465 h 465"/>
                <a:gd name="T18" fmla="*/ 143 w 392"/>
                <a:gd name="T19" fmla="*/ 465 h 465"/>
                <a:gd name="T20" fmla="*/ 134 w 392"/>
                <a:gd name="T21" fmla="*/ 456 h 465"/>
                <a:gd name="T22" fmla="*/ 103 w 392"/>
                <a:gd name="T23" fmla="*/ 382 h 465"/>
                <a:gd name="T24" fmla="*/ 13 w 392"/>
                <a:gd name="T25" fmla="*/ 193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2" h="465">
                  <a:moveTo>
                    <a:pt x="13" y="193"/>
                  </a:moveTo>
                  <a:cubicBezTo>
                    <a:pt x="13" y="86"/>
                    <a:pt x="102" y="0"/>
                    <a:pt x="210" y="4"/>
                  </a:cubicBezTo>
                  <a:cubicBezTo>
                    <a:pt x="306" y="8"/>
                    <a:pt x="384" y="85"/>
                    <a:pt x="390" y="180"/>
                  </a:cubicBezTo>
                  <a:cubicBezTo>
                    <a:pt x="392" y="212"/>
                    <a:pt x="386" y="242"/>
                    <a:pt x="374" y="269"/>
                  </a:cubicBezTo>
                  <a:cubicBezTo>
                    <a:pt x="362" y="301"/>
                    <a:pt x="339" y="340"/>
                    <a:pt x="297" y="382"/>
                  </a:cubicBezTo>
                  <a:cubicBezTo>
                    <a:pt x="297" y="382"/>
                    <a:pt x="265" y="421"/>
                    <a:pt x="267" y="456"/>
                  </a:cubicBezTo>
                  <a:cubicBezTo>
                    <a:pt x="267" y="461"/>
                    <a:pt x="263" y="465"/>
                    <a:pt x="257" y="465"/>
                  </a:cubicBezTo>
                  <a:cubicBezTo>
                    <a:pt x="202" y="465"/>
                    <a:pt x="202" y="465"/>
                    <a:pt x="202" y="465"/>
                  </a:cubicBezTo>
                  <a:cubicBezTo>
                    <a:pt x="199" y="465"/>
                    <a:pt x="199" y="465"/>
                    <a:pt x="199" y="465"/>
                  </a:cubicBezTo>
                  <a:cubicBezTo>
                    <a:pt x="143" y="465"/>
                    <a:pt x="143" y="465"/>
                    <a:pt x="143" y="465"/>
                  </a:cubicBezTo>
                  <a:cubicBezTo>
                    <a:pt x="138" y="465"/>
                    <a:pt x="134" y="461"/>
                    <a:pt x="134" y="456"/>
                  </a:cubicBezTo>
                  <a:cubicBezTo>
                    <a:pt x="135" y="421"/>
                    <a:pt x="103" y="382"/>
                    <a:pt x="103" y="382"/>
                  </a:cubicBezTo>
                  <a:cubicBezTo>
                    <a:pt x="0" y="280"/>
                    <a:pt x="13" y="193"/>
                    <a:pt x="13" y="193"/>
                  </a:cubicBezTo>
                </a:path>
              </a:pathLst>
            </a:custGeom>
            <a:solidFill>
              <a:srgbClr val="FF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ïṡ1iďè">
              <a:extLst>
                <a:ext uri="{FF2B5EF4-FFF2-40B4-BE49-F238E27FC236}">
                  <a16:creationId xmlns:a16="http://schemas.microsoft.com/office/drawing/2014/main" id="{8232A866-64CA-4227-991B-E1143A9E711A}"/>
                </a:ext>
              </a:extLst>
            </p:cNvPr>
            <p:cNvSpPr/>
            <p:nvPr/>
          </p:nvSpPr>
          <p:spPr bwMode="auto">
            <a:xfrm>
              <a:off x="5648326" y="1892300"/>
              <a:ext cx="493713" cy="900113"/>
            </a:xfrm>
            <a:custGeom>
              <a:avLst/>
              <a:gdLst>
                <a:gd name="T0" fmla="*/ 0 w 311"/>
                <a:gd name="T1" fmla="*/ 3 h 567"/>
                <a:gd name="T2" fmla="*/ 123 w 311"/>
                <a:gd name="T3" fmla="*/ 567 h 567"/>
                <a:gd name="T4" fmla="*/ 229 w 311"/>
                <a:gd name="T5" fmla="*/ 567 h 567"/>
                <a:gd name="T6" fmla="*/ 311 w 311"/>
                <a:gd name="T7" fmla="*/ 210 h 567"/>
                <a:gd name="T8" fmla="*/ 304 w 311"/>
                <a:gd name="T9" fmla="*/ 208 h 567"/>
                <a:gd name="T10" fmla="*/ 224 w 311"/>
                <a:gd name="T11" fmla="*/ 562 h 567"/>
                <a:gd name="T12" fmla="*/ 128 w 311"/>
                <a:gd name="T13" fmla="*/ 562 h 567"/>
                <a:gd name="T14" fmla="*/ 7 w 311"/>
                <a:gd name="T15" fmla="*/ 0 h 567"/>
                <a:gd name="T16" fmla="*/ 0 w 311"/>
                <a:gd name="T17" fmla="*/ 3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567">
                  <a:moveTo>
                    <a:pt x="0" y="3"/>
                  </a:moveTo>
                  <a:lnTo>
                    <a:pt x="123" y="567"/>
                  </a:lnTo>
                  <a:lnTo>
                    <a:pt x="229" y="567"/>
                  </a:lnTo>
                  <a:lnTo>
                    <a:pt x="311" y="210"/>
                  </a:lnTo>
                  <a:lnTo>
                    <a:pt x="304" y="208"/>
                  </a:lnTo>
                  <a:lnTo>
                    <a:pt x="224" y="562"/>
                  </a:lnTo>
                  <a:lnTo>
                    <a:pt x="128" y="562"/>
                  </a:lnTo>
                  <a:lnTo>
                    <a:pt x="7" y="0"/>
                  </a:lnTo>
                  <a:lnTo>
                    <a:pt x="0" y="3"/>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iṧlïdê">
              <a:extLst>
                <a:ext uri="{FF2B5EF4-FFF2-40B4-BE49-F238E27FC236}">
                  <a16:creationId xmlns:a16="http://schemas.microsoft.com/office/drawing/2014/main" id="{ACC3F504-1562-457A-B6C5-59BF16A3F497}"/>
                </a:ext>
              </a:extLst>
            </p:cNvPr>
            <p:cNvSpPr/>
            <p:nvPr/>
          </p:nvSpPr>
          <p:spPr bwMode="auto">
            <a:xfrm>
              <a:off x="5648326" y="1892300"/>
              <a:ext cx="493713" cy="900113"/>
            </a:xfrm>
            <a:custGeom>
              <a:avLst/>
              <a:gdLst>
                <a:gd name="T0" fmla="*/ 0 w 311"/>
                <a:gd name="T1" fmla="*/ 3 h 567"/>
                <a:gd name="T2" fmla="*/ 123 w 311"/>
                <a:gd name="T3" fmla="*/ 567 h 567"/>
                <a:gd name="T4" fmla="*/ 229 w 311"/>
                <a:gd name="T5" fmla="*/ 567 h 567"/>
                <a:gd name="T6" fmla="*/ 311 w 311"/>
                <a:gd name="T7" fmla="*/ 210 h 567"/>
                <a:gd name="T8" fmla="*/ 304 w 311"/>
                <a:gd name="T9" fmla="*/ 208 h 567"/>
                <a:gd name="T10" fmla="*/ 224 w 311"/>
                <a:gd name="T11" fmla="*/ 562 h 567"/>
                <a:gd name="T12" fmla="*/ 128 w 311"/>
                <a:gd name="T13" fmla="*/ 562 h 567"/>
                <a:gd name="T14" fmla="*/ 7 w 311"/>
                <a:gd name="T15" fmla="*/ 0 h 567"/>
                <a:gd name="T16" fmla="*/ 0 w 311"/>
                <a:gd name="T17" fmla="*/ 3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1" h="567">
                  <a:moveTo>
                    <a:pt x="0" y="3"/>
                  </a:moveTo>
                  <a:lnTo>
                    <a:pt x="123" y="567"/>
                  </a:lnTo>
                  <a:lnTo>
                    <a:pt x="229" y="567"/>
                  </a:lnTo>
                  <a:lnTo>
                    <a:pt x="311" y="210"/>
                  </a:lnTo>
                  <a:lnTo>
                    <a:pt x="304" y="208"/>
                  </a:lnTo>
                  <a:lnTo>
                    <a:pt x="224" y="562"/>
                  </a:lnTo>
                  <a:lnTo>
                    <a:pt x="128" y="562"/>
                  </a:lnTo>
                  <a:lnTo>
                    <a:pt x="7"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îSļiḓe">
              <a:extLst>
                <a:ext uri="{FF2B5EF4-FFF2-40B4-BE49-F238E27FC236}">
                  <a16:creationId xmlns:a16="http://schemas.microsoft.com/office/drawing/2014/main" id="{B870FE42-2E93-4CD6-994D-98F8D362A1E6}"/>
                </a:ext>
              </a:extLst>
            </p:cNvPr>
            <p:cNvSpPr/>
            <p:nvPr/>
          </p:nvSpPr>
          <p:spPr bwMode="auto">
            <a:xfrm>
              <a:off x="5629276" y="1992313"/>
              <a:ext cx="536575" cy="344488"/>
            </a:xfrm>
            <a:custGeom>
              <a:avLst/>
              <a:gdLst>
                <a:gd name="T0" fmla="*/ 2 w 140"/>
                <a:gd name="T1" fmla="*/ 9 h 90"/>
                <a:gd name="T2" fmla="*/ 11 w 140"/>
                <a:gd name="T3" fmla="*/ 3 h 90"/>
                <a:gd name="T4" fmla="*/ 18 w 140"/>
                <a:gd name="T5" fmla="*/ 10 h 90"/>
                <a:gd name="T6" fmla="*/ 24 w 140"/>
                <a:gd name="T7" fmla="*/ 19 h 90"/>
                <a:gd name="T8" fmla="*/ 30 w 140"/>
                <a:gd name="T9" fmla="*/ 18 h 90"/>
                <a:gd name="T10" fmla="*/ 44 w 140"/>
                <a:gd name="T11" fmla="*/ 11 h 90"/>
                <a:gd name="T12" fmla="*/ 58 w 140"/>
                <a:gd name="T13" fmla="*/ 39 h 90"/>
                <a:gd name="T14" fmla="*/ 61 w 140"/>
                <a:gd name="T15" fmla="*/ 51 h 90"/>
                <a:gd name="T16" fmla="*/ 64 w 140"/>
                <a:gd name="T17" fmla="*/ 53 h 90"/>
                <a:gd name="T18" fmla="*/ 68 w 140"/>
                <a:gd name="T19" fmla="*/ 50 h 90"/>
                <a:gd name="T20" fmla="*/ 90 w 140"/>
                <a:gd name="T21" fmla="*/ 44 h 90"/>
                <a:gd name="T22" fmla="*/ 101 w 140"/>
                <a:gd name="T23" fmla="*/ 82 h 90"/>
                <a:gd name="T24" fmla="*/ 120 w 140"/>
                <a:gd name="T25" fmla="*/ 82 h 90"/>
                <a:gd name="T26" fmla="*/ 130 w 140"/>
                <a:gd name="T27" fmla="*/ 73 h 90"/>
                <a:gd name="T28" fmla="*/ 137 w 140"/>
                <a:gd name="T29" fmla="*/ 90 h 90"/>
                <a:gd name="T30" fmla="*/ 137 w 140"/>
                <a:gd name="T31" fmla="*/ 76 h 90"/>
                <a:gd name="T32" fmla="*/ 124 w 140"/>
                <a:gd name="T33" fmla="*/ 73 h 90"/>
                <a:gd name="T34" fmla="*/ 110 w 140"/>
                <a:gd name="T35" fmla="*/ 86 h 90"/>
                <a:gd name="T36" fmla="*/ 97 w 140"/>
                <a:gd name="T37" fmla="*/ 60 h 90"/>
                <a:gd name="T38" fmla="*/ 83 w 140"/>
                <a:gd name="T39" fmla="*/ 37 h 90"/>
                <a:gd name="T40" fmla="*/ 64 w 140"/>
                <a:gd name="T41" fmla="*/ 50 h 90"/>
                <a:gd name="T42" fmla="*/ 64 w 140"/>
                <a:gd name="T43" fmla="*/ 51 h 90"/>
                <a:gd name="T44" fmla="*/ 64 w 140"/>
                <a:gd name="T45" fmla="*/ 51 h 90"/>
                <a:gd name="T46" fmla="*/ 64 w 140"/>
                <a:gd name="T47" fmla="*/ 51 h 90"/>
                <a:gd name="T48" fmla="*/ 62 w 140"/>
                <a:gd name="T49" fmla="*/ 47 h 90"/>
                <a:gd name="T50" fmla="*/ 54 w 140"/>
                <a:gd name="T51" fmla="*/ 14 h 90"/>
                <a:gd name="T52" fmla="*/ 42 w 140"/>
                <a:gd name="T53" fmla="*/ 8 h 90"/>
                <a:gd name="T54" fmla="*/ 28 w 140"/>
                <a:gd name="T55" fmla="*/ 16 h 90"/>
                <a:gd name="T56" fmla="*/ 26 w 140"/>
                <a:gd name="T57" fmla="*/ 17 h 90"/>
                <a:gd name="T58" fmla="*/ 16 w 140"/>
                <a:gd name="T59" fmla="*/ 2 h 90"/>
                <a:gd name="T60" fmla="*/ 3 w 140"/>
                <a:gd name="T61" fmla="*/ 4 h 90"/>
                <a:gd name="T62" fmla="*/ 2 w 140"/>
                <a:gd name="T63" fmla="*/ 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0" h="90">
                  <a:moveTo>
                    <a:pt x="2" y="9"/>
                  </a:moveTo>
                  <a:cubicBezTo>
                    <a:pt x="2" y="9"/>
                    <a:pt x="2" y="9"/>
                    <a:pt x="2" y="9"/>
                  </a:cubicBezTo>
                  <a:cubicBezTo>
                    <a:pt x="3" y="9"/>
                    <a:pt x="4" y="7"/>
                    <a:pt x="6" y="5"/>
                  </a:cubicBezTo>
                  <a:cubicBezTo>
                    <a:pt x="7" y="4"/>
                    <a:pt x="9" y="3"/>
                    <a:pt x="11" y="3"/>
                  </a:cubicBezTo>
                  <a:cubicBezTo>
                    <a:pt x="12" y="3"/>
                    <a:pt x="13" y="3"/>
                    <a:pt x="15" y="4"/>
                  </a:cubicBezTo>
                  <a:cubicBezTo>
                    <a:pt x="16" y="5"/>
                    <a:pt x="17" y="7"/>
                    <a:pt x="18" y="10"/>
                  </a:cubicBezTo>
                  <a:cubicBezTo>
                    <a:pt x="20" y="13"/>
                    <a:pt x="21" y="15"/>
                    <a:pt x="22" y="17"/>
                  </a:cubicBezTo>
                  <a:cubicBezTo>
                    <a:pt x="23" y="18"/>
                    <a:pt x="24" y="18"/>
                    <a:pt x="24" y="19"/>
                  </a:cubicBezTo>
                  <a:cubicBezTo>
                    <a:pt x="25" y="19"/>
                    <a:pt x="26" y="19"/>
                    <a:pt x="26" y="19"/>
                  </a:cubicBezTo>
                  <a:cubicBezTo>
                    <a:pt x="28" y="19"/>
                    <a:pt x="29" y="19"/>
                    <a:pt x="30" y="18"/>
                  </a:cubicBezTo>
                  <a:cubicBezTo>
                    <a:pt x="33" y="15"/>
                    <a:pt x="36" y="11"/>
                    <a:pt x="42" y="11"/>
                  </a:cubicBezTo>
                  <a:cubicBezTo>
                    <a:pt x="43" y="11"/>
                    <a:pt x="43" y="11"/>
                    <a:pt x="44" y="11"/>
                  </a:cubicBezTo>
                  <a:cubicBezTo>
                    <a:pt x="48" y="11"/>
                    <a:pt x="51" y="14"/>
                    <a:pt x="53" y="17"/>
                  </a:cubicBezTo>
                  <a:cubicBezTo>
                    <a:pt x="56" y="23"/>
                    <a:pt x="58" y="32"/>
                    <a:pt x="58" y="39"/>
                  </a:cubicBezTo>
                  <a:cubicBezTo>
                    <a:pt x="59" y="43"/>
                    <a:pt x="59" y="46"/>
                    <a:pt x="60" y="48"/>
                  </a:cubicBezTo>
                  <a:cubicBezTo>
                    <a:pt x="60" y="50"/>
                    <a:pt x="61" y="51"/>
                    <a:pt x="61" y="51"/>
                  </a:cubicBezTo>
                  <a:cubicBezTo>
                    <a:pt x="61" y="52"/>
                    <a:pt x="62" y="52"/>
                    <a:pt x="62" y="53"/>
                  </a:cubicBezTo>
                  <a:cubicBezTo>
                    <a:pt x="62" y="53"/>
                    <a:pt x="63" y="53"/>
                    <a:pt x="64" y="53"/>
                  </a:cubicBezTo>
                  <a:cubicBezTo>
                    <a:pt x="64" y="53"/>
                    <a:pt x="65" y="53"/>
                    <a:pt x="66" y="52"/>
                  </a:cubicBezTo>
                  <a:cubicBezTo>
                    <a:pt x="66" y="52"/>
                    <a:pt x="67" y="51"/>
                    <a:pt x="68" y="50"/>
                  </a:cubicBezTo>
                  <a:cubicBezTo>
                    <a:pt x="73" y="43"/>
                    <a:pt x="79" y="40"/>
                    <a:pt x="83" y="40"/>
                  </a:cubicBezTo>
                  <a:cubicBezTo>
                    <a:pt x="86" y="40"/>
                    <a:pt x="88" y="41"/>
                    <a:pt x="90" y="44"/>
                  </a:cubicBezTo>
                  <a:cubicBezTo>
                    <a:pt x="92" y="48"/>
                    <a:pt x="94" y="53"/>
                    <a:pt x="95" y="60"/>
                  </a:cubicBezTo>
                  <a:cubicBezTo>
                    <a:pt x="96" y="70"/>
                    <a:pt x="98" y="77"/>
                    <a:pt x="101" y="82"/>
                  </a:cubicBezTo>
                  <a:cubicBezTo>
                    <a:pt x="103" y="87"/>
                    <a:pt x="107" y="89"/>
                    <a:pt x="110" y="89"/>
                  </a:cubicBezTo>
                  <a:cubicBezTo>
                    <a:pt x="114" y="89"/>
                    <a:pt x="118" y="86"/>
                    <a:pt x="120" y="82"/>
                  </a:cubicBezTo>
                  <a:cubicBezTo>
                    <a:pt x="122" y="79"/>
                    <a:pt x="124" y="77"/>
                    <a:pt x="125" y="75"/>
                  </a:cubicBezTo>
                  <a:cubicBezTo>
                    <a:pt x="127" y="74"/>
                    <a:pt x="129" y="73"/>
                    <a:pt x="130" y="73"/>
                  </a:cubicBezTo>
                  <a:cubicBezTo>
                    <a:pt x="131" y="73"/>
                    <a:pt x="133" y="74"/>
                    <a:pt x="134" y="77"/>
                  </a:cubicBezTo>
                  <a:cubicBezTo>
                    <a:pt x="136" y="79"/>
                    <a:pt x="137" y="84"/>
                    <a:pt x="137" y="90"/>
                  </a:cubicBezTo>
                  <a:cubicBezTo>
                    <a:pt x="140" y="90"/>
                    <a:pt x="140" y="90"/>
                    <a:pt x="140" y="90"/>
                  </a:cubicBezTo>
                  <a:cubicBezTo>
                    <a:pt x="139" y="84"/>
                    <a:pt x="138" y="79"/>
                    <a:pt x="137" y="76"/>
                  </a:cubicBezTo>
                  <a:cubicBezTo>
                    <a:pt x="135" y="72"/>
                    <a:pt x="133" y="71"/>
                    <a:pt x="130" y="71"/>
                  </a:cubicBezTo>
                  <a:cubicBezTo>
                    <a:pt x="128" y="71"/>
                    <a:pt x="126" y="72"/>
                    <a:pt x="124" y="73"/>
                  </a:cubicBezTo>
                  <a:cubicBezTo>
                    <a:pt x="122" y="75"/>
                    <a:pt x="120" y="78"/>
                    <a:pt x="118" y="81"/>
                  </a:cubicBezTo>
                  <a:cubicBezTo>
                    <a:pt x="116" y="84"/>
                    <a:pt x="113" y="86"/>
                    <a:pt x="110" y="86"/>
                  </a:cubicBezTo>
                  <a:cubicBezTo>
                    <a:pt x="108" y="86"/>
                    <a:pt x="105" y="85"/>
                    <a:pt x="103" y="81"/>
                  </a:cubicBezTo>
                  <a:cubicBezTo>
                    <a:pt x="100" y="76"/>
                    <a:pt x="98" y="70"/>
                    <a:pt x="97" y="60"/>
                  </a:cubicBezTo>
                  <a:cubicBezTo>
                    <a:pt x="96" y="52"/>
                    <a:pt x="95" y="47"/>
                    <a:pt x="92" y="43"/>
                  </a:cubicBezTo>
                  <a:cubicBezTo>
                    <a:pt x="90" y="39"/>
                    <a:pt x="87" y="37"/>
                    <a:pt x="83" y="37"/>
                  </a:cubicBezTo>
                  <a:cubicBezTo>
                    <a:pt x="77" y="37"/>
                    <a:pt x="71" y="41"/>
                    <a:pt x="66" y="49"/>
                  </a:cubicBezTo>
                  <a:cubicBezTo>
                    <a:pt x="65" y="49"/>
                    <a:pt x="64" y="50"/>
                    <a:pt x="64" y="50"/>
                  </a:cubicBezTo>
                  <a:cubicBezTo>
                    <a:pt x="64" y="51"/>
                    <a:pt x="64" y="51"/>
                    <a:pt x="64" y="51"/>
                  </a:cubicBezTo>
                  <a:cubicBezTo>
                    <a:pt x="64" y="51"/>
                    <a:pt x="64" y="51"/>
                    <a:pt x="64" y="51"/>
                  </a:cubicBezTo>
                  <a:cubicBezTo>
                    <a:pt x="64" y="51"/>
                    <a:pt x="64" y="51"/>
                    <a:pt x="64" y="51"/>
                  </a:cubicBezTo>
                  <a:cubicBezTo>
                    <a:pt x="64" y="51"/>
                    <a:pt x="64" y="51"/>
                    <a:pt x="64" y="51"/>
                  </a:cubicBezTo>
                  <a:cubicBezTo>
                    <a:pt x="64" y="51"/>
                    <a:pt x="64" y="51"/>
                    <a:pt x="64" y="51"/>
                  </a:cubicBezTo>
                  <a:cubicBezTo>
                    <a:pt x="64" y="51"/>
                    <a:pt x="64" y="51"/>
                    <a:pt x="64" y="51"/>
                  </a:cubicBezTo>
                  <a:cubicBezTo>
                    <a:pt x="63" y="50"/>
                    <a:pt x="63" y="50"/>
                    <a:pt x="63" y="50"/>
                  </a:cubicBezTo>
                  <a:cubicBezTo>
                    <a:pt x="63" y="50"/>
                    <a:pt x="63" y="49"/>
                    <a:pt x="62" y="47"/>
                  </a:cubicBezTo>
                  <a:cubicBezTo>
                    <a:pt x="61" y="42"/>
                    <a:pt x="61" y="33"/>
                    <a:pt x="59" y="25"/>
                  </a:cubicBezTo>
                  <a:cubicBezTo>
                    <a:pt x="57" y="21"/>
                    <a:pt x="56" y="17"/>
                    <a:pt x="54" y="14"/>
                  </a:cubicBezTo>
                  <a:cubicBezTo>
                    <a:pt x="51" y="11"/>
                    <a:pt x="48" y="9"/>
                    <a:pt x="44" y="8"/>
                  </a:cubicBezTo>
                  <a:cubicBezTo>
                    <a:pt x="44" y="8"/>
                    <a:pt x="43" y="8"/>
                    <a:pt x="42" y="8"/>
                  </a:cubicBezTo>
                  <a:cubicBezTo>
                    <a:pt x="37" y="8"/>
                    <a:pt x="34" y="10"/>
                    <a:pt x="31" y="13"/>
                  </a:cubicBezTo>
                  <a:cubicBezTo>
                    <a:pt x="30" y="14"/>
                    <a:pt x="29" y="15"/>
                    <a:pt x="28" y="16"/>
                  </a:cubicBezTo>
                  <a:cubicBezTo>
                    <a:pt x="27" y="17"/>
                    <a:pt x="27" y="17"/>
                    <a:pt x="26" y="17"/>
                  </a:cubicBezTo>
                  <a:cubicBezTo>
                    <a:pt x="26" y="17"/>
                    <a:pt x="26" y="17"/>
                    <a:pt x="26" y="17"/>
                  </a:cubicBezTo>
                  <a:cubicBezTo>
                    <a:pt x="25" y="16"/>
                    <a:pt x="23" y="14"/>
                    <a:pt x="21" y="9"/>
                  </a:cubicBezTo>
                  <a:cubicBezTo>
                    <a:pt x="19" y="6"/>
                    <a:pt x="18" y="4"/>
                    <a:pt x="16" y="2"/>
                  </a:cubicBezTo>
                  <a:cubicBezTo>
                    <a:pt x="15" y="1"/>
                    <a:pt x="13" y="0"/>
                    <a:pt x="11" y="0"/>
                  </a:cubicBezTo>
                  <a:cubicBezTo>
                    <a:pt x="8" y="0"/>
                    <a:pt x="5" y="2"/>
                    <a:pt x="3" y="4"/>
                  </a:cubicBezTo>
                  <a:cubicBezTo>
                    <a:pt x="1" y="6"/>
                    <a:pt x="0" y="8"/>
                    <a:pt x="0" y="8"/>
                  </a:cubicBezTo>
                  <a:cubicBezTo>
                    <a:pt x="2" y="9"/>
                    <a:pt x="2" y="9"/>
                    <a:pt x="2" y="9"/>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îṩ1íḓè">
              <a:extLst>
                <a:ext uri="{FF2B5EF4-FFF2-40B4-BE49-F238E27FC236}">
                  <a16:creationId xmlns:a16="http://schemas.microsoft.com/office/drawing/2014/main" id="{159886B8-D8EF-4E57-B5C3-C5B12DE76B18}"/>
                </a:ext>
              </a:extLst>
            </p:cNvPr>
            <p:cNvSpPr/>
            <p:nvPr/>
          </p:nvSpPr>
          <p:spPr bwMode="auto">
            <a:xfrm>
              <a:off x="5226051" y="1720850"/>
              <a:ext cx="0" cy="11113"/>
            </a:xfrm>
            <a:custGeom>
              <a:avLst/>
              <a:gdLst>
                <a:gd name="T0" fmla="*/ 3 h 3"/>
                <a:gd name="T1" fmla="*/ 3 h 3"/>
                <a:gd name="T2" fmla="*/ 3 h 3"/>
                <a:gd name="T3" fmla="*/ 3 h 3"/>
                <a:gd name="T4" fmla="*/ 3 h 3"/>
                <a:gd name="T5" fmla="*/ 3 h 3"/>
                <a:gd name="T6" fmla="*/ 3 h 3"/>
                <a:gd name="T7" fmla="*/ 3 h 3"/>
                <a:gd name="T8" fmla="*/ 3 h 3"/>
                <a:gd name="T9" fmla="*/ 2 h 3"/>
                <a:gd name="T10" fmla="*/ 2 h 3"/>
                <a:gd name="T11" fmla="*/ 2 h 3"/>
                <a:gd name="T12" fmla="*/ 2 h 3"/>
                <a:gd name="T13" fmla="*/ 2 h 3"/>
                <a:gd name="T14" fmla="*/ 2 h 3"/>
                <a:gd name="T15" fmla="*/ 1 h 3"/>
                <a:gd name="T16" fmla="*/ 1 h 3"/>
                <a:gd name="T17" fmla="*/ 1 h 3"/>
                <a:gd name="T18" fmla="*/ 1 h 3"/>
                <a:gd name="T19" fmla="*/ 1 h 3"/>
                <a:gd name="T20" fmla="*/ 1 h 3"/>
                <a:gd name="T21" fmla="*/ 1 h 3"/>
                <a:gd name="T22" fmla="*/ 1 h 3"/>
                <a:gd name="T23" fmla="*/ 1 h 3"/>
                <a:gd name="T24" fmla="*/ 0 h 3"/>
                <a:gd name="T25" fmla="*/ 0 h 3"/>
                <a:gd name="T26"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Lst>
              <a:rect l="0" t="0" r="r" b="b"/>
              <a:pathLst>
                <a:path h="3">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path>
              </a:pathLst>
            </a:custGeom>
            <a:solidFill>
              <a:srgbClr val="0B9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î$ļïde">
              <a:extLst>
                <a:ext uri="{FF2B5EF4-FFF2-40B4-BE49-F238E27FC236}">
                  <a16:creationId xmlns:a16="http://schemas.microsoft.com/office/drawing/2014/main" id="{84AE10FB-62F5-4487-BF7F-2675023D763D}"/>
                </a:ext>
              </a:extLst>
            </p:cNvPr>
            <p:cNvSpPr/>
            <p:nvPr/>
          </p:nvSpPr>
          <p:spPr bwMode="auto">
            <a:xfrm>
              <a:off x="5570538" y="2459038"/>
              <a:ext cx="4763" cy="4763"/>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0 h 1"/>
                <a:gd name="T30" fmla="*/ 1 w 1"/>
                <a:gd name="T31" fmla="*/ 0 h 1"/>
                <a:gd name="T32" fmla="*/ 1 w 1"/>
                <a:gd name="T33" fmla="*/ 0 h 1"/>
                <a:gd name="T34" fmla="*/ 1 w 1"/>
                <a:gd name="T35" fmla="*/ 0 h 1"/>
                <a:gd name="T36" fmla="*/ 1 w 1"/>
                <a:gd name="T37" fmla="*/ 0 h 1"/>
                <a:gd name="T38" fmla="*/ 1 w 1"/>
                <a:gd name="T39" fmla="*/ 0 h 1"/>
                <a:gd name="T40" fmla="*/ 1 w 1"/>
                <a:gd name="T41" fmla="*/ 0 h 1"/>
                <a:gd name="T42" fmla="*/ 1 w 1"/>
                <a:gd name="T43" fmla="*/ 0 h 1"/>
                <a:gd name="T44" fmla="*/ 1 w 1"/>
                <a:gd name="T45" fmla="*/ 0 h 1"/>
                <a:gd name="T46" fmla="*/ 1 w 1"/>
                <a:gd name="T47" fmla="*/ 0 h 1"/>
                <a:gd name="T48" fmla="*/ 1 w 1"/>
                <a:gd name="T49" fmla="*/ 0 h 1"/>
                <a:gd name="T50" fmla="*/ 1 w 1"/>
                <a:gd name="T51" fmla="*/ 0 h 1"/>
                <a:gd name="T52" fmla="*/ 1 w 1"/>
                <a:gd name="T53" fmla="*/ 0 h 1"/>
                <a:gd name="T54" fmla="*/ 1 w 1"/>
                <a:gd name="T55" fmla="*/ 0 h 1"/>
                <a:gd name="T56" fmla="*/ 1 w 1"/>
                <a:gd name="T57" fmla="*/ 0 h 1"/>
                <a:gd name="T58" fmla="*/ 1 w 1"/>
                <a:gd name="T59" fmla="*/ 0 h 1"/>
                <a:gd name="T60" fmla="*/ 1 w 1"/>
                <a:gd name="T61" fmla="*/ 0 h 1"/>
                <a:gd name="T62" fmla="*/ 1 w 1"/>
                <a:gd name="T63" fmla="*/ 0 h 1"/>
                <a:gd name="T64" fmla="*/ 1 w 1"/>
                <a:gd name="T65" fmla="*/ 0 h 1"/>
                <a:gd name="T66" fmla="*/ 1 w 1"/>
                <a:gd name="T67" fmla="*/ 0 h 1"/>
                <a:gd name="T68" fmla="*/ 1 w 1"/>
                <a:gd name="T69" fmla="*/ 0 h 1"/>
                <a:gd name="T70" fmla="*/ 1 w 1"/>
                <a:gd name="T71" fmla="*/ 0 h 1"/>
                <a:gd name="T72" fmla="*/ 1 w 1"/>
                <a:gd name="T73" fmla="*/ 0 h 1"/>
                <a:gd name="T74" fmla="*/ 1 w 1"/>
                <a:gd name="T75" fmla="*/ 0 h 1"/>
                <a:gd name="T76" fmla="*/ 1 w 1"/>
                <a:gd name="T77" fmla="*/ 0 h 1"/>
                <a:gd name="T78" fmla="*/ 0 w 1"/>
                <a:gd name="T79" fmla="*/ 0 h 1"/>
                <a:gd name="T80" fmla="*/ 0 w 1"/>
                <a:gd name="T81" fmla="*/ 0 h 1"/>
                <a:gd name="T82" fmla="*/ 0 w 1"/>
                <a:gd name="T83" fmla="*/ 0 h 1"/>
                <a:gd name="T84" fmla="*/ 0 w 1"/>
                <a:gd name="T85" fmla="*/ 0 h 1"/>
                <a:gd name="T86" fmla="*/ 0 w 1"/>
                <a:gd name="T87" fmla="*/ 0 h 1"/>
                <a:gd name="T88" fmla="*/ 0 w 1"/>
                <a:gd name="T89" fmla="*/ 0 h 1"/>
                <a:gd name="T90" fmla="*/ 0 w 1"/>
                <a:gd name="T91" fmla="*/ 0 h 1"/>
                <a:gd name="T92" fmla="*/ 0 w 1"/>
                <a:gd name="T93" fmla="*/ 0 h 1"/>
                <a:gd name="T94" fmla="*/ 0 w 1"/>
                <a:gd name="T9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 h="1">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B4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ïśḻiḓè">
              <a:extLst>
                <a:ext uri="{FF2B5EF4-FFF2-40B4-BE49-F238E27FC236}">
                  <a16:creationId xmlns:a16="http://schemas.microsoft.com/office/drawing/2014/main" id="{17A403F2-7622-455A-B2A4-F8348FB0986C}"/>
                </a:ext>
              </a:extLst>
            </p:cNvPr>
            <p:cNvSpPr/>
            <p:nvPr/>
          </p:nvSpPr>
          <p:spPr bwMode="auto">
            <a:xfrm>
              <a:off x="5643563" y="2559050"/>
              <a:ext cx="606425" cy="176213"/>
            </a:xfrm>
            <a:custGeom>
              <a:avLst/>
              <a:gdLst>
                <a:gd name="T0" fmla="*/ 12 w 158"/>
                <a:gd name="T1" fmla="*/ 46 h 46"/>
                <a:gd name="T2" fmla="*/ 5 w 158"/>
                <a:gd name="T3" fmla="*/ 14 h 46"/>
                <a:gd name="T4" fmla="*/ 5 w 158"/>
                <a:gd name="T5" fmla="*/ 14 h 46"/>
                <a:gd name="T6" fmla="*/ 5 w 158"/>
                <a:gd name="T7" fmla="*/ 14 h 46"/>
                <a:gd name="T8" fmla="*/ 5 w 158"/>
                <a:gd name="T9" fmla="*/ 14 h 46"/>
                <a:gd name="T10" fmla="*/ 5 w 158"/>
                <a:gd name="T11" fmla="*/ 13 h 46"/>
                <a:gd name="T12" fmla="*/ 5 w 158"/>
                <a:gd name="T13" fmla="*/ 13 h 46"/>
                <a:gd name="T14" fmla="*/ 5 w 158"/>
                <a:gd name="T15" fmla="*/ 13 h 46"/>
                <a:gd name="T16" fmla="*/ 4 w 158"/>
                <a:gd name="T17" fmla="*/ 13 h 46"/>
                <a:gd name="T18" fmla="*/ 4 w 158"/>
                <a:gd name="T19" fmla="*/ 13 h 46"/>
                <a:gd name="T20" fmla="*/ 4 w 158"/>
                <a:gd name="T21" fmla="*/ 13 h 46"/>
                <a:gd name="T22" fmla="*/ 4 w 158"/>
                <a:gd name="T23" fmla="*/ 12 h 46"/>
                <a:gd name="T24" fmla="*/ 4 w 158"/>
                <a:gd name="T25" fmla="*/ 12 h 46"/>
                <a:gd name="T26" fmla="*/ 4 w 158"/>
                <a:gd name="T27" fmla="*/ 12 h 46"/>
                <a:gd name="T28" fmla="*/ 4 w 158"/>
                <a:gd name="T29" fmla="*/ 12 h 46"/>
                <a:gd name="T30" fmla="*/ 4 w 158"/>
                <a:gd name="T31" fmla="*/ 12 h 46"/>
                <a:gd name="T32" fmla="*/ 4 w 158"/>
                <a:gd name="T33" fmla="*/ 11 h 46"/>
                <a:gd name="T34" fmla="*/ 4 w 158"/>
                <a:gd name="T35" fmla="*/ 11 h 46"/>
                <a:gd name="T36" fmla="*/ 4 w 158"/>
                <a:gd name="T37" fmla="*/ 11 h 46"/>
                <a:gd name="T38" fmla="*/ 4 w 158"/>
                <a:gd name="T39" fmla="*/ 11 h 46"/>
                <a:gd name="T40" fmla="*/ 4 w 158"/>
                <a:gd name="T41" fmla="*/ 11 h 46"/>
                <a:gd name="T42" fmla="*/ 3 w 158"/>
                <a:gd name="T43" fmla="*/ 10 h 46"/>
                <a:gd name="T44" fmla="*/ 3 w 158"/>
                <a:gd name="T45" fmla="*/ 10 h 46"/>
                <a:gd name="T46" fmla="*/ 3 w 158"/>
                <a:gd name="T47" fmla="*/ 10 h 46"/>
                <a:gd name="T48" fmla="*/ 3 w 158"/>
                <a:gd name="T49" fmla="*/ 10 h 46"/>
                <a:gd name="T50" fmla="*/ 3 w 158"/>
                <a:gd name="T51" fmla="*/ 10 h 46"/>
                <a:gd name="T52" fmla="*/ 3 w 158"/>
                <a:gd name="T53" fmla="*/ 9 h 46"/>
                <a:gd name="T54" fmla="*/ 3 w 158"/>
                <a:gd name="T55" fmla="*/ 9 h 46"/>
                <a:gd name="T56" fmla="*/ 3 w 158"/>
                <a:gd name="T57" fmla="*/ 9 h 46"/>
                <a:gd name="T58" fmla="*/ 3 w 158"/>
                <a:gd name="T59" fmla="*/ 9 h 46"/>
                <a:gd name="T60" fmla="*/ 3 w 158"/>
                <a:gd name="T61" fmla="*/ 9 h 46"/>
                <a:gd name="T62" fmla="*/ 3 w 158"/>
                <a:gd name="T63" fmla="*/ 9 h 46"/>
                <a:gd name="T64" fmla="*/ 3 w 158"/>
                <a:gd name="T65" fmla="*/ 8 h 46"/>
                <a:gd name="T66" fmla="*/ 2 w 158"/>
                <a:gd name="T67" fmla="*/ 8 h 46"/>
                <a:gd name="T68" fmla="*/ 2 w 158"/>
                <a:gd name="T69" fmla="*/ 8 h 46"/>
                <a:gd name="T70" fmla="*/ 2 w 158"/>
                <a:gd name="T71" fmla="*/ 8 h 46"/>
                <a:gd name="T72" fmla="*/ 2 w 158"/>
                <a:gd name="T73" fmla="*/ 8 h 46"/>
                <a:gd name="T74" fmla="*/ 2 w 158"/>
                <a:gd name="T75" fmla="*/ 7 h 46"/>
                <a:gd name="T76" fmla="*/ 2 w 158"/>
                <a:gd name="T77" fmla="*/ 7 h 46"/>
                <a:gd name="T78" fmla="*/ 2 w 158"/>
                <a:gd name="T79" fmla="*/ 7 h 46"/>
                <a:gd name="T80" fmla="*/ 2 w 158"/>
                <a:gd name="T81" fmla="*/ 7 h 46"/>
                <a:gd name="T82" fmla="*/ 2 w 158"/>
                <a:gd name="T83" fmla="*/ 7 h 46"/>
                <a:gd name="T84" fmla="*/ 2 w 158"/>
                <a:gd name="T85" fmla="*/ 6 h 46"/>
                <a:gd name="T86" fmla="*/ 2 w 158"/>
                <a:gd name="T87" fmla="*/ 6 h 46"/>
                <a:gd name="T88" fmla="*/ 1 w 158"/>
                <a:gd name="T89" fmla="*/ 6 h 46"/>
                <a:gd name="T90" fmla="*/ 1 w 158"/>
                <a:gd name="T91" fmla="*/ 6 h 46"/>
                <a:gd name="T92" fmla="*/ 1 w 158"/>
                <a:gd name="T93" fmla="*/ 6 h 46"/>
                <a:gd name="T94" fmla="*/ 1 w 158"/>
                <a:gd name="T95" fmla="*/ 6 h 46"/>
                <a:gd name="T96" fmla="*/ 1 w 158"/>
                <a:gd name="T97" fmla="*/ 5 h 46"/>
                <a:gd name="T98" fmla="*/ 1 w 158"/>
                <a:gd name="T99" fmla="*/ 5 h 46"/>
                <a:gd name="T100" fmla="*/ 1 w 158"/>
                <a:gd name="T101" fmla="*/ 5 h 46"/>
                <a:gd name="T102" fmla="*/ 1 w 158"/>
                <a:gd name="T103" fmla="*/ 5 h 46"/>
                <a:gd name="T104" fmla="*/ 1 w 158"/>
                <a:gd name="T105" fmla="*/ 5 h 46"/>
                <a:gd name="T106" fmla="*/ 1 w 158"/>
                <a:gd name="T107" fmla="*/ 4 h 46"/>
                <a:gd name="T108" fmla="*/ 1 w 158"/>
                <a:gd name="T109" fmla="*/ 4 h 46"/>
                <a:gd name="T110" fmla="*/ 0 w 158"/>
                <a:gd name="T111" fmla="*/ 4 h 46"/>
                <a:gd name="T112" fmla="*/ 0 w 158"/>
                <a:gd name="T113" fmla="*/ 4 h 46"/>
                <a:gd name="T114" fmla="*/ 0 w 158"/>
                <a:gd name="T115" fmla="*/ 3 h 46"/>
                <a:gd name="T116" fmla="*/ 0 w 158"/>
                <a:gd name="T117" fmla="*/ 3 h 46"/>
                <a:gd name="T118" fmla="*/ 158 w 158"/>
                <a:gd name="T119" fmla="*/ 0 h 46"/>
                <a:gd name="T120" fmla="*/ 158 w 158"/>
                <a:gd name="T1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 h="46">
                  <a:moveTo>
                    <a:pt x="5" y="14"/>
                  </a:moveTo>
                  <a:cubicBezTo>
                    <a:pt x="9" y="24"/>
                    <a:pt x="12" y="35"/>
                    <a:pt x="12" y="46"/>
                  </a:cubicBezTo>
                  <a:cubicBezTo>
                    <a:pt x="12" y="46"/>
                    <a:pt x="12" y="46"/>
                    <a:pt x="12" y="46"/>
                  </a:cubicBezTo>
                  <a:cubicBezTo>
                    <a:pt x="12" y="35"/>
                    <a:pt x="9" y="24"/>
                    <a:pt x="5" y="14"/>
                  </a:cubicBezTo>
                  <a:moveTo>
                    <a:pt x="5" y="14"/>
                  </a:moveTo>
                  <a:cubicBezTo>
                    <a:pt x="5" y="14"/>
                    <a:pt x="5" y="14"/>
                    <a:pt x="5" y="14"/>
                  </a:cubicBezTo>
                  <a:cubicBezTo>
                    <a:pt x="5" y="14"/>
                    <a:pt x="5" y="14"/>
                    <a:pt x="5" y="14"/>
                  </a:cubicBezTo>
                  <a:moveTo>
                    <a:pt x="5" y="14"/>
                  </a:moveTo>
                  <a:cubicBezTo>
                    <a:pt x="5" y="14"/>
                    <a:pt x="5" y="14"/>
                    <a:pt x="5" y="14"/>
                  </a:cubicBezTo>
                  <a:cubicBezTo>
                    <a:pt x="5" y="14"/>
                    <a:pt x="5" y="14"/>
                    <a:pt x="5" y="14"/>
                  </a:cubicBezTo>
                  <a:moveTo>
                    <a:pt x="5" y="14"/>
                  </a:moveTo>
                  <a:cubicBezTo>
                    <a:pt x="5" y="14"/>
                    <a:pt x="5" y="14"/>
                    <a:pt x="5" y="14"/>
                  </a:cubicBezTo>
                  <a:cubicBezTo>
                    <a:pt x="5" y="14"/>
                    <a:pt x="5" y="14"/>
                    <a:pt x="5" y="14"/>
                  </a:cubicBezTo>
                  <a:moveTo>
                    <a:pt x="5" y="14"/>
                  </a:moveTo>
                  <a:cubicBezTo>
                    <a:pt x="5" y="14"/>
                    <a:pt x="5" y="14"/>
                    <a:pt x="5" y="14"/>
                  </a:cubicBezTo>
                  <a:cubicBezTo>
                    <a:pt x="5" y="14"/>
                    <a:pt x="5" y="14"/>
                    <a:pt x="5" y="14"/>
                  </a:cubicBezTo>
                  <a:moveTo>
                    <a:pt x="5" y="13"/>
                  </a:moveTo>
                  <a:cubicBezTo>
                    <a:pt x="5" y="13"/>
                    <a:pt x="5" y="13"/>
                    <a:pt x="5" y="13"/>
                  </a:cubicBezTo>
                  <a:cubicBezTo>
                    <a:pt x="5" y="13"/>
                    <a:pt x="5" y="13"/>
                    <a:pt x="5" y="13"/>
                  </a:cubicBezTo>
                  <a:moveTo>
                    <a:pt x="5" y="13"/>
                  </a:moveTo>
                  <a:cubicBezTo>
                    <a:pt x="5" y="13"/>
                    <a:pt x="5" y="13"/>
                    <a:pt x="5" y="13"/>
                  </a:cubicBezTo>
                  <a:cubicBezTo>
                    <a:pt x="5" y="13"/>
                    <a:pt x="5" y="13"/>
                    <a:pt x="5" y="13"/>
                  </a:cubicBezTo>
                  <a:moveTo>
                    <a:pt x="5" y="13"/>
                  </a:moveTo>
                  <a:cubicBezTo>
                    <a:pt x="5" y="13"/>
                    <a:pt x="5" y="13"/>
                    <a:pt x="5" y="13"/>
                  </a:cubicBezTo>
                  <a:cubicBezTo>
                    <a:pt x="5" y="13"/>
                    <a:pt x="5" y="13"/>
                    <a:pt x="5" y="13"/>
                  </a:cubicBezTo>
                  <a:moveTo>
                    <a:pt x="4" y="13"/>
                  </a:moveTo>
                  <a:cubicBezTo>
                    <a:pt x="4" y="13"/>
                    <a:pt x="4" y="13"/>
                    <a:pt x="4" y="13"/>
                  </a:cubicBezTo>
                  <a:cubicBezTo>
                    <a:pt x="4" y="13"/>
                    <a:pt x="4" y="13"/>
                    <a:pt x="4" y="13"/>
                  </a:cubicBezTo>
                  <a:moveTo>
                    <a:pt x="4" y="13"/>
                  </a:moveTo>
                  <a:cubicBezTo>
                    <a:pt x="4" y="13"/>
                    <a:pt x="4" y="13"/>
                    <a:pt x="4" y="13"/>
                  </a:cubicBezTo>
                  <a:cubicBezTo>
                    <a:pt x="4" y="13"/>
                    <a:pt x="4" y="13"/>
                    <a:pt x="4" y="13"/>
                  </a:cubicBezTo>
                  <a:moveTo>
                    <a:pt x="4" y="12"/>
                  </a:moveTo>
                  <a:cubicBezTo>
                    <a:pt x="4" y="12"/>
                    <a:pt x="4" y="12"/>
                    <a:pt x="4" y="13"/>
                  </a:cubicBezTo>
                  <a:cubicBezTo>
                    <a:pt x="4" y="12"/>
                    <a:pt x="4" y="12"/>
                    <a:pt x="4" y="12"/>
                  </a:cubicBezTo>
                  <a:moveTo>
                    <a:pt x="4" y="12"/>
                  </a:moveTo>
                  <a:cubicBezTo>
                    <a:pt x="4" y="12"/>
                    <a:pt x="4" y="12"/>
                    <a:pt x="4" y="12"/>
                  </a:cubicBezTo>
                  <a:cubicBezTo>
                    <a:pt x="4" y="12"/>
                    <a:pt x="4" y="12"/>
                    <a:pt x="4" y="12"/>
                  </a:cubicBezTo>
                  <a:moveTo>
                    <a:pt x="4" y="12"/>
                  </a:moveTo>
                  <a:cubicBezTo>
                    <a:pt x="4" y="12"/>
                    <a:pt x="4" y="12"/>
                    <a:pt x="4" y="12"/>
                  </a:cubicBezTo>
                  <a:cubicBezTo>
                    <a:pt x="4" y="12"/>
                    <a:pt x="4" y="12"/>
                    <a:pt x="4" y="12"/>
                  </a:cubicBezTo>
                  <a:moveTo>
                    <a:pt x="4" y="12"/>
                  </a:moveTo>
                  <a:cubicBezTo>
                    <a:pt x="4" y="12"/>
                    <a:pt x="4" y="12"/>
                    <a:pt x="4" y="12"/>
                  </a:cubicBezTo>
                  <a:cubicBezTo>
                    <a:pt x="4" y="12"/>
                    <a:pt x="4" y="12"/>
                    <a:pt x="4" y="12"/>
                  </a:cubicBezTo>
                  <a:moveTo>
                    <a:pt x="4" y="12"/>
                  </a:moveTo>
                  <a:cubicBezTo>
                    <a:pt x="4" y="12"/>
                    <a:pt x="4" y="12"/>
                    <a:pt x="4" y="12"/>
                  </a:cubicBezTo>
                  <a:cubicBezTo>
                    <a:pt x="4" y="12"/>
                    <a:pt x="4" y="12"/>
                    <a:pt x="4" y="12"/>
                  </a:cubicBezTo>
                  <a:moveTo>
                    <a:pt x="4" y="11"/>
                  </a:moveTo>
                  <a:cubicBezTo>
                    <a:pt x="4" y="11"/>
                    <a:pt x="4" y="12"/>
                    <a:pt x="4" y="12"/>
                  </a:cubicBezTo>
                  <a:cubicBezTo>
                    <a:pt x="4" y="12"/>
                    <a:pt x="4" y="11"/>
                    <a:pt x="4" y="11"/>
                  </a:cubicBezTo>
                  <a:moveTo>
                    <a:pt x="4" y="11"/>
                  </a:moveTo>
                  <a:cubicBezTo>
                    <a:pt x="4" y="11"/>
                    <a:pt x="4" y="11"/>
                    <a:pt x="4" y="11"/>
                  </a:cubicBezTo>
                  <a:cubicBezTo>
                    <a:pt x="4" y="11"/>
                    <a:pt x="4" y="11"/>
                    <a:pt x="4" y="11"/>
                  </a:cubicBezTo>
                  <a:moveTo>
                    <a:pt x="4" y="11"/>
                  </a:moveTo>
                  <a:cubicBezTo>
                    <a:pt x="4" y="11"/>
                    <a:pt x="4" y="11"/>
                    <a:pt x="4" y="11"/>
                  </a:cubicBezTo>
                  <a:cubicBezTo>
                    <a:pt x="4" y="11"/>
                    <a:pt x="4" y="11"/>
                    <a:pt x="4" y="11"/>
                  </a:cubicBezTo>
                  <a:moveTo>
                    <a:pt x="4" y="11"/>
                  </a:moveTo>
                  <a:cubicBezTo>
                    <a:pt x="4" y="11"/>
                    <a:pt x="4" y="11"/>
                    <a:pt x="4" y="11"/>
                  </a:cubicBezTo>
                  <a:cubicBezTo>
                    <a:pt x="4" y="11"/>
                    <a:pt x="4" y="11"/>
                    <a:pt x="4" y="11"/>
                  </a:cubicBezTo>
                  <a:moveTo>
                    <a:pt x="4" y="11"/>
                  </a:moveTo>
                  <a:cubicBezTo>
                    <a:pt x="4" y="11"/>
                    <a:pt x="4" y="11"/>
                    <a:pt x="4" y="11"/>
                  </a:cubicBezTo>
                  <a:cubicBezTo>
                    <a:pt x="4" y="11"/>
                    <a:pt x="4" y="11"/>
                    <a:pt x="4" y="11"/>
                  </a:cubicBezTo>
                  <a:moveTo>
                    <a:pt x="3" y="10"/>
                  </a:moveTo>
                  <a:cubicBezTo>
                    <a:pt x="3" y="11"/>
                    <a:pt x="3" y="11"/>
                    <a:pt x="4" y="11"/>
                  </a:cubicBezTo>
                  <a:cubicBezTo>
                    <a:pt x="4" y="11"/>
                    <a:pt x="3" y="11"/>
                    <a:pt x="3" y="10"/>
                  </a:cubicBezTo>
                  <a:moveTo>
                    <a:pt x="3" y="10"/>
                  </a:moveTo>
                  <a:cubicBezTo>
                    <a:pt x="3" y="10"/>
                    <a:pt x="3" y="10"/>
                    <a:pt x="3" y="10"/>
                  </a:cubicBezTo>
                  <a:cubicBezTo>
                    <a:pt x="3" y="10"/>
                    <a:pt x="3" y="10"/>
                    <a:pt x="3" y="10"/>
                  </a:cubicBezTo>
                  <a:moveTo>
                    <a:pt x="3" y="10"/>
                  </a:moveTo>
                  <a:cubicBezTo>
                    <a:pt x="3" y="10"/>
                    <a:pt x="3" y="10"/>
                    <a:pt x="3" y="10"/>
                  </a:cubicBezTo>
                  <a:cubicBezTo>
                    <a:pt x="3" y="10"/>
                    <a:pt x="3" y="10"/>
                    <a:pt x="3" y="10"/>
                  </a:cubicBezTo>
                  <a:moveTo>
                    <a:pt x="3" y="10"/>
                  </a:moveTo>
                  <a:cubicBezTo>
                    <a:pt x="3" y="10"/>
                    <a:pt x="3" y="10"/>
                    <a:pt x="3" y="10"/>
                  </a:cubicBezTo>
                  <a:cubicBezTo>
                    <a:pt x="3" y="10"/>
                    <a:pt x="3" y="10"/>
                    <a:pt x="3" y="10"/>
                  </a:cubicBezTo>
                  <a:moveTo>
                    <a:pt x="3" y="10"/>
                  </a:moveTo>
                  <a:cubicBezTo>
                    <a:pt x="3" y="10"/>
                    <a:pt x="3" y="10"/>
                    <a:pt x="3" y="10"/>
                  </a:cubicBezTo>
                  <a:cubicBezTo>
                    <a:pt x="3" y="10"/>
                    <a:pt x="3" y="10"/>
                    <a:pt x="3" y="10"/>
                  </a:cubicBezTo>
                  <a:moveTo>
                    <a:pt x="3" y="10"/>
                  </a:moveTo>
                  <a:cubicBezTo>
                    <a:pt x="3" y="10"/>
                    <a:pt x="3" y="10"/>
                    <a:pt x="3" y="10"/>
                  </a:cubicBezTo>
                  <a:cubicBezTo>
                    <a:pt x="3" y="10"/>
                    <a:pt x="3" y="10"/>
                    <a:pt x="3" y="10"/>
                  </a:cubicBezTo>
                  <a:moveTo>
                    <a:pt x="3" y="9"/>
                  </a:moveTo>
                  <a:cubicBezTo>
                    <a:pt x="3" y="9"/>
                    <a:pt x="3" y="9"/>
                    <a:pt x="3" y="9"/>
                  </a:cubicBezTo>
                  <a:cubicBezTo>
                    <a:pt x="3" y="9"/>
                    <a:pt x="3" y="9"/>
                    <a:pt x="3" y="9"/>
                  </a:cubicBezTo>
                  <a:moveTo>
                    <a:pt x="3" y="9"/>
                  </a:moveTo>
                  <a:cubicBezTo>
                    <a:pt x="3" y="9"/>
                    <a:pt x="3" y="9"/>
                    <a:pt x="3" y="9"/>
                  </a:cubicBezTo>
                  <a:cubicBezTo>
                    <a:pt x="3" y="9"/>
                    <a:pt x="3" y="9"/>
                    <a:pt x="3" y="9"/>
                  </a:cubicBezTo>
                  <a:moveTo>
                    <a:pt x="3" y="9"/>
                  </a:moveTo>
                  <a:cubicBezTo>
                    <a:pt x="3" y="9"/>
                    <a:pt x="3" y="9"/>
                    <a:pt x="3" y="9"/>
                  </a:cubicBezTo>
                  <a:cubicBezTo>
                    <a:pt x="3" y="9"/>
                    <a:pt x="3" y="9"/>
                    <a:pt x="3" y="9"/>
                  </a:cubicBezTo>
                  <a:moveTo>
                    <a:pt x="3" y="9"/>
                  </a:moveTo>
                  <a:cubicBezTo>
                    <a:pt x="3" y="9"/>
                    <a:pt x="3" y="9"/>
                    <a:pt x="3" y="9"/>
                  </a:cubicBezTo>
                  <a:cubicBezTo>
                    <a:pt x="3" y="9"/>
                    <a:pt x="3" y="9"/>
                    <a:pt x="3" y="9"/>
                  </a:cubicBezTo>
                  <a:moveTo>
                    <a:pt x="3" y="9"/>
                  </a:moveTo>
                  <a:cubicBezTo>
                    <a:pt x="3" y="9"/>
                    <a:pt x="3" y="9"/>
                    <a:pt x="3" y="9"/>
                  </a:cubicBezTo>
                  <a:cubicBezTo>
                    <a:pt x="3" y="9"/>
                    <a:pt x="3" y="9"/>
                    <a:pt x="3" y="9"/>
                  </a:cubicBezTo>
                  <a:moveTo>
                    <a:pt x="3" y="8"/>
                  </a:moveTo>
                  <a:cubicBezTo>
                    <a:pt x="3" y="8"/>
                    <a:pt x="3" y="8"/>
                    <a:pt x="3" y="9"/>
                  </a:cubicBezTo>
                  <a:cubicBezTo>
                    <a:pt x="3" y="8"/>
                    <a:pt x="3" y="8"/>
                    <a:pt x="3" y="8"/>
                  </a:cubicBezTo>
                  <a:moveTo>
                    <a:pt x="2" y="8"/>
                  </a:moveTo>
                  <a:cubicBezTo>
                    <a:pt x="2" y="8"/>
                    <a:pt x="2" y="8"/>
                    <a:pt x="3" y="8"/>
                  </a:cubicBezTo>
                  <a:cubicBezTo>
                    <a:pt x="2" y="8"/>
                    <a:pt x="2" y="8"/>
                    <a:pt x="2" y="8"/>
                  </a:cubicBezTo>
                  <a:moveTo>
                    <a:pt x="2" y="8"/>
                  </a:moveTo>
                  <a:cubicBezTo>
                    <a:pt x="2" y="8"/>
                    <a:pt x="2" y="8"/>
                    <a:pt x="2" y="8"/>
                  </a:cubicBezTo>
                  <a:cubicBezTo>
                    <a:pt x="2" y="8"/>
                    <a:pt x="2" y="8"/>
                    <a:pt x="2" y="8"/>
                  </a:cubicBezTo>
                  <a:moveTo>
                    <a:pt x="2" y="8"/>
                  </a:moveTo>
                  <a:cubicBezTo>
                    <a:pt x="2" y="8"/>
                    <a:pt x="2" y="8"/>
                    <a:pt x="2" y="8"/>
                  </a:cubicBezTo>
                  <a:cubicBezTo>
                    <a:pt x="2" y="8"/>
                    <a:pt x="2" y="8"/>
                    <a:pt x="2" y="8"/>
                  </a:cubicBezTo>
                  <a:moveTo>
                    <a:pt x="2" y="8"/>
                  </a:moveTo>
                  <a:cubicBezTo>
                    <a:pt x="2" y="8"/>
                    <a:pt x="2" y="8"/>
                    <a:pt x="2" y="8"/>
                  </a:cubicBezTo>
                  <a:cubicBezTo>
                    <a:pt x="2" y="8"/>
                    <a:pt x="2" y="8"/>
                    <a:pt x="2" y="8"/>
                  </a:cubicBezTo>
                  <a:moveTo>
                    <a:pt x="2" y="8"/>
                  </a:moveTo>
                  <a:cubicBezTo>
                    <a:pt x="2" y="8"/>
                    <a:pt x="2" y="8"/>
                    <a:pt x="2" y="8"/>
                  </a:cubicBezTo>
                  <a:cubicBezTo>
                    <a:pt x="2" y="8"/>
                    <a:pt x="2" y="8"/>
                    <a:pt x="2" y="8"/>
                  </a:cubicBezTo>
                  <a:moveTo>
                    <a:pt x="2" y="7"/>
                  </a:moveTo>
                  <a:cubicBezTo>
                    <a:pt x="2" y="7"/>
                    <a:pt x="2" y="7"/>
                    <a:pt x="2" y="7"/>
                  </a:cubicBezTo>
                  <a:cubicBezTo>
                    <a:pt x="2" y="7"/>
                    <a:pt x="2" y="7"/>
                    <a:pt x="2" y="7"/>
                  </a:cubicBezTo>
                  <a:moveTo>
                    <a:pt x="2" y="7"/>
                  </a:moveTo>
                  <a:cubicBezTo>
                    <a:pt x="2" y="7"/>
                    <a:pt x="2" y="7"/>
                    <a:pt x="2" y="7"/>
                  </a:cubicBezTo>
                  <a:cubicBezTo>
                    <a:pt x="2" y="7"/>
                    <a:pt x="2" y="7"/>
                    <a:pt x="2" y="7"/>
                  </a:cubicBezTo>
                  <a:moveTo>
                    <a:pt x="2" y="7"/>
                  </a:moveTo>
                  <a:cubicBezTo>
                    <a:pt x="2" y="7"/>
                    <a:pt x="2" y="7"/>
                    <a:pt x="2" y="7"/>
                  </a:cubicBezTo>
                  <a:cubicBezTo>
                    <a:pt x="2" y="7"/>
                    <a:pt x="2" y="7"/>
                    <a:pt x="2" y="7"/>
                  </a:cubicBezTo>
                  <a:moveTo>
                    <a:pt x="2" y="7"/>
                  </a:moveTo>
                  <a:cubicBezTo>
                    <a:pt x="2" y="7"/>
                    <a:pt x="2" y="7"/>
                    <a:pt x="2" y="7"/>
                  </a:cubicBezTo>
                  <a:cubicBezTo>
                    <a:pt x="2" y="7"/>
                    <a:pt x="2" y="7"/>
                    <a:pt x="2" y="7"/>
                  </a:cubicBezTo>
                  <a:moveTo>
                    <a:pt x="2" y="7"/>
                  </a:moveTo>
                  <a:cubicBezTo>
                    <a:pt x="2" y="7"/>
                    <a:pt x="2" y="7"/>
                    <a:pt x="2" y="7"/>
                  </a:cubicBezTo>
                  <a:cubicBezTo>
                    <a:pt x="2" y="7"/>
                    <a:pt x="2" y="7"/>
                    <a:pt x="2" y="7"/>
                  </a:cubicBezTo>
                  <a:moveTo>
                    <a:pt x="2" y="6"/>
                  </a:moveTo>
                  <a:cubicBezTo>
                    <a:pt x="2" y="6"/>
                    <a:pt x="2" y="6"/>
                    <a:pt x="2" y="6"/>
                  </a:cubicBezTo>
                  <a:cubicBezTo>
                    <a:pt x="2" y="6"/>
                    <a:pt x="2" y="6"/>
                    <a:pt x="2" y="6"/>
                  </a:cubicBezTo>
                  <a:moveTo>
                    <a:pt x="2" y="6"/>
                  </a:moveTo>
                  <a:cubicBezTo>
                    <a:pt x="2" y="6"/>
                    <a:pt x="2" y="6"/>
                    <a:pt x="2" y="6"/>
                  </a:cubicBezTo>
                  <a:cubicBezTo>
                    <a:pt x="2" y="6"/>
                    <a:pt x="2" y="6"/>
                    <a:pt x="2"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158" y="0"/>
                  </a:moveTo>
                  <a:cubicBezTo>
                    <a:pt x="158" y="0"/>
                    <a:pt x="158" y="0"/>
                    <a:pt x="158" y="0"/>
                  </a:cubicBezTo>
                  <a:cubicBezTo>
                    <a:pt x="151" y="14"/>
                    <a:pt x="144" y="30"/>
                    <a:pt x="145" y="46"/>
                  </a:cubicBezTo>
                  <a:cubicBezTo>
                    <a:pt x="145" y="46"/>
                    <a:pt x="145" y="46"/>
                    <a:pt x="145" y="46"/>
                  </a:cubicBezTo>
                  <a:cubicBezTo>
                    <a:pt x="144" y="30"/>
                    <a:pt x="151" y="14"/>
                    <a:pt x="158" y="0"/>
                  </a:cubicBezTo>
                </a:path>
              </a:pathLst>
            </a:custGeom>
            <a:solidFill>
              <a:srgbClr val="0B9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 name="î$ľïḍe">
              <a:extLst>
                <a:ext uri="{FF2B5EF4-FFF2-40B4-BE49-F238E27FC236}">
                  <a16:creationId xmlns:a16="http://schemas.microsoft.com/office/drawing/2014/main" id="{C5710026-ED9E-488D-9BFB-BC15D52DEFF2}"/>
                </a:ext>
              </a:extLst>
            </p:cNvPr>
            <p:cNvSpPr/>
            <p:nvPr/>
          </p:nvSpPr>
          <p:spPr bwMode="auto">
            <a:xfrm>
              <a:off x="5689601" y="2735263"/>
              <a:ext cx="509588" cy="7938"/>
            </a:xfrm>
            <a:custGeom>
              <a:avLst/>
              <a:gdLst>
                <a:gd name="T0" fmla="*/ 0 w 133"/>
                <a:gd name="T1" fmla="*/ 0 h 2"/>
                <a:gd name="T2" fmla="*/ 0 w 133"/>
                <a:gd name="T3" fmla="*/ 0 h 2"/>
                <a:gd name="T4" fmla="*/ 0 w 133"/>
                <a:gd name="T5" fmla="*/ 1 h 2"/>
                <a:gd name="T6" fmla="*/ 0 w 133"/>
                <a:gd name="T7" fmla="*/ 1 h 2"/>
                <a:gd name="T8" fmla="*/ 0 w 133"/>
                <a:gd name="T9" fmla="*/ 0 h 2"/>
                <a:gd name="T10" fmla="*/ 133 w 133"/>
                <a:gd name="T11" fmla="*/ 0 h 2"/>
                <a:gd name="T12" fmla="*/ 133 w 133"/>
                <a:gd name="T13" fmla="*/ 2 h 2"/>
                <a:gd name="T14" fmla="*/ 133 w 133"/>
                <a:gd name="T15" fmla="*/ 1 h 2"/>
                <a:gd name="T16" fmla="*/ 133 w 133"/>
                <a:gd name="T17" fmla="*/ 0 h 2"/>
                <a:gd name="T18" fmla="*/ 133 w 13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
                  <a:moveTo>
                    <a:pt x="0" y="0"/>
                  </a:moveTo>
                  <a:cubicBezTo>
                    <a:pt x="0" y="0"/>
                    <a:pt x="0" y="0"/>
                    <a:pt x="0" y="0"/>
                  </a:cubicBezTo>
                  <a:cubicBezTo>
                    <a:pt x="0" y="0"/>
                    <a:pt x="0" y="1"/>
                    <a:pt x="0" y="1"/>
                  </a:cubicBezTo>
                  <a:cubicBezTo>
                    <a:pt x="0" y="1"/>
                    <a:pt x="0" y="1"/>
                    <a:pt x="0" y="1"/>
                  </a:cubicBezTo>
                  <a:cubicBezTo>
                    <a:pt x="0" y="1"/>
                    <a:pt x="0" y="0"/>
                    <a:pt x="0" y="0"/>
                  </a:cubicBezTo>
                  <a:moveTo>
                    <a:pt x="133" y="0"/>
                  </a:moveTo>
                  <a:cubicBezTo>
                    <a:pt x="133" y="0"/>
                    <a:pt x="133" y="1"/>
                    <a:pt x="133" y="2"/>
                  </a:cubicBezTo>
                  <a:cubicBezTo>
                    <a:pt x="133" y="2"/>
                    <a:pt x="133" y="1"/>
                    <a:pt x="133" y="1"/>
                  </a:cubicBezTo>
                  <a:cubicBezTo>
                    <a:pt x="133" y="1"/>
                    <a:pt x="133" y="0"/>
                    <a:pt x="133" y="0"/>
                  </a:cubicBezTo>
                  <a:cubicBezTo>
                    <a:pt x="133" y="0"/>
                    <a:pt x="133" y="0"/>
                    <a:pt x="133" y="0"/>
                  </a:cubicBezTo>
                </a:path>
              </a:pathLst>
            </a:custGeom>
            <a:solidFill>
              <a:srgbClr val="332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iśḷïḓê">
              <a:extLst>
                <a:ext uri="{FF2B5EF4-FFF2-40B4-BE49-F238E27FC236}">
                  <a16:creationId xmlns:a16="http://schemas.microsoft.com/office/drawing/2014/main" id="{CCD1C828-857A-4839-B5EB-AA0722E473EE}"/>
                </a:ext>
              </a:extLst>
            </p:cNvPr>
            <p:cNvSpPr/>
            <p:nvPr/>
          </p:nvSpPr>
          <p:spPr bwMode="auto">
            <a:xfrm>
              <a:off x="5222876" y="1162050"/>
              <a:ext cx="1027113" cy="1614488"/>
            </a:xfrm>
            <a:custGeom>
              <a:avLst/>
              <a:gdLst>
                <a:gd name="T0" fmla="*/ 255 w 268"/>
                <a:gd name="T1" fmla="*/ 413 h 422"/>
                <a:gd name="T2" fmla="*/ 236 w 268"/>
                <a:gd name="T3" fmla="*/ 365 h 422"/>
                <a:gd name="T4" fmla="*/ 163 w 268"/>
                <a:gd name="T5" fmla="*/ 422 h 422"/>
                <a:gd name="T6" fmla="*/ 218 w 268"/>
                <a:gd name="T7" fmla="*/ 361 h 422"/>
                <a:gd name="T8" fmla="*/ 1 w 268"/>
                <a:gd name="T9" fmla="*/ 146 h 422"/>
                <a:gd name="T10" fmla="*/ 1 w 268"/>
                <a:gd name="T11" fmla="*/ 147 h 422"/>
                <a:gd name="T12" fmla="*/ 1 w 268"/>
                <a:gd name="T13" fmla="*/ 148 h 422"/>
                <a:gd name="T14" fmla="*/ 1 w 268"/>
                <a:gd name="T15" fmla="*/ 149 h 422"/>
                <a:gd name="T16" fmla="*/ 1 w 268"/>
                <a:gd name="T17" fmla="*/ 149 h 422"/>
                <a:gd name="T18" fmla="*/ 91 w 268"/>
                <a:gd name="T19" fmla="*/ 339 h 422"/>
                <a:gd name="T20" fmla="*/ 91 w 268"/>
                <a:gd name="T21" fmla="*/ 339 h 422"/>
                <a:gd name="T22" fmla="*/ 92 w 268"/>
                <a:gd name="T23" fmla="*/ 339 h 422"/>
                <a:gd name="T24" fmla="*/ 92 w 268"/>
                <a:gd name="T25" fmla="*/ 339 h 422"/>
                <a:gd name="T26" fmla="*/ 92 w 268"/>
                <a:gd name="T27" fmla="*/ 339 h 422"/>
                <a:gd name="T28" fmla="*/ 92 w 268"/>
                <a:gd name="T29" fmla="*/ 339 h 422"/>
                <a:gd name="T30" fmla="*/ 92 w 268"/>
                <a:gd name="T31" fmla="*/ 339 h 422"/>
                <a:gd name="T32" fmla="*/ 92 w 268"/>
                <a:gd name="T33" fmla="*/ 339 h 422"/>
                <a:gd name="T34" fmla="*/ 92 w 268"/>
                <a:gd name="T35" fmla="*/ 340 h 422"/>
                <a:gd name="T36" fmla="*/ 110 w 268"/>
                <a:gd name="T37" fmla="*/ 368 h 422"/>
                <a:gd name="T38" fmla="*/ 110 w 268"/>
                <a:gd name="T39" fmla="*/ 369 h 422"/>
                <a:gd name="T40" fmla="*/ 111 w 268"/>
                <a:gd name="T41" fmla="*/ 369 h 422"/>
                <a:gd name="T42" fmla="*/ 111 w 268"/>
                <a:gd name="T43" fmla="*/ 370 h 422"/>
                <a:gd name="T44" fmla="*/ 111 w 268"/>
                <a:gd name="T45" fmla="*/ 370 h 422"/>
                <a:gd name="T46" fmla="*/ 111 w 268"/>
                <a:gd name="T47" fmla="*/ 371 h 422"/>
                <a:gd name="T48" fmla="*/ 111 w 268"/>
                <a:gd name="T49" fmla="*/ 371 h 422"/>
                <a:gd name="T50" fmla="*/ 112 w 268"/>
                <a:gd name="T51" fmla="*/ 371 h 422"/>
                <a:gd name="T52" fmla="*/ 112 w 268"/>
                <a:gd name="T53" fmla="*/ 372 h 422"/>
                <a:gd name="T54" fmla="*/ 112 w 268"/>
                <a:gd name="T55" fmla="*/ 372 h 422"/>
                <a:gd name="T56" fmla="*/ 112 w 268"/>
                <a:gd name="T57" fmla="*/ 372 h 422"/>
                <a:gd name="T58" fmla="*/ 112 w 268"/>
                <a:gd name="T59" fmla="*/ 373 h 422"/>
                <a:gd name="T60" fmla="*/ 112 w 268"/>
                <a:gd name="T61" fmla="*/ 373 h 422"/>
                <a:gd name="T62" fmla="*/ 113 w 268"/>
                <a:gd name="T63" fmla="*/ 374 h 422"/>
                <a:gd name="T64" fmla="*/ 113 w 268"/>
                <a:gd name="T65" fmla="*/ 374 h 422"/>
                <a:gd name="T66" fmla="*/ 113 w 268"/>
                <a:gd name="T67" fmla="*/ 374 h 422"/>
                <a:gd name="T68" fmla="*/ 113 w 268"/>
                <a:gd name="T69" fmla="*/ 375 h 422"/>
                <a:gd name="T70" fmla="*/ 113 w 268"/>
                <a:gd name="T71" fmla="*/ 375 h 422"/>
                <a:gd name="T72" fmla="*/ 113 w 268"/>
                <a:gd name="T73" fmla="*/ 375 h 422"/>
                <a:gd name="T74" fmla="*/ 114 w 268"/>
                <a:gd name="T75" fmla="*/ 376 h 422"/>
                <a:gd name="T76" fmla="*/ 114 w 268"/>
                <a:gd name="T77" fmla="*/ 376 h 422"/>
                <a:gd name="T78" fmla="*/ 114 w 268"/>
                <a:gd name="T79" fmla="*/ 377 h 422"/>
                <a:gd name="T80" fmla="*/ 114 w 268"/>
                <a:gd name="T81" fmla="*/ 377 h 422"/>
                <a:gd name="T82" fmla="*/ 114 w 268"/>
                <a:gd name="T83" fmla="*/ 377 h 422"/>
                <a:gd name="T84" fmla="*/ 114 w 268"/>
                <a:gd name="T85" fmla="*/ 378 h 422"/>
                <a:gd name="T86" fmla="*/ 115 w 268"/>
                <a:gd name="T87" fmla="*/ 378 h 422"/>
                <a:gd name="T88" fmla="*/ 115 w 268"/>
                <a:gd name="T89" fmla="*/ 378 h 422"/>
                <a:gd name="T90" fmla="*/ 115 w 268"/>
                <a:gd name="T91" fmla="*/ 379 h 422"/>
                <a:gd name="T92" fmla="*/ 115 w 268"/>
                <a:gd name="T93" fmla="*/ 379 h 422"/>
                <a:gd name="T94" fmla="*/ 131 w 268"/>
                <a:gd name="T95" fmla="*/ 422 h 422"/>
                <a:gd name="T96" fmla="*/ 74 w 268"/>
                <a:gd name="T97"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8" h="422">
                  <a:moveTo>
                    <a:pt x="221" y="362"/>
                  </a:moveTo>
                  <a:cubicBezTo>
                    <a:pt x="207" y="422"/>
                    <a:pt x="207" y="422"/>
                    <a:pt x="207" y="422"/>
                  </a:cubicBezTo>
                  <a:cubicBezTo>
                    <a:pt x="245" y="422"/>
                    <a:pt x="245" y="422"/>
                    <a:pt x="245" y="422"/>
                  </a:cubicBezTo>
                  <a:cubicBezTo>
                    <a:pt x="250" y="422"/>
                    <a:pt x="255" y="418"/>
                    <a:pt x="255" y="413"/>
                  </a:cubicBezTo>
                  <a:cubicBezTo>
                    <a:pt x="255" y="412"/>
                    <a:pt x="255" y="411"/>
                    <a:pt x="255" y="411"/>
                  </a:cubicBezTo>
                  <a:cubicBezTo>
                    <a:pt x="254" y="395"/>
                    <a:pt x="261" y="379"/>
                    <a:pt x="268" y="365"/>
                  </a:cubicBezTo>
                  <a:cubicBezTo>
                    <a:pt x="239" y="365"/>
                    <a:pt x="239" y="365"/>
                    <a:pt x="239" y="365"/>
                  </a:cubicBezTo>
                  <a:cubicBezTo>
                    <a:pt x="236" y="365"/>
                    <a:pt x="236" y="365"/>
                    <a:pt x="236" y="365"/>
                  </a:cubicBezTo>
                  <a:cubicBezTo>
                    <a:pt x="235" y="365"/>
                    <a:pt x="235" y="365"/>
                    <a:pt x="235" y="365"/>
                  </a:cubicBezTo>
                  <a:cubicBezTo>
                    <a:pt x="230" y="364"/>
                    <a:pt x="225" y="363"/>
                    <a:pt x="221" y="362"/>
                  </a:cubicBezTo>
                  <a:moveTo>
                    <a:pt x="143" y="325"/>
                  </a:moveTo>
                  <a:cubicBezTo>
                    <a:pt x="163" y="422"/>
                    <a:pt x="163" y="422"/>
                    <a:pt x="163" y="422"/>
                  </a:cubicBezTo>
                  <a:cubicBezTo>
                    <a:pt x="187" y="422"/>
                    <a:pt x="187" y="422"/>
                    <a:pt x="187" y="422"/>
                  </a:cubicBezTo>
                  <a:cubicBezTo>
                    <a:pt x="190" y="422"/>
                    <a:pt x="190" y="422"/>
                    <a:pt x="190" y="422"/>
                  </a:cubicBezTo>
                  <a:cubicBezTo>
                    <a:pt x="204" y="422"/>
                    <a:pt x="204" y="422"/>
                    <a:pt x="204" y="422"/>
                  </a:cubicBezTo>
                  <a:cubicBezTo>
                    <a:pt x="218" y="361"/>
                    <a:pt x="218" y="361"/>
                    <a:pt x="218" y="361"/>
                  </a:cubicBezTo>
                  <a:cubicBezTo>
                    <a:pt x="188" y="353"/>
                    <a:pt x="163" y="341"/>
                    <a:pt x="143" y="325"/>
                  </a:cubicBezTo>
                  <a:moveTo>
                    <a:pt x="74" y="0"/>
                  </a:moveTo>
                  <a:cubicBezTo>
                    <a:pt x="30" y="34"/>
                    <a:pt x="2" y="87"/>
                    <a:pt x="1" y="146"/>
                  </a:cubicBezTo>
                  <a:cubicBezTo>
                    <a:pt x="1" y="146"/>
                    <a:pt x="1" y="146"/>
                    <a:pt x="1" y="146"/>
                  </a:cubicBezTo>
                  <a:cubicBezTo>
                    <a:pt x="1" y="146"/>
                    <a:pt x="1" y="146"/>
                    <a:pt x="1" y="147"/>
                  </a:cubicBezTo>
                  <a:cubicBezTo>
                    <a:pt x="1" y="147"/>
                    <a:pt x="1" y="147"/>
                    <a:pt x="1" y="147"/>
                  </a:cubicBezTo>
                  <a:cubicBezTo>
                    <a:pt x="1" y="147"/>
                    <a:pt x="1" y="147"/>
                    <a:pt x="1" y="147"/>
                  </a:cubicBezTo>
                  <a:cubicBezTo>
                    <a:pt x="1" y="147"/>
                    <a:pt x="1" y="147"/>
                    <a:pt x="1" y="147"/>
                  </a:cubicBezTo>
                  <a:cubicBezTo>
                    <a:pt x="1" y="147"/>
                    <a:pt x="1" y="147"/>
                    <a:pt x="1" y="147"/>
                  </a:cubicBezTo>
                  <a:cubicBezTo>
                    <a:pt x="1" y="147"/>
                    <a:pt x="1" y="147"/>
                    <a:pt x="1" y="147"/>
                  </a:cubicBezTo>
                  <a:cubicBezTo>
                    <a:pt x="1" y="148"/>
                    <a:pt x="1" y="148"/>
                    <a:pt x="1" y="148"/>
                  </a:cubicBezTo>
                  <a:cubicBezTo>
                    <a:pt x="1" y="148"/>
                    <a:pt x="1" y="148"/>
                    <a:pt x="1" y="148"/>
                  </a:cubicBezTo>
                  <a:cubicBezTo>
                    <a:pt x="1" y="148"/>
                    <a:pt x="1" y="148"/>
                    <a:pt x="1" y="148"/>
                  </a:cubicBezTo>
                  <a:cubicBezTo>
                    <a:pt x="1" y="148"/>
                    <a:pt x="1" y="148"/>
                    <a:pt x="1" y="148"/>
                  </a:cubicBezTo>
                  <a:cubicBezTo>
                    <a:pt x="1" y="149"/>
                    <a:pt x="1" y="149"/>
                    <a:pt x="1" y="149"/>
                  </a:cubicBezTo>
                  <a:cubicBezTo>
                    <a:pt x="1" y="149"/>
                    <a:pt x="1" y="149"/>
                    <a:pt x="1" y="149"/>
                  </a:cubicBezTo>
                  <a:cubicBezTo>
                    <a:pt x="1" y="149"/>
                    <a:pt x="1" y="149"/>
                    <a:pt x="1" y="149"/>
                  </a:cubicBezTo>
                  <a:cubicBezTo>
                    <a:pt x="1" y="149"/>
                    <a:pt x="1" y="149"/>
                    <a:pt x="1" y="149"/>
                  </a:cubicBezTo>
                  <a:cubicBezTo>
                    <a:pt x="1" y="149"/>
                    <a:pt x="1" y="149"/>
                    <a:pt x="1" y="149"/>
                  </a:cubicBezTo>
                  <a:cubicBezTo>
                    <a:pt x="1" y="149"/>
                    <a:pt x="1" y="149"/>
                    <a:pt x="1" y="149"/>
                  </a:cubicBezTo>
                  <a:cubicBezTo>
                    <a:pt x="1" y="150"/>
                    <a:pt x="1" y="150"/>
                    <a:pt x="1" y="150"/>
                  </a:cubicBezTo>
                  <a:cubicBezTo>
                    <a:pt x="1" y="150"/>
                    <a:pt x="1" y="150"/>
                    <a:pt x="1" y="150"/>
                  </a:cubicBezTo>
                  <a:cubicBezTo>
                    <a:pt x="1" y="150"/>
                    <a:pt x="0" y="153"/>
                    <a:pt x="0" y="160"/>
                  </a:cubicBezTo>
                  <a:cubicBezTo>
                    <a:pt x="0" y="185"/>
                    <a:pt x="9" y="257"/>
                    <a:pt x="91" y="339"/>
                  </a:cubicBezTo>
                  <a:cubicBezTo>
                    <a:pt x="91" y="339"/>
                    <a:pt x="91" y="339"/>
                    <a:pt x="91" y="339"/>
                  </a:cubicBezTo>
                  <a:cubicBezTo>
                    <a:pt x="91" y="339"/>
                    <a:pt x="91" y="339"/>
                    <a:pt x="91" y="339"/>
                  </a:cubicBezTo>
                  <a:cubicBezTo>
                    <a:pt x="91" y="339"/>
                    <a:pt x="91" y="339"/>
                    <a:pt x="91" y="339"/>
                  </a:cubicBezTo>
                  <a:cubicBezTo>
                    <a:pt x="91" y="339"/>
                    <a:pt x="91" y="339"/>
                    <a:pt x="91" y="339"/>
                  </a:cubicBezTo>
                  <a:cubicBezTo>
                    <a:pt x="91" y="339"/>
                    <a:pt x="91" y="339"/>
                    <a:pt x="91" y="339"/>
                  </a:cubicBezTo>
                  <a:cubicBezTo>
                    <a:pt x="91" y="339"/>
                    <a:pt x="91" y="339"/>
                    <a:pt x="91" y="339"/>
                  </a:cubicBezTo>
                  <a:cubicBezTo>
                    <a:pt x="91" y="339"/>
                    <a:pt x="91"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39"/>
                    <a:pt x="92" y="339"/>
                  </a:cubicBezTo>
                  <a:cubicBezTo>
                    <a:pt x="92" y="339"/>
                    <a:pt x="92" y="340"/>
                    <a:pt x="92" y="340"/>
                  </a:cubicBezTo>
                  <a:cubicBezTo>
                    <a:pt x="92" y="340"/>
                    <a:pt x="92" y="340"/>
                    <a:pt x="92" y="340"/>
                  </a:cubicBezTo>
                  <a:cubicBezTo>
                    <a:pt x="92" y="340"/>
                    <a:pt x="92" y="340"/>
                    <a:pt x="92" y="340"/>
                  </a:cubicBezTo>
                  <a:cubicBezTo>
                    <a:pt x="92" y="340"/>
                    <a:pt x="92" y="340"/>
                    <a:pt x="92" y="340"/>
                  </a:cubicBezTo>
                  <a:cubicBezTo>
                    <a:pt x="95" y="344"/>
                    <a:pt x="103" y="354"/>
                    <a:pt x="110" y="368"/>
                  </a:cubicBezTo>
                  <a:cubicBezTo>
                    <a:pt x="110" y="368"/>
                    <a:pt x="110" y="368"/>
                    <a:pt x="110" y="368"/>
                  </a:cubicBezTo>
                  <a:cubicBezTo>
                    <a:pt x="110" y="368"/>
                    <a:pt x="110" y="368"/>
                    <a:pt x="110" y="368"/>
                  </a:cubicBezTo>
                  <a:cubicBezTo>
                    <a:pt x="110" y="368"/>
                    <a:pt x="110" y="368"/>
                    <a:pt x="110" y="368"/>
                  </a:cubicBezTo>
                  <a:cubicBezTo>
                    <a:pt x="110" y="369"/>
                    <a:pt x="110" y="369"/>
                    <a:pt x="110" y="369"/>
                  </a:cubicBezTo>
                  <a:cubicBezTo>
                    <a:pt x="110" y="369"/>
                    <a:pt x="110" y="369"/>
                    <a:pt x="110" y="369"/>
                  </a:cubicBezTo>
                  <a:cubicBezTo>
                    <a:pt x="110" y="369"/>
                    <a:pt x="110" y="369"/>
                    <a:pt x="110" y="369"/>
                  </a:cubicBezTo>
                  <a:cubicBezTo>
                    <a:pt x="110" y="369"/>
                    <a:pt x="110" y="369"/>
                    <a:pt x="110" y="369"/>
                  </a:cubicBezTo>
                  <a:cubicBezTo>
                    <a:pt x="111" y="369"/>
                    <a:pt x="111" y="369"/>
                    <a:pt x="111" y="369"/>
                  </a:cubicBezTo>
                  <a:cubicBezTo>
                    <a:pt x="111" y="369"/>
                    <a:pt x="111" y="369"/>
                    <a:pt x="111" y="369"/>
                  </a:cubicBezTo>
                  <a:cubicBezTo>
                    <a:pt x="111" y="369"/>
                    <a:pt x="111" y="369"/>
                    <a:pt x="111" y="369"/>
                  </a:cubicBezTo>
                  <a:cubicBezTo>
                    <a:pt x="111" y="369"/>
                    <a:pt x="111" y="369"/>
                    <a:pt x="111" y="369"/>
                  </a:cubicBezTo>
                  <a:cubicBezTo>
                    <a:pt x="111" y="370"/>
                    <a:pt x="111" y="370"/>
                    <a:pt x="111" y="370"/>
                  </a:cubicBezTo>
                  <a:cubicBezTo>
                    <a:pt x="111" y="370"/>
                    <a:pt x="111" y="370"/>
                    <a:pt x="111" y="370"/>
                  </a:cubicBezTo>
                  <a:cubicBezTo>
                    <a:pt x="111" y="370"/>
                    <a:pt x="111" y="370"/>
                    <a:pt x="111" y="370"/>
                  </a:cubicBezTo>
                  <a:cubicBezTo>
                    <a:pt x="111" y="370"/>
                    <a:pt x="111" y="370"/>
                    <a:pt x="111" y="370"/>
                  </a:cubicBezTo>
                  <a:cubicBezTo>
                    <a:pt x="111" y="370"/>
                    <a:pt x="111" y="370"/>
                    <a:pt x="111" y="370"/>
                  </a:cubicBezTo>
                  <a:cubicBezTo>
                    <a:pt x="111" y="370"/>
                    <a:pt x="111" y="370"/>
                    <a:pt x="111" y="370"/>
                  </a:cubicBezTo>
                  <a:cubicBezTo>
                    <a:pt x="111" y="370"/>
                    <a:pt x="111" y="370"/>
                    <a:pt x="111" y="370"/>
                  </a:cubicBezTo>
                  <a:cubicBezTo>
                    <a:pt x="111" y="370"/>
                    <a:pt x="111" y="370"/>
                    <a:pt x="111" y="370"/>
                  </a:cubicBezTo>
                  <a:cubicBezTo>
                    <a:pt x="111" y="370"/>
                    <a:pt x="111" y="370"/>
                    <a:pt x="111" y="370"/>
                  </a:cubicBezTo>
                  <a:cubicBezTo>
                    <a:pt x="111" y="370"/>
                    <a:pt x="111" y="370"/>
                    <a:pt x="111" y="370"/>
                  </a:cubicBezTo>
                  <a:cubicBezTo>
                    <a:pt x="111" y="370"/>
                    <a:pt x="111" y="370"/>
                    <a:pt x="111" y="371"/>
                  </a:cubicBezTo>
                  <a:cubicBezTo>
                    <a:pt x="111" y="371"/>
                    <a:pt x="111" y="371"/>
                    <a:pt x="111" y="371"/>
                  </a:cubicBezTo>
                  <a:cubicBezTo>
                    <a:pt x="111" y="371"/>
                    <a:pt x="111" y="371"/>
                    <a:pt x="111" y="371"/>
                  </a:cubicBezTo>
                  <a:cubicBezTo>
                    <a:pt x="111" y="371"/>
                    <a:pt x="111" y="371"/>
                    <a:pt x="111" y="371"/>
                  </a:cubicBezTo>
                  <a:cubicBezTo>
                    <a:pt x="111" y="371"/>
                    <a:pt x="111" y="371"/>
                    <a:pt x="111" y="371"/>
                  </a:cubicBezTo>
                  <a:cubicBezTo>
                    <a:pt x="111" y="371"/>
                    <a:pt x="111" y="371"/>
                    <a:pt x="111" y="371"/>
                  </a:cubicBezTo>
                  <a:cubicBezTo>
                    <a:pt x="111" y="371"/>
                    <a:pt x="111" y="371"/>
                    <a:pt x="111" y="371"/>
                  </a:cubicBezTo>
                  <a:cubicBezTo>
                    <a:pt x="111" y="371"/>
                    <a:pt x="111" y="371"/>
                    <a:pt x="111" y="371"/>
                  </a:cubicBezTo>
                  <a:cubicBezTo>
                    <a:pt x="111" y="371"/>
                    <a:pt x="112" y="371"/>
                    <a:pt x="112" y="371"/>
                  </a:cubicBezTo>
                  <a:cubicBezTo>
                    <a:pt x="112" y="371"/>
                    <a:pt x="112" y="371"/>
                    <a:pt x="112" y="371"/>
                  </a:cubicBezTo>
                  <a:cubicBezTo>
                    <a:pt x="112" y="371"/>
                    <a:pt x="112" y="371"/>
                    <a:pt x="112" y="371"/>
                  </a:cubicBezTo>
                  <a:cubicBezTo>
                    <a:pt x="112" y="371"/>
                    <a:pt x="112" y="371"/>
                    <a:pt x="112" y="371"/>
                  </a:cubicBezTo>
                  <a:cubicBezTo>
                    <a:pt x="112" y="372"/>
                    <a:pt x="112" y="372"/>
                    <a:pt x="112" y="372"/>
                  </a:cubicBezTo>
                  <a:cubicBezTo>
                    <a:pt x="112" y="372"/>
                    <a:pt x="112" y="372"/>
                    <a:pt x="112" y="372"/>
                  </a:cubicBezTo>
                  <a:cubicBezTo>
                    <a:pt x="112" y="372"/>
                    <a:pt x="112" y="372"/>
                    <a:pt x="112" y="372"/>
                  </a:cubicBezTo>
                  <a:cubicBezTo>
                    <a:pt x="112" y="372"/>
                    <a:pt x="112" y="372"/>
                    <a:pt x="112" y="372"/>
                  </a:cubicBezTo>
                  <a:cubicBezTo>
                    <a:pt x="112" y="372"/>
                    <a:pt x="112" y="372"/>
                    <a:pt x="112" y="372"/>
                  </a:cubicBezTo>
                  <a:cubicBezTo>
                    <a:pt x="112" y="372"/>
                    <a:pt x="112" y="372"/>
                    <a:pt x="112" y="372"/>
                  </a:cubicBezTo>
                  <a:cubicBezTo>
                    <a:pt x="112" y="372"/>
                    <a:pt x="112" y="372"/>
                    <a:pt x="112" y="372"/>
                  </a:cubicBezTo>
                  <a:cubicBezTo>
                    <a:pt x="112" y="372"/>
                    <a:pt x="112" y="372"/>
                    <a:pt x="112" y="372"/>
                  </a:cubicBezTo>
                  <a:cubicBezTo>
                    <a:pt x="112" y="372"/>
                    <a:pt x="112" y="372"/>
                    <a:pt x="112" y="372"/>
                  </a:cubicBezTo>
                  <a:cubicBezTo>
                    <a:pt x="112" y="372"/>
                    <a:pt x="112" y="372"/>
                    <a:pt x="112" y="372"/>
                  </a:cubicBezTo>
                  <a:cubicBezTo>
                    <a:pt x="112" y="372"/>
                    <a:pt x="112" y="372"/>
                    <a:pt x="112" y="373"/>
                  </a:cubicBezTo>
                  <a:cubicBezTo>
                    <a:pt x="112" y="373"/>
                    <a:pt x="112" y="373"/>
                    <a:pt x="112" y="373"/>
                  </a:cubicBezTo>
                  <a:cubicBezTo>
                    <a:pt x="112" y="373"/>
                    <a:pt x="112" y="373"/>
                    <a:pt x="112" y="373"/>
                  </a:cubicBezTo>
                  <a:cubicBezTo>
                    <a:pt x="112" y="373"/>
                    <a:pt x="112" y="373"/>
                    <a:pt x="112" y="373"/>
                  </a:cubicBezTo>
                  <a:cubicBezTo>
                    <a:pt x="112" y="373"/>
                    <a:pt x="112" y="373"/>
                    <a:pt x="112" y="373"/>
                  </a:cubicBezTo>
                  <a:cubicBezTo>
                    <a:pt x="112" y="373"/>
                    <a:pt x="112" y="373"/>
                    <a:pt x="112" y="373"/>
                  </a:cubicBezTo>
                  <a:cubicBezTo>
                    <a:pt x="112" y="373"/>
                    <a:pt x="112" y="373"/>
                    <a:pt x="112" y="373"/>
                  </a:cubicBezTo>
                  <a:cubicBezTo>
                    <a:pt x="112" y="373"/>
                    <a:pt x="112" y="373"/>
                    <a:pt x="112" y="373"/>
                  </a:cubicBezTo>
                  <a:cubicBezTo>
                    <a:pt x="112" y="373"/>
                    <a:pt x="112" y="373"/>
                    <a:pt x="112" y="373"/>
                  </a:cubicBezTo>
                  <a:cubicBezTo>
                    <a:pt x="112" y="373"/>
                    <a:pt x="112" y="373"/>
                    <a:pt x="113" y="373"/>
                  </a:cubicBezTo>
                  <a:cubicBezTo>
                    <a:pt x="113" y="373"/>
                    <a:pt x="113" y="373"/>
                    <a:pt x="113" y="373"/>
                  </a:cubicBezTo>
                  <a:cubicBezTo>
                    <a:pt x="113" y="373"/>
                    <a:pt x="113" y="373"/>
                    <a:pt x="113" y="374"/>
                  </a:cubicBezTo>
                  <a:cubicBezTo>
                    <a:pt x="113" y="374"/>
                    <a:pt x="113" y="374"/>
                    <a:pt x="113" y="374"/>
                  </a:cubicBezTo>
                  <a:cubicBezTo>
                    <a:pt x="113" y="374"/>
                    <a:pt x="113" y="374"/>
                    <a:pt x="113" y="374"/>
                  </a:cubicBezTo>
                  <a:cubicBezTo>
                    <a:pt x="113" y="374"/>
                    <a:pt x="113" y="374"/>
                    <a:pt x="113" y="374"/>
                  </a:cubicBezTo>
                  <a:cubicBezTo>
                    <a:pt x="113" y="374"/>
                    <a:pt x="113" y="374"/>
                    <a:pt x="113" y="374"/>
                  </a:cubicBezTo>
                  <a:cubicBezTo>
                    <a:pt x="113" y="374"/>
                    <a:pt x="113" y="374"/>
                    <a:pt x="113" y="374"/>
                  </a:cubicBezTo>
                  <a:cubicBezTo>
                    <a:pt x="113" y="374"/>
                    <a:pt x="113" y="374"/>
                    <a:pt x="113" y="374"/>
                  </a:cubicBezTo>
                  <a:cubicBezTo>
                    <a:pt x="113" y="374"/>
                    <a:pt x="113" y="374"/>
                    <a:pt x="113" y="374"/>
                  </a:cubicBezTo>
                  <a:cubicBezTo>
                    <a:pt x="113" y="374"/>
                    <a:pt x="113" y="374"/>
                    <a:pt x="113" y="374"/>
                  </a:cubicBezTo>
                  <a:cubicBezTo>
                    <a:pt x="113" y="374"/>
                    <a:pt x="113" y="374"/>
                    <a:pt x="113" y="374"/>
                  </a:cubicBezTo>
                  <a:cubicBezTo>
                    <a:pt x="113" y="374"/>
                    <a:pt x="113" y="374"/>
                    <a:pt x="113" y="374"/>
                  </a:cubicBezTo>
                  <a:cubicBezTo>
                    <a:pt x="113" y="374"/>
                    <a:pt x="113" y="375"/>
                    <a:pt x="113" y="375"/>
                  </a:cubicBezTo>
                  <a:cubicBezTo>
                    <a:pt x="113" y="375"/>
                    <a:pt x="113" y="375"/>
                    <a:pt x="113" y="375"/>
                  </a:cubicBezTo>
                  <a:cubicBezTo>
                    <a:pt x="113" y="375"/>
                    <a:pt x="113" y="375"/>
                    <a:pt x="113" y="375"/>
                  </a:cubicBezTo>
                  <a:cubicBezTo>
                    <a:pt x="113" y="375"/>
                    <a:pt x="113" y="375"/>
                    <a:pt x="113" y="375"/>
                  </a:cubicBezTo>
                  <a:cubicBezTo>
                    <a:pt x="113" y="375"/>
                    <a:pt x="113" y="375"/>
                    <a:pt x="113" y="375"/>
                  </a:cubicBezTo>
                  <a:cubicBezTo>
                    <a:pt x="113" y="375"/>
                    <a:pt x="113" y="375"/>
                    <a:pt x="113" y="375"/>
                  </a:cubicBezTo>
                  <a:cubicBezTo>
                    <a:pt x="113" y="375"/>
                    <a:pt x="113" y="375"/>
                    <a:pt x="113" y="375"/>
                  </a:cubicBezTo>
                  <a:cubicBezTo>
                    <a:pt x="113" y="375"/>
                    <a:pt x="113" y="375"/>
                    <a:pt x="113" y="375"/>
                  </a:cubicBezTo>
                  <a:cubicBezTo>
                    <a:pt x="113" y="375"/>
                    <a:pt x="113" y="375"/>
                    <a:pt x="113" y="375"/>
                  </a:cubicBezTo>
                  <a:cubicBezTo>
                    <a:pt x="113" y="375"/>
                    <a:pt x="113" y="375"/>
                    <a:pt x="113" y="375"/>
                  </a:cubicBezTo>
                  <a:cubicBezTo>
                    <a:pt x="113" y="375"/>
                    <a:pt x="113" y="375"/>
                    <a:pt x="113" y="375"/>
                  </a:cubicBezTo>
                  <a:cubicBezTo>
                    <a:pt x="113" y="376"/>
                    <a:pt x="114" y="376"/>
                    <a:pt x="114" y="376"/>
                  </a:cubicBezTo>
                  <a:cubicBezTo>
                    <a:pt x="114" y="376"/>
                    <a:pt x="114" y="376"/>
                    <a:pt x="114" y="376"/>
                  </a:cubicBezTo>
                  <a:cubicBezTo>
                    <a:pt x="114" y="376"/>
                    <a:pt x="114" y="376"/>
                    <a:pt x="114" y="376"/>
                  </a:cubicBezTo>
                  <a:cubicBezTo>
                    <a:pt x="114" y="376"/>
                    <a:pt x="114" y="376"/>
                    <a:pt x="114" y="376"/>
                  </a:cubicBezTo>
                  <a:cubicBezTo>
                    <a:pt x="114" y="376"/>
                    <a:pt x="114" y="376"/>
                    <a:pt x="114" y="376"/>
                  </a:cubicBezTo>
                  <a:cubicBezTo>
                    <a:pt x="114" y="376"/>
                    <a:pt x="114" y="376"/>
                    <a:pt x="114" y="376"/>
                  </a:cubicBezTo>
                  <a:cubicBezTo>
                    <a:pt x="114" y="376"/>
                    <a:pt x="114" y="376"/>
                    <a:pt x="114" y="376"/>
                  </a:cubicBezTo>
                  <a:cubicBezTo>
                    <a:pt x="114" y="376"/>
                    <a:pt x="114" y="376"/>
                    <a:pt x="114" y="376"/>
                  </a:cubicBezTo>
                  <a:cubicBezTo>
                    <a:pt x="114" y="376"/>
                    <a:pt x="114" y="376"/>
                    <a:pt x="114" y="376"/>
                  </a:cubicBezTo>
                  <a:cubicBezTo>
                    <a:pt x="114" y="376"/>
                    <a:pt x="114" y="376"/>
                    <a:pt x="114" y="376"/>
                  </a:cubicBezTo>
                  <a:cubicBezTo>
                    <a:pt x="114" y="376"/>
                    <a:pt x="114" y="377"/>
                    <a:pt x="114" y="377"/>
                  </a:cubicBezTo>
                  <a:cubicBezTo>
                    <a:pt x="114" y="377"/>
                    <a:pt x="114" y="377"/>
                    <a:pt x="114" y="377"/>
                  </a:cubicBezTo>
                  <a:cubicBezTo>
                    <a:pt x="114" y="377"/>
                    <a:pt x="114" y="377"/>
                    <a:pt x="114" y="377"/>
                  </a:cubicBezTo>
                  <a:cubicBezTo>
                    <a:pt x="114" y="377"/>
                    <a:pt x="114" y="377"/>
                    <a:pt x="114" y="377"/>
                  </a:cubicBezTo>
                  <a:cubicBezTo>
                    <a:pt x="114" y="377"/>
                    <a:pt x="114" y="377"/>
                    <a:pt x="114" y="377"/>
                  </a:cubicBezTo>
                  <a:cubicBezTo>
                    <a:pt x="114" y="377"/>
                    <a:pt x="114" y="377"/>
                    <a:pt x="114" y="377"/>
                  </a:cubicBezTo>
                  <a:cubicBezTo>
                    <a:pt x="114" y="377"/>
                    <a:pt x="114" y="377"/>
                    <a:pt x="114" y="377"/>
                  </a:cubicBezTo>
                  <a:cubicBezTo>
                    <a:pt x="114" y="377"/>
                    <a:pt x="114" y="377"/>
                    <a:pt x="114" y="377"/>
                  </a:cubicBezTo>
                  <a:cubicBezTo>
                    <a:pt x="114" y="377"/>
                    <a:pt x="114" y="377"/>
                    <a:pt x="114" y="377"/>
                  </a:cubicBezTo>
                  <a:cubicBezTo>
                    <a:pt x="114" y="377"/>
                    <a:pt x="114" y="377"/>
                    <a:pt x="114" y="377"/>
                  </a:cubicBezTo>
                  <a:cubicBezTo>
                    <a:pt x="114" y="377"/>
                    <a:pt x="114" y="377"/>
                    <a:pt x="114" y="378"/>
                  </a:cubicBezTo>
                  <a:cubicBezTo>
                    <a:pt x="114" y="378"/>
                    <a:pt x="114" y="378"/>
                    <a:pt x="114" y="378"/>
                  </a:cubicBezTo>
                  <a:cubicBezTo>
                    <a:pt x="114" y="378"/>
                    <a:pt x="114" y="378"/>
                    <a:pt x="114" y="378"/>
                  </a:cubicBezTo>
                  <a:cubicBezTo>
                    <a:pt x="114" y="378"/>
                    <a:pt x="114" y="378"/>
                    <a:pt x="114" y="378"/>
                  </a:cubicBezTo>
                  <a:cubicBezTo>
                    <a:pt x="114" y="378"/>
                    <a:pt x="114" y="378"/>
                    <a:pt x="114" y="378"/>
                  </a:cubicBezTo>
                  <a:cubicBezTo>
                    <a:pt x="114" y="378"/>
                    <a:pt x="114" y="378"/>
                    <a:pt x="115" y="378"/>
                  </a:cubicBezTo>
                  <a:cubicBezTo>
                    <a:pt x="115" y="378"/>
                    <a:pt x="115" y="378"/>
                    <a:pt x="115" y="378"/>
                  </a:cubicBezTo>
                  <a:cubicBezTo>
                    <a:pt x="115" y="378"/>
                    <a:pt x="115" y="378"/>
                    <a:pt x="115" y="378"/>
                  </a:cubicBezTo>
                  <a:cubicBezTo>
                    <a:pt x="115" y="378"/>
                    <a:pt x="115" y="378"/>
                    <a:pt x="115" y="378"/>
                  </a:cubicBezTo>
                  <a:cubicBezTo>
                    <a:pt x="115" y="378"/>
                    <a:pt x="115" y="378"/>
                    <a:pt x="115" y="378"/>
                  </a:cubicBezTo>
                  <a:cubicBezTo>
                    <a:pt x="115" y="378"/>
                    <a:pt x="115" y="378"/>
                    <a:pt x="115" y="378"/>
                  </a:cubicBezTo>
                  <a:cubicBezTo>
                    <a:pt x="115" y="378"/>
                    <a:pt x="115" y="378"/>
                    <a:pt x="115" y="379"/>
                  </a:cubicBezTo>
                  <a:cubicBezTo>
                    <a:pt x="115" y="379"/>
                    <a:pt x="115" y="379"/>
                    <a:pt x="115" y="379"/>
                  </a:cubicBezTo>
                  <a:cubicBezTo>
                    <a:pt x="115" y="379"/>
                    <a:pt x="115" y="379"/>
                    <a:pt x="115" y="379"/>
                  </a:cubicBezTo>
                  <a:cubicBezTo>
                    <a:pt x="115" y="379"/>
                    <a:pt x="115" y="379"/>
                    <a:pt x="115" y="379"/>
                  </a:cubicBezTo>
                  <a:cubicBezTo>
                    <a:pt x="115" y="379"/>
                    <a:pt x="115" y="379"/>
                    <a:pt x="115" y="379"/>
                  </a:cubicBezTo>
                  <a:cubicBezTo>
                    <a:pt x="115" y="379"/>
                    <a:pt x="115" y="379"/>
                    <a:pt x="115" y="379"/>
                  </a:cubicBezTo>
                  <a:cubicBezTo>
                    <a:pt x="115" y="379"/>
                    <a:pt x="115" y="379"/>
                    <a:pt x="115" y="379"/>
                  </a:cubicBezTo>
                  <a:cubicBezTo>
                    <a:pt x="115" y="379"/>
                    <a:pt x="115" y="379"/>
                    <a:pt x="115" y="379"/>
                  </a:cubicBezTo>
                  <a:cubicBezTo>
                    <a:pt x="115" y="379"/>
                    <a:pt x="115" y="379"/>
                    <a:pt x="115" y="379"/>
                  </a:cubicBezTo>
                  <a:cubicBezTo>
                    <a:pt x="119" y="389"/>
                    <a:pt x="122" y="400"/>
                    <a:pt x="122" y="411"/>
                  </a:cubicBezTo>
                  <a:cubicBezTo>
                    <a:pt x="122" y="411"/>
                    <a:pt x="122" y="412"/>
                    <a:pt x="122" y="412"/>
                  </a:cubicBezTo>
                  <a:cubicBezTo>
                    <a:pt x="122" y="418"/>
                    <a:pt x="126" y="422"/>
                    <a:pt x="131" y="422"/>
                  </a:cubicBezTo>
                  <a:cubicBezTo>
                    <a:pt x="161" y="422"/>
                    <a:pt x="161" y="422"/>
                    <a:pt x="161" y="422"/>
                  </a:cubicBezTo>
                  <a:cubicBezTo>
                    <a:pt x="139" y="322"/>
                    <a:pt x="139" y="322"/>
                    <a:pt x="139" y="322"/>
                  </a:cubicBezTo>
                  <a:cubicBezTo>
                    <a:pt x="64" y="261"/>
                    <a:pt x="47" y="155"/>
                    <a:pt x="50" y="93"/>
                  </a:cubicBezTo>
                  <a:cubicBezTo>
                    <a:pt x="52" y="59"/>
                    <a:pt x="59" y="28"/>
                    <a:pt x="74" y="0"/>
                  </a:cubicBezTo>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îSľidé">
              <a:extLst>
                <a:ext uri="{FF2B5EF4-FFF2-40B4-BE49-F238E27FC236}">
                  <a16:creationId xmlns:a16="http://schemas.microsoft.com/office/drawing/2014/main" id="{D53BFCA2-F08B-4B76-BD9E-F3DB42D62E5D}"/>
                </a:ext>
              </a:extLst>
            </p:cNvPr>
            <p:cNvSpPr/>
            <p:nvPr/>
          </p:nvSpPr>
          <p:spPr bwMode="auto">
            <a:xfrm>
              <a:off x="5754688" y="2393950"/>
              <a:ext cx="314325" cy="382588"/>
            </a:xfrm>
            <a:custGeom>
              <a:avLst/>
              <a:gdLst>
                <a:gd name="T0" fmla="*/ 79 w 82"/>
                <a:gd name="T1" fmla="*/ 39 h 100"/>
                <a:gd name="T2" fmla="*/ 65 w 82"/>
                <a:gd name="T3" fmla="*/ 100 h 100"/>
                <a:gd name="T4" fmla="*/ 68 w 82"/>
                <a:gd name="T5" fmla="*/ 100 h 100"/>
                <a:gd name="T6" fmla="*/ 82 w 82"/>
                <a:gd name="T7" fmla="*/ 40 h 100"/>
                <a:gd name="T8" fmla="*/ 79 w 82"/>
                <a:gd name="T9" fmla="*/ 39 h 100"/>
                <a:gd name="T10" fmla="*/ 0 w 82"/>
                <a:gd name="T11" fmla="*/ 0 h 100"/>
                <a:gd name="T12" fmla="*/ 22 w 82"/>
                <a:gd name="T13" fmla="*/ 100 h 100"/>
                <a:gd name="T14" fmla="*/ 24 w 82"/>
                <a:gd name="T15" fmla="*/ 100 h 100"/>
                <a:gd name="T16" fmla="*/ 4 w 82"/>
                <a:gd name="T17" fmla="*/ 3 h 100"/>
                <a:gd name="T18" fmla="*/ 0 w 82"/>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100">
                  <a:moveTo>
                    <a:pt x="79" y="39"/>
                  </a:moveTo>
                  <a:cubicBezTo>
                    <a:pt x="65" y="100"/>
                    <a:pt x="65" y="100"/>
                    <a:pt x="65" y="100"/>
                  </a:cubicBezTo>
                  <a:cubicBezTo>
                    <a:pt x="68" y="100"/>
                    <a:pt x="68" y="100"/>
                    <a:pt x="68" y="100"/>
                  </a:cubicBezTo>
                  <a:cubicBezTo>
                    <a:pt x="82" y="40"/>
                    <a:pt x="82" y="40"/>
                    <a:pt x="82" y="40"/>
                  </a:cubicBezTo>
                  <a:cubicBezTo>
                    <a:pt x="81" y="40"/>
                    <a:pt x="80" y="40"/>
                    <a:pt x="79" y="39"/>
                  </a:cubicBezTo>
                  <a:moveTo>
                    <a:pt x="0" y="0"/>
                  </a:moveTo>
                  <a:cubicBezTo>
                    <a:pt x="22" y="100"/>
                    <a:pt x="22" y="100"/>
                    <a:pt x="22" y="100"/>
                  </a:cubicBezTo>
                  <a:cubicBezTo>
                    <a:pt x="24" y="100"/>
                    <a:pt x="24" y="100"/>
                    <a:pt x="24" y="100"/>
                  </a:cubicBezTo>
                  <a:cubicBezTo>
                    <a:pt x="4" y="3"/>
                    <a:pt x="4" y="3"/>
                    <a:pt x="4" y="3"/>
                  </a:cubicBezTo>
                  <a:cubicBezTo>
                    <a:pt x="2" y="2"/>
                    <a:pt x="1" y="1"/>
                    <a:pt x="0" y="0"/>
                  </a:cubicBezTo>
                </a:path>
              </a:pathLst>
            </a:custGeom>
            <a:solidFill>
              <a:srgbClr val="332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îṩļïḋê">
              <a:extLst>
                <a:ext uri="{FF2B5EF4-FFF2-40B4-BE49-F238E27FC236}">
                  <a16:creationId xmlns:a16="http://schemas.microsoft.com/office/drawing/2014/main" id="{535845BB-DF58-4BF5-A1E9-DE855237D35A}"/>
                </a:ext>
              </a:extLst>
            </p:cNvPr>
            <p:cNvSpPr/>
            <p:nvPr/>
          </p:nvSpPr>
          <p:spPr bwMode="auto">
            <a:xfrm>
              <a:off x="6003926" y="1096963"/>
              <a:ext cx="633413" cy="773113"/>
            </a:xfrm>
            <a:custGeom>
              <a:avLst/>
              <a:gdLst>
                <a:gd name="T0" fmla="*/ 0 w 165"/>
                <a:gd name="T1" fmla="*/ 0 h 202"/>
                <a:gd name="T2" fmla="*/ 143 w 165"/>
                <a:gd name="T3" fmla="*/ 202 h 202"/>
                <a:gd name="T4" fmla="*/ 0 w 165"/>
                <a:gd name="T5" fmla="*/ 0 h 202"/>
              </a:gdLst>
              <a:ahLst/>
              <a:cxnLst>
                <a:cxn ang="0">
                  <a:pos x="T0" y="T1"/>
                </a:cxn>
                <a:cxn ang="0">
                  <a:pos x="T2" y="T3"/>
                </a:cxn>
                <a:cxn ang="0">
                  <a:pos x="T4" y="T5"/>
                </a:cxn>
              </a:cxnLst>
              <a:rect l="0" t="0" r="r" b="b"/>
              <a:pathLst>
                <a:path w="165" h="202">
                  <a:moveTo>
                    <a:pt x="0" y="0"/>
                  </a:moveTo>
                  <a:cubicBezTo>
                    <a:pt x="145" y="64"/>
                    <a:pt x="143" y="202"/>
                    <a:pt x="143" y="202"/>
                  </a:cubicBezTo>
                  <a:cubicBezTo>
                    <a:pt x="165" y="9"/>
                    <a:pt x="0" y="0"/>
                    <a:pt x="0" y="0"/>
                  </a:cubicBezTo>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ïsļidê">
              <a:extLst>
                <a:ext uri="{FF2B5EF4-FFF2-40B4-BE49-F238E27FC236}">
                  <a16:creationId xmlns:a16="http://schemas.microsoft.com/office/drawing/2014/main" id="{47856FC6-EAE2-431E-B0D3-C1763C3F03F6}"/>
                </a:ext>
              </a:extLst>
            </p:cNvPr>
            <p:cNvSpPr/>
            <p:nvPr/>
          </p:nvSpPr>
          <p:spPr bwMode="auto">
            <a:xfrm>
              <a:off x="6708776" y="5303838"/>
              <a:ext cx="346075" cy="331788"/>
            </a:xfrm>
            <a:custGeom>
              <a:avLst/>
              <a:gdLst>
                <a:gd name="T0" fmla="*/ 46 w 90"/>
                <a:gd name="T1" fmla="*/ 16 h 87"/>
                <a:gd name="T2" fmla="*/ 38 w 90"/>
                <a:gd name="T3" fmla="*/ 41 h 87"/>
                <a:gd name="T4" fmla="*/ 6 w 90"/>
                <a:gd name="T5" fmla="*/ 78 h 87"/>
                <a:gd name="T6" fmla="*/ 82 w 90"/>
                <a:gd name="T7" fmla="*/ 54 h 87"/>
                <a:gd name="T8" fmla="*/ 89 w 90"/>
                <a:gd name="T9" fmla="*/ 41 h 87"/>
                <a:gd name="T10" fmla="*/ 72 w 90"/>
                <a:gd name="T11" fmla="*/ 12 h 87"/>
                <a:gd name="T12" fmla="*/ 46 w 90"/>
                <a:gd name="T13" fmla="*/ 16 h 87"/>
              </a:gdLst>
              <a:ahLst/>
              <a:cxnLst>
                <a:cxn ang="0">
                  <a:pos x="T0" y="T1"/>
                </a:cxn>
                <a:cxn ang="0">
                  <a:pos x="T2" y="T3"/>
                </a:cxn>
                <a:cxn ang="0">
                  <a:pos x="T4" y="T5"/>
                </a:cxn>
                <a:cxn ang="0">
                  <a:pos x="T6" y="T7"/>
                </a:cxn>
                <a:cxn ang="0">
                  <a:pos x="T8" y="T9"/>
                </a:cxn>
                <a:cxn ang="0">
                  <a:pos x="T10" y="T11"/>
                </a:cxn>
                <a:cxn ang="0">
                  <a:pos x="T12" y="T13"/>
                </a:cxn>
              </a:cxnLst>
              <a:rect l="0" t="0" r="r" b="b"/>
              <a:pathLst>
                <a:path w="90" h="87">
                  <a:moveTo>
                    <a:pt x="46" y="16"/>
                  </a:moveTo>
                  <a:cubicBezTo>
                    <a:pt x="46" y="16"/>
                    <a:pt x="48" y="27"/>
                    <a:pt x="38" y="41"/>
                  </a:cubicBezTo>
                  <a:cubicBezTo>
                    <a:pt x="28" y="55"/>
                    <a:pt x="0" y="68"/>
                    <a:pt x="6" y="78"/>
                  </a:cubicBezTo>
                  <a:cubicBezTo>
                    <a:pt x="12" y="87"/>
                    <a:pt x="62" y="64"/>
                    <a:pt x="82" y="54"/>
                  </a:cubicBezTo>
                  <a:cubicBezTo>
                    <a:pt x="87" y="52"/>
                    <a:pt x="90" y="46"/>
                    <a:pt x="89" y="41"/>
                  </a:cubicBezTo>
                  <a:cubicBezTo>
                    <a:pt x="87" y="32"/>
                    <a:pt x="83" y="19"/>
                    <a:pt x="72" y="12"/>
                  </a:cubicBezTo>
                  <a:cubicBezTo>
                    <a:pt x="55" y="0"/>
                    <a:pt x="46" y="16"/>
                    <a:pt x="46" y="16"/>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ïṥlíḍé">
              <a:extLst>
                <a:ext uri="{FF2B5EF4-FFF2-40B4-BE49-F238E27FC236}">
                  <a16:creationId xmlns:a16="http://schemas.microsoft.com/office/drawing/2014/main" id="{0774BC35-3971-4BCB-B92A-6D659883B16C}"/>
                </a:ext>
              </a:extLst>
            </p:cNvPr>
            <p:cNvSpPr/>
            <p:nvPr/>
          </p:nvSpPr>
          <p:spPr bwMode="auto">
            <a:xfrm>
              <a:off x="6727826" y="5426075"/>
              <a:ext cx="319088" cy="182563"/>
            </a:xfrm>
            <a:custGeom>
              <a:avLst/>
              <a:gdLst>
                <a:gd name="T0" fmla="*/ 80 w 83"/>
                <a:gd name="T1" fmla="*/ 0 h 48"/>
                <a:gd name="T2" fmla="*/ 30 w 83"/>
                <a:gd name="T3" fmla="*/ 13 h 48"/>
                <a:gd name="T4" fmla="*/ 30 w 83"/>
                <a:gd name="T5" fmla="*/ 13 h 48"/>
                <a:gd name="T6" fmla="*/ 0 w 83"/>
                <a:gd name="T7" fmla="*/ 43 h 48"/>
                <a:gd name="T8" fmla="*/ 1 w 83"/>
                <a:gd name="T9" fmla="*/ 46 h 48"/>
                <a:gd name="T10" fmla="*/ 7 w 83"/>
                <a:gd name="T11" fmla="*/ 48 h 48"/>
                <a:gd name="T12" fmla="*/ 34 w 83"/>
                <a:gd name="T13" fmla="*/ 41 h 48"/>
                <a:gd name="T14" fmla="*/ 33 w 83"/>
                <a:gd name="T15" fmla="*/ 40 h 48"/>
                <a:gd name="T16" fmla="*/ 75 w 83"/>
                <a:gd name="T17" fmla="*/ 14 h 48"/>
                <a:gd name="T18" fmla="*/ 83 w 83"/>
                <a:gd name="T19" fmla="*/ 6 h 48"/>
                <a:gd name="T20" fmla="*/ 82 w 83"/>
                <a:gd name="T21" fmla="*/ 3 h 48"/>
                <a:gd name="T22" fmla="*/ 80 w 83"/>
                <a:gd name="T23" fmla="*/ 3 h 48"/>
                <a:gd name="T24" fmla="*/ 80 w 83"/>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48">
                  <a:moveTo>
                    <a:pt x="80" y="0"/>
                  </a:moveTo>
                  <a:cubicBezTo>
                    <a:pt x="30" y="13"/>
                    <a:pt x="30" y="13"/>
                    <a:pt x="30" y="13"/>
                  </a:cubicBezTo>
                  <a:cubicBezTo>
                    <a:pt x="30" y="13"/>
                    <a:pt x="30" y="13"/>
                    <a:pt x="30" y="13"/>
                  </a:cubicBezTo>
                  <a:cubicBezTo>
                    <a:pt x="20" y="24"/>
                    <a:pt x="0" y="34"/>
                    <a:pt x="0" y="43"/>
                  </a:cubicBezTo>
                  <a:cubicBezTo>
                    <a:pt x="0" y="44"/>
                    <a:pt x="1" y="45"/>
                    <a:pt x="1" y="46"/>
                  </a:cubicBezTo>
                  <a:cubicBezTo>
                    <a:pt x="2" y="48"/>
                    <a:pt x="4" y="48"/>
                    <a:pt x="7" y="48"/>
                  </a:cubicBezTo>
                  <a:cubicBezTo>
                    <a:pt x="13" y="48"/>
                    <a:pt x="23" y="45"/>
                    <a:pt x="34" y="41"/>
                  </a:cubicBezTo>
                  <a:cubicBezTo>
                    <a:pt x="34" y="41"/>
                    <a:pt x="33" y="40"/>
                    <a:pt x="33" y="40"/>
                  </a:cubicBezTo>
                  <a:cubicBezTo>
                    <a:pt x="30" y="27"/>
                    <a:pt x="61" y="24"/>
                    <a:pt x="75" y="14"/>
                  </a:cubicBezTo>
                  <a:cubicBezTo>
                    <a:pt x="79" y="12"/>
                    <a:pt x="81" y="9"/>
                    <a:pt x="83" y="6"/>
                  </a:cubicBezTo>
                  <a:cubicBezTo>
                    <a:pt x="83" y="5"/>
                    <a:pt x="83" y="4"/>
                    <a:pt x="82" y="3"/>
                  </a:cubicBezTo>
                  <a:cubicBezTo>
                    <a:pt x="80" y="3"/>
                    <a:pt x="80" y="3"/>
                    <a:pt x="80" y="3"/>
                  </a:cubicBezTo>
                  <a:cubicBezTo>
                    <a:pt x="80" y="3"/>
                    <a:pt x="80" y="2"/>
                    <a:pt x="80" y="0"/>
                  </a:cubicBezTo>
                </a:path>
              </a:pathLst>
            </a:custGeom>
            <a:solidFill>
              <a:srgbClr val="22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ïš1iḋè">
              <a:extLst>
                <a:ext uri="{FF2B5EF4-FFF2-40B4-BE49-F238E27FC236}">
                  <a16:creationId xmlns:a16="http://schemas.microsoft.com/office/drawing/2014/main" id="{B2A4480A-66A8-45A3-9D8E-107356C5D389}"/>
                </a:ext>
              </a:extLst>
            </p:cNvPr>
            <p:cNvSpPr/>
            <p:nvPr/>
          </p:nvSpPr>
          <p:spPr bwMode="auto">
            <a:xfrm>
              <a:off x="6559551" y="3692525"/>
              <a:ext cx="487363" cy="1782763"/>
            </a:xfrm>
            <a:custGeom>
              <a:avLst/>
              <a:gdLst>
                <a:gd name="T0" fmla="*/ 66 w 127"/>
                <a:gd name="T1" fmla="*/ 0 h 466"/>
                <a:gd name="T2" fmla="*/ 29 w 127"/>
                <a:gd name="T3" fmla="*/ 92 h 466"/>
                <a:gd name="T4" fmla="*/ 3 w 127"/>
                <a:gd name="T5" fmla="*/ 212 h 466"/>
                <a:gd name="T6" fmla="*/ 5 w 127"/>
                <a:gd name="T7" fmla="*/ 251 h 466"/>
                <a:gd name="T8" fmla="*/ 74 w 127"/>
                <a:gd name="T9" fmla="*/ 466 h 466"/>
                <a:gd name="T10" fmla="*/ 127 w 127"/>
                <a:gd name="T11" fmla="*/ 452 h 466"/>
                <a:gd name="T12" fmla="*/ 100 w 127"/>
                <a:gd name="T13" fmla="*/ 262 h 466"/>
                <a:gd name="T14" fmla="*/ 76 w 127"/>
                <a:gd name="T15" fmla="*/ 229 h 466"/>
                <a:gd name="T16" fmla="*/ 120 w 127"/>
                <a:gd name="T17" fmla="*/ 112 h 466"/>
                <a:gd name="T18" fmla="*/ 127 w 127"/>
                <a:gd name="T19" fmla="*/ 20 h 466"/>
                <a:gd name="T20" fmla="*/ 66 w 127"/>
                <a:gd name="T21"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6">
                  <a:moveTo>
                    <a:pt x="66" y="0"/>
                  </a:moveTo>
                  <a:cubicBezTo>
                    <a:pt x="66" y="0"/>
                    <a:pt x="43" y="51"/>
                    <a:pt x="29" y="92"/>
                  </a:cubicBezTo>
                  <a:cubicBezTo>
                    <a:pt x="17" y="130"/>
                    <a:pt x="10" y="181"/>
                    <a:pt x="3" y="212"/>
                  </a:cubicBezTo>
                  <a:cubicBezTo>
                    <a:pt x="0" y="225"/>
                    <a:pt x="1" y="238"/>
                    <a:pt x="5" y="251"/>
                  </a:cubicBezTo>
                  <a:cubicBezTo>
                    <a:pt x="74" y="466"/>
                    <a:pt x="74" y="466"/>
                    <a:pt x="74" y="466"/>
                  </a:cubicBezTo>
                  <a:cubicBezTo>
                    <a:pt x="127" y="452"/>
                    <a:pt x="127" y="452"/>
                    <a:pt x="127" y="452"/>
                  </a:cubicBezTo>
                  <a:cubicBezTo>
                    <a:pt x="127" y="452"/>
                    <a:pt x="115" y="285"/>
                    <a:pt x="100" y="262"/>
                  </a:cubicBezTo>
                  <a:cubicBezTo>
                    <a:pt x="84" y="240"/>
                    <a:pt x="76" y="229"/>
                    <a:pt x="76" y="229"/>
                  </a:cubicBezTo>
                  <a:cubicBezTo>
                    <a:pt x="76" y="229"/>
                    <a:pt x="114" y="146"/>
                    <a:pt x="120" y="112"/>
                  </a:cubicBezTo>
                  <a:cubicBezTo>
                    <a:pt x="127" y="78"/>
                    <a:pt x="127" y="20"/>
                    <a:pt x="127" y="20"/>
                  </a:cubicBezTo>
                  <a:cubicBezTo>
                    <a:pt x="66" y="0"/>
                    <a:pt x="66" y="0"/>
                    <a:pt x="66" y="0"/>
                  </a:cubicBezTo>
                </a:path>
              </a:pathLst>
            </a:custGeom>
            <a:solidFill>
              <a:srgbClr val="295F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îṧļîḍe">
              <a:extLst>
                <a:ext uri="{FF2B5EF4-FFF2-40B4-BE49-F238E27FC236}">
                  <a16:creationId xmlns:a16="http://schemas.microsoft.com/office/drawing/2014/main" id="{67C803CC-2A1A-4E4C-8B04-A4BE0D3285C6}"/>
                </a:ext>
              </a:extLst>
            </p:cNvPr>
            <p:cNvSpPr/>
            <p:nvPr/>
          </p:nvSpPr>
          <p:spPr bwMode="auto">
            <a:xfrm>
              <a:off x="6564313" y="4043363"/>
              <a:ext cx="106363" cy="520700"/>
            </a:xfrm>
            <a:custGeom>
              <a:avLst/>
              <a:gdLst>
                <a:gd name="T0" fmla="*/ 28 w 28"/>
                <a:gd name="T1" fmla="*/ 0 h 136"/>
                <a:gd name="T2" fmla="*/ 28 w 28"/>
                <a:gd name="T3" fmla="*/ 0 h 136"/>
                <a:gd name="T4" fmla="*/ 2 w 28"/>
                <a:gd name="T5" fmla="*/ 120 h 136"/>
                <a:gd name="T6" fmla="*/ 0 w 28"/>
                <a:gd name="T7" fmla="*/ 136 h 136"/>
                <a:gd name="T8" fmla="*/ 2 w 28"/>
                <a:gd name="T9" fmla="*/ 120 h 136"/>
                <a:gd name="T10" fmla="*/ 28 w 28"/>
                <a:gd name="T11" fmla="*/ 0 h 136"/>
                <a:gd name="T12" fmla="*/ 28 w 28"/>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28" h="136">
                  <a:moveTo>
                    <a:pt x="28" y="0"/>
                  </a:moveTo>
                  <a:cubicBezTo>
                    <a:pt x="28" y="0"/>
                    <a:pt x="28" y="0"/>
                    <a:pt x="28" y="0"/>
                  </a:cubicBezTo>
                  <a:cubicBezTo>
                    <a:pt x="14" y="44"/>
                    <a:pt x="9" y="89"/>
                    <a:pt x="2" y="120"/>
                  </a:cubicBezTo>
                  <a:cubicBezTo>
                    <a:pt x="1" y="125"/>
                    <a:pt x="0" y="131"/>
                    <a:pt x="0" y="136"/>
                  </a:cubicBezTo>
                  <a:cubicBezTo>
                    <a:pt x="0" y="131"/>
                    <a:pt x="1" y="125"/>
                    <a:pt x="2" y="120"/>
                  </a:cubicBezTo>
                  <a:cubicBezTo>
                    <a:pt x="9" y="89"/>
                    <a:pt x="16" y="38"/>
                    <a:pt x="28" y="0"/>
                  </a:cubicBezTo>
                  <a:cubicBezTo>
                    <a:pt x="28" y="0"/>
                    <a:pt x="28" y="0"/>
                    <a:pt x="28" y="0"/>
                  </a:cubicBezTo>
                </a:path>
              </a:pathLst>
            </a:custGeom>
            <a:solidFill>
              <a:srgbClr val="0A9B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îṧliḍè">
              <a:extLst>
                <a:ext uri="{FF2B5EF4-FFF2-40B4-BE49-F238E27FC236}">
                  <a16:creationId xmlns:a16="http://schemas.microsoft.com/office/drawing/2014/main" id="{541E0080-B90B-422E-A8B0-E14F71F6F4E7}"/>
                </a:ext>
              </a:extLst>
            </p:cNvPr>
            <p:cNvSpPr/>
            <p:nvPr/>
          </p:nvSpPr>
          <p:spPr bwMode="auto">
            <a:xfrm>
              <a:off x="6564313" y="3749675"/>
              <a:ext cx="471488" cy="1725613"/>
            </a:xfrm>
            <a:custGeom>
              <a:avLst/>
              <a:gdLst>
                <a:gd name="T0" fmla="*/ 58 w 123"/>
                <a:gd name="T1" fmla="*/ 0 h 451"/>
                <a:gd name="T2" fmla="*/ 28 w 123"/>
                <a:gd name="T3" fmla="*/ 77 h 451"/>
                <a:gd name="T4" fmla="*/ 28 w 123"/>
                <a:gd name="T5" fmla="*/ 77 h 451"/>
                <a:gd name="T6" fmla="*/ 2 w 123"/>
                <a:gd name="T7" fmla="*/ 197 h 451"/>
                <a:gd name="T8" fmla="*/ 0 w 123"/>
                <a:gd name="T9" fmla="*/ 213 h 451"/>
                <a:gd name="T10" fmla="*/ 4 w 123"/>
                <a:gd name="T11" fmla="*/ 236 h 451"/>
                <a:gd name="T12" fmla="*/ 73 w 123"/>
                <a:gd name="T13" fmla="*/ 451 h 451"/>
                <a:gd name="T14" fmla="*/ 123 w 123"/>
                <a:gd name="T15" fmla="*/ 438 h 451"/>
                <a:gd name="T16" fmla="*/ 91 w 123"/>
                <a:gd name="T17" fmla="*/ 258 h 451"/>
                <a:gd name="T18" fmla="*/ 48 w 123"/>
                <a:gd name="T19" fmla="*/ 214 h 451"/>
                <a:gd name="T20" fmla="*/ 92 w 123"/>
                <a:gd name="T21" fmla="*/ 55 h 451"/>
                <a:gd name="T22" fmla="*/ 93 w 123"/>
                <a:gd name="T23" fmla="*/ 57 h 451"/>
                <a:gd name="T24" fmla="*/ 97 w 123"/>
                <a:gd name="T25" fmla="*/ 20 h 451"/>
                <a:gd name="T26" fmla="*/ 58 w 123"/>
                <a:gd name="T27"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451">
                  <a:moveTo>
                    <a:pt x="58" y="0"/>
                  </a:moveTo>
                  <a:cubicBezTo>
                    <a:pt x="51" y="19"/>
                    <a:pt x="38" y="50"/>
                    <a:pt x="28" y="77"/>
                  </a:cubicBezTo>
                  <a:cubicBezTo>
                    <a:pt x="28" y="77"/>
                    <a:pt x="28" y="77"/>
                    <a:pt x="28" y="77"/>
                  </a:cubicBezTo>
                  <a:cubicBezTo>
                    <a:pt x="16" y="115"/>
                    <a:pt x="9" y="166"/>
                    <a:pt x="2" y="197"/>
                  </a:cubicBezTo>
                  <a:cubicBezTo>
                    <a:pt x="1" y="202"/>
                    <a:pt x="0" y="208"/>
                    <a:pt x="0" y="213"/>
                  </a:cubicBezTo>
                  <a:cubicBezTo>
                    <a:pt x="0" y="221"/>
                    <a:pt x="1" y="228"/>
                    <a:pt x="4" y="236"/>
                  </a:cubicBezTo>
                  <a:cubicBezTo>
                    <a:pt x="73" y="451"/>
                    <a:pt x="73" y="451"/>
                    <a:pt x="73" y="451"/>
                  </a:cubicBezTo>
                  <a:cubicBezTo>
                    <a:pt x="123" y="438"/>
                    <a:pt x="123" y="438"/>
                    <a:pt x="123" y="438"/>
                  </a:cubicBezTo>
                  <a:cubicBezTo>
                    <a:pt x="119" y="420"/>
                    <a:pt x="101" y="322"/>
                    <a:pt x="91" y="258"/>
                  </a:cubicBezTo>
                  <a:cubicBezTo>
                    <a:pt x="71" y="231"/>
                    <a:pt x="48" y="214"/>
                    <a:pt x="48" y="214"/>
                  </a:cubicBezTo>
                  <a:cubicBezTo>
                    <a:pt x="76" y="167"/>
                    <a:pt x="92" y="55"/>
                    <a:pt x="92" y="55"/>
                  </a:cubicBezTo>
                  <a:cubicBezTo>
                    <a:pt x="93" y="57"/>
                    <a:pt x="93" y="57"/>
                    <a:pt x="93" y="57"/>
                  </a:cubicBezTo>
                  <a:cubicBezTo>
                    <a:pt x="94" y="44"/>
                    <a:pt x="96" y="31"/>
                    <a:pt x="97" y="20"/>
                  </a:cubicBezTo>
                  <a:cubicBezTo>
                    <a:pt x="78" y="15"/>
                    <a:pt x="64" y="7"/>
                    <a:pt x="58" y="0"/>
                  </a:cubicBezTo>
                </a:path>
              </a:pathLst>
            </a:custGeom>
            <a:solidFill>
              <a:srgbClr val="255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îŝḻîde">
              <a:extLst>
                <a:ext uri="{FF2B5EF4-FFF2-40B4-BE49-F238E27FC236}">
                  <a16:creationId xmlns:a16="http://schemas.microsoft.com/office/drawing/2014/main" id="{BFD79A9F-416B-487D-AFA8-A1CAE982B9E5}"/>
                </a:ext>
              </a:extLst>
            </p:cNvPr>
            <p:cNvSpPr/>
            <p:nvPr/>
          </p:nvSpPr>
          <p:spPr bwMode="auto">
            <a:xfrm>
              <a:off x="6851651" y="4468813"/>
              <a:ext cx="41275" cy="100013"/>
            </a:xfrm>
            <a:custGeom>
              <a:avLst/>
              <a:gdLst>
                <a:gd name="T0" fmla="*/ 11 w 11"/>
                <a:gd name="T1" fmla="*/ 0 h 26"/>
                <a:gd name="T2" fmla="*/ 0 w 11"/>
                <a:gd name="T3" fmla="*/ 26 h 26"/>
                <a:gd name="T4" fmla="*/ 11 w 11"/>
                <a:gd name="T5" fmla="*/ 0 h 26"/>
                <a:gd name="T6" fmla="*/ 11 w 11"/>
                <a:gd name="T7" fmla="*/ 0 h 26"/>
              </a:gdLst>
              <a:ahLst/>
              <a:cxnLst>
                <a:cxn ang="0">
                  <a:pos x="T0" y="T1"/>
                </a:cxn>
                <a:cxn ang="0">
                  <a:pos x="T2" y="T3"/>
                </a:cxn>
                <a:cxn ang="0">
                  <a:pos x="T4" y="T5"/>
                </a:cxn>
                <a:cxn ang="0">
                  <a:pos x="T6" y="T7"/>
                </a:cxn>
              </a:cxnLst>
              <a:rect l="0" t="0" r="r" b="b"/>
              <a:pathLst>
                <a:path w="11" h="26">
                  <a:moveTo>
                    <a:pt x="11" y="0"/>
                  </a:moveTo>
                  <a:cubicBezTo>
                    <a:pt x="5" y="15"/>
                    <a:pt x="0" y="26"/>
                    <a:pt x="0" y="26"/>
                  </a:cubicBezTo>
                  <a:cubicBezTo>
                    <a:pt x="0" y="26"/>
                    <a:pt x="5" y="15"/>
                    <a:pt x="11" y="0"/>
                  </a:cubicBezTo>
                  <a:cubicBezTo>
                    <a:pt x="11" y="0"/>
                    <a:pt x="11" y="0"/>
                    <a:pt x="11" y="0"/>
                  </a:cubicBezTo>
                </a:path>
              </a:pathLst>
            </a:custGeom>
            <a:solidFill>
              <a:srgbClr val="0A9B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íSlïde">
              <a:extLst>
                <a:ext uri="{FF2B5EF4-FFF2-40B4-BE49-F238E27FC236}">
                  <a16:creationId xmlns:a16="http://schemas.microsoft.com/office/drawing/2014/main" id="{09F30BE5-F557-4D37-96A0-E096C5C37D50}"/>
                </a:ext>
              </a:extLst>
            </p:cNvPr>
            <p:cNvSpPr/>
            <p:nvPr/>
          </p:nvSpPr>
          <p:spPr bwMode="auto">
            <a:xfrm>
              <a:off x="6748463" y="3959225"/>
              <a:ext cx="171450" cy="777875"/>
            </a:xfrm>
            <a:custGeom>
              <a:avLst/>
              <a:gdLst>
                <a:gd name="T0" fmla="*/ 44 w 45"/>
                <a:gd name="T1" fmla="*/ 0 h 203"/>
                <a:gd name="T2" fmla="*/ 0 w 45"/>
                <a:gd name="T3" fmla="*/ 159 h 203"/>
                <a:gd name="T4" fmla="*/ 43 w 45"/>
                <a:gd name="T5" fmla="*/ 203 h 203"/>
                <a:gd name="T6" fmla="*/ 40 w 45"/>
                <a:gd name="T7" fmla="*/ 177 h 203"/>
                <a:gd name="T8" fmla="*/ 27 w 45"/>
                <a:gd name="T9" fmla="*/ 159 h 203"/>
                <a:gd name="T10" fmla="*/ 27 w 45"/>
                <a:gd name="T11" fmla="*/ 159 h 203"/>
                <a:gd name="T12" fmla="*/ 27 w 45"/>
                <a:gd name="T13" fmla="*/ 159 h 203"/>
                <a:gd name="T14" fmla="*/ 27 w 45"/>
                <a:gd name="T15" fmla="*/ 159 h 203"/>
                <a:gd name="T16" fmla="*/ 27 w 45"/>
                <a:gd name="T17" fmla="*/ 159 h 203"/>
                <a:gd name="T18" fmla="*/ 27 w 45"/>
                <a:gd name="T19" fmla="*/ 159 h 203"/>
                <a:gd name="T20" fmla="*/ 38 w 45"/>
                <a:gd name="T21" fmla="*/ 133 h 203"/>
                <a:gd name="T22" fmla="*/ 45 w 45"/>
                <a:gd name="T23" fmla="*/ 2 h 203"/>
                <a:gd name="T24" fmla="*/ 44 w 45"/>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203">
                  <a:moveTo>
                    <a:pt x="44" y="0"/>
                  </a:moveTo>
                  <a:cubicBezTo>
                    <a:pt x="44" y="0"/>
                    <a:pt x="28" y="112"/>
                    <a:pt x="0" y="159"/>
                  </a:cubicBezTo>
                  <a:cubicBezTo>
                    <a:pt x="0" y="159"/>
                    <a:pt x="23" y="176"/>
                    <a:pt x="43" y="203"/>
                  </a:cubicBezTo>
                  <a:cubicBezTo>
                    <a:pt x="42" y="193"/>
                    <a:pt x="41" y="185"/>
                    <a:pt x="40" y="177"/>
                  </a:cubicBezTo>
                  <a:cubicBezTo>
                    <a:pt x="31" y="165"/>
                    <a:pt x="27" y="159"/>
                    <a:pt x="27" y="159"/>
                  </a:cubicBezTo>
                  <a:cubicBezTo>
                    <a:pt x="27" y="159"/>
                    <a:pt x="27" y="159"/>
                    <a:pt x="27" y="159"/>
                  </a:cubicBezTo>
                  <a:cubicBezTo>
                    <a:pt x="27" y="159"/>
                    <a:pt x="27" y="159"/>
                    <a:pt x="27" y="159"/>
                  </a:cubicBezTo>
                  <a:cubicBezTo>
                    <a:pt x="27" y="159"/>
                    <a:pt x="27" y="159"/>
                    <a:pt x="27" y="159"/>
                  </a:cubicBezTo>
                  <a:cubicBezTo>
                    <a:pt x="27" y="159"/>
                    <a:pt x="27" y="159"/>
                    <a:pt x="27" y="159"/>
                  </a:cubicBezTo>
                  <a:cubicBezTo>
                    <a:pt x="27" y="159"/>
                    <a:pt x="27" y="159"/>
                    <a:pt x="27" y="159"/>
                  </a:cubicBezTo>
                  <a:cubicBezTo>
                    <a:pt x="27" y="159"/>
                    <a:pt x="32" y="148"/>
                    <a:pt x="38" y="133"/>
                  </a:cubicBezTo>
                  <a:cubicBezTo>
                    <a:pt x="39" y="84"/>
                    <a:pt x="42" y="39"/>
                    <a:pt x="45" y="2"/>
                  </a:cubicBezTo>
                  <a:cubicBezTo>
                    <a:pt x="44" y="0"/>
                    <a:pt x="44" y="0"/>
                    <a:pt x="44" y="0"/>
                  </a:cubicBezTo>
                </a:path>
              </a:pathLst>
            </a:custGeom>
            <a:solidFill>
              <a:srgbClr val="2150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îṡļïḋe">
              <a:extLst>
                <a:ext uri="{FF2B5EF4-FFF2-40B4-BE49-F238E27FC236}">
                  <a16:creationId xmlns:a16="http://schemas.microsoft.com/office/drawing/2014/main" id="{ADF26354-A25C-4204-9945-6188124FE190}"/>
                </a:ext>
              </a:extLst>
            </p:cNvPr>
            <p:cNvSpPr/>
            <p:nvPr/>
          </p:nvSpPr>
          <p:spPr bwMode="auto">
            <a:xfrm>
              <a:off x="7112001" y="2770188"/>
              <a:ext cx="233363" cy="285750"/>
            </a:xfrm>
            <a:custGeom>
              <a:avLst/>
              <a:gdLst>
                <a:gd name="T0" fmla="*/ 32 w 61"/>
                <a:gd name="T1" fmla="*/ 10 h 75"/>
                <a:gd name="T2" fmla="*/ 61 w 61"/>
                <a:gd name="T3" fmla="*/ 11 h 75"/>
                <a:gd name="T4" fmla="*/ 50 w 61"/>
                <a:gd name="T5" fmla="*/ 70 h 75"/>
                <a:gd name="T6" fmla="*/ 0 w 61"/>
                <a:gd name="T7" fmla="*/ 60 h 75"/>
                <a:gd name="T8" fmla="*/ 13 w 61"/>
                <a:gd name="T9" fmla="*/ 11 h 75"/>
                <a:gd name="T10" fmla="*/ 32 w 61"/>
                <a:gd name="T11" fmla="*/ 10 h 75"/>
              </a:gdLst>
              <a:ahLst/>
              <a:cxnLst>
                <a:cxn ang="0">
                  <a:pos x="T0" y="T1"/>
                </a:cxn>
                <a:cxn ang="0">
                  <a:pos x="T2" y="T3"/>
                </a:cxn>
                <a:cxn ang="0">
                  <a:pos x="T4" y="T5"/>
                </a:cxn>
                <a:cxn ang="0">
                  <a:pos x="T6" y="T7"/>
                </a:cxn>
                <a:cxn ang="0">
                  <a:pos x="T8" y="T9"/>
                </a:cxn>
                <a:cxn ang="0">
                  <a:pos x="T10" y="T11"/>
                </a:cxn>
              </a:cxnLst>
              <a:rect l="0" t="0" r="r" b="b"/>
              <a:pathLst>
                <a:path w="61" h="75">
                  <a:moveTo>
                    <a:pt x="32" y="10"/>
                  </a:moveTo>
                  <a:cubicBezTo>
                    <a:pt x="61" y="11"/>
                    <a:pt x="61" y="11"/>
                    <a:pt x="61" y="11"/>
                  </a:cubicBezTo>
                  <a:cubicBezTo>
                    <a:pt x="61" y="11"/>
                    <a:pt x="45" y="49"/>
                    <a:pt x="50" y="70"/>
                  </a:cubicBezTo>
                  <a:cubicBezTo>
                    <a:pt x="50" y="70"/>
                    <a:pt x="22" y="75"/>
                    <a:pt x="0" y="60"/>
                  </a:cubicBezTo>
                  <a:cubicBezTo>
                    <a:pt x="0" y="60"/>
                    <a:pt x="14" y="23"/>
                    <a:pt x="13" y="11"/>
                  </a:cubicBezTo>
                  <a:cubicBezTo>
                    <a:pt x="11" y="0"/>
                    <a:pt x="32" y="10"/>
                    <a:pt x="32" y="10"/>
                  </a:cubicBezTo>
                </a:path>
              </a:pathLst>
            </a:custGeom>
            <a:solidFill>
              <a:srgbClr val="EAC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îṣlíḋé">
              <a:extLst>
                <a:ext uri="{FF2B5EF4-FFF2-40B4-BE49-F238E27FC236}">
                  <a16:creationId xmlns:a16="http://schemas.microsoft.com/office/drawing/2014/main" id="{B1440DC6-6BAA-473A-B109-718CC064FB07}"/>
                </a:ext>
              </a:extLst>
            </p:cNvPr>
            <p:cNvSpPr/>
            <p:nvPr/>
          </p:nvSpPr>
          <p:spPr bwMode="auto">
            <a:xfrm>
              <a:off x="7127876" y="2879725"/>
              <a:ext cx="125413" cy="111125"/>
            </a:xfrm>
            <a:custGeom>
              <a:avLst/>
              <a:gdLst>
                <a:gd name="T0" fmla="*/ 33 w 33"/>
                <a:gd name="T1" fmla="*/ 0 h 29"/>
                <a:gd name="T2" fmla="*/ 10 w 33"/>
                <a:gd name="T3" fmla="*/ 6 h 29"/>
                <a:gd name="T4" fmla="*/ 5 w 33"/>
                <a:gd name="T5" fmla="*/ 5 h 29"/>
                <a:gd name="T6" fmla="*/ 0 w 33"/>
                <a:gd name="T7" fmla="*/ 20 h 29"/>
                <a:gd name="T8" fmla="*/ 27 w 33"/>
                <a:gd name="T9" fmla="*/ 29 h 29"/>
                <a:gd name="T10" fmla="*/ 33 w 33"/>
                <a:gd name="T11" fmla="*/ 0 h 29"/>
              </a:gdLst>
              <a:ahLst/>
              <a:cxnLst>
                <a:cxn ang="0">
                  <a:pos x="T0" y="T1"/>
                </a:cxn>
                <a:cxn ang="0">
                  <a:pos x="T2" y="T3"/>
                </a:cxn>
                <a:cxn ang="0">
                  <a:pos x="T4" y="T5"/>
                </a:cxn>
                <a:cxn ang="0">
                  <a:pos x="T6" y="T7"/>
                </a:cxn>
                <a:cxn ang="0">
                  <a:pos x="T8" y="T9"/>
                </a:cxn>
                <a:cxn ang="0">
                  <a:pos x="T10" y="T11"/>
                </a:cxn>
              </a:cxnLst>
              <a:rect l="0" t="0" r="r" b="b"/>
              <a:pathLst>
                <a:path w="33" h="29">
                  <a:moveTo>
                    <a:pt x="33" y="0"/>
                  </a:moveTo>
                  <a:cubicBezTo>
                    <a:pt x="25" y="4"/>
                    <a:pt x="17" y="6"/>
                    <a:pt x="10" y="6"/>
                  </a:cubicBezTo>
                  <a:cubicBezTo>
                    <a:pt x="8" y="6"/>
                    <a:pt x="6" y="6"/>
                    <a:pt x="5" y="5"/>
                  </a:cubicBezTo>
                  <a:cubicBezTo>
                    <a:pt x="3" y="11"/>
                    <a:pt x="1" y="16"/>
                    <a:pt x="0" y="20"/>
                  </a:cubicBezTo>
                  <a:cubicBezTo>
                    <a:pt x="11" y="25"/>
                    <a:pt x="20" y="28"/>
                    <a:pt x="27" y="29"/>
                  </a:cubicBezTo>
                  <a:cubicBezTo>
                    <a:pt x="28" y="19"/>
                    <a:pt x="30" y="10"/>
                    <a:pt x="33" y="0"/>
                  </a:cubicBezTo>
                </a:path>
              </a:pathLst>
            </a:custGeom>
            <a:solidFill>
              <a:srgbClr val="DDA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í$ḷîḑè">
              <a:extLst>
                <a:ext uri="{FF2B5EF4-FFF2-40B4-BE49-F238E27FC236}">
                  <a16:creationId xmlns:a16="http://schemas.microsoft.com/office/drawing/2014/main" id="{53B79E95-B505-4DF4-982B-778C27DABAD6}"/>
                </a:ext>
              </a:extLst>
            </p:cNvPr>
            <p:cNvSpPr/>
            <p:nvPr/>
          </p:nvSpPr>
          <p:spPr bwMode="auto">
            <a:xfrm>
              <a:off x="7004051" y="2509838"/>
              <a:ext cx="422275" cy="415925"/>
            </a:xfrm>
            <a:custGeom>
              <a:avLst/>
              <a:gdLst>
                <a:gd name="T0" fmla="*/ 26 w 110"/>
                <a:gd name="T1" fmla="*/ 25 h 109"/>
                <a:gd name="T2" fmla="*/ 16 w 110"/>
                <a:gd name="T3" fmla="*/ 92 h 109"/>
                <a:gd name="T4" fmla="*/ 84 w 110"/>
                <a:gd name="T5" fmla="*/ 84 h 109"/>
                <a:gd name="T6" fmla="*/ 95 w 110"/>
                <a:gd name="T7" fmla="*/ 17 h 109"/>
                <a:gd name="T8" fmla="*/ 26 w 110"/>
                <a:gd name="T9" fmla="*/ 25 h 109"/>
              </a:gdLst>
              <a:ahLst/>
              <a:cxnLst>
                <a:cxn ang="0">
                  <a:pos x="T0" y="T1"/>
                </a:cxn>
                <a:cxn ang="0">
                  <a:pos x="T2" y="T3"/>
                </a:cxn>
                <a:cxn ang="0">
                  <a:pos x="T4" y="T5"/>
                </a:cxn>
                <a:cxn ang="0">
                  <a:pos x="T6" y="T7"/>
                </a:cxn>
                <a:cxn ang="0">
                  <a:pos x="T8" y="T9"/>
                </a:cxn>
              </a:cxnLst>
              <a:rect l="0" t="0" r="r" b="b"/>
              <a:pathLst>
                <a:path w="110" h="109">
                  <a:moveTo>
                    <a:pt x="26" y="25"/>
                  </a:moveTo>
                  <a:cubicBezTo>
                    <a:pt x="5" y="46"/>
                    <a:pt x="0" y="76"/>
                    <a:pt x="16" y="92"/>
                  </a:cubicBezTo>
                  <a:cubicBezTo>
                    <a:pt x="31" y="109"/>
                    <a:pt x="62" y="105"/>
                    <a:pt x="84" y="84"/>
                  </a:cubicBezTo>
                  <a:cubicBezTo>
                    <a:pt x="106" y="63"/>
                    <a:pt x="110" y="33"/>
                    <a:pt x="95" y="17"/>
                  </a:cubicBezTo>
                  <a:cubicBezTo>
                    <a:pt x="79" y="0"/>
                    <a:pt x="48" y="4"/>
                    <a:pt x="26" y="25"/>
                  </a:cubicBezTo>
                </a:path>
              </a:pathLst>
            </a:custGeom>
            <a:solidFill>
              <a:srgbClr val="EAC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îŝ1ïḑé">
              <a:extLst>
                <a:ext uri="{FF2B5EF4-FFF2-40B4-BE49-F238E27FC236}">
                  <a16:creationId xmlns:a16="http://schemas.microsoft.com/office/drawing/2014/main" id="{C66B4FFD-139E-4CF9-AF16-D2931A707831}"/>
                </a:ext>
              </a:extLst>
            </p:cNvPr>
            <p:cNvSpPr/>
            <p:nvPr/>
          </p:nvSpPr>
          <p:spPr bwMode="auto">
            <a:xfrm>
              <a:off x="7081838" y="2705100"/>
              <a:ext cx="233363" cy="198438"/>
            </a:xfrm>
            <a:custGeom>
              <a:avLst/>
              <a:gdLst>
                <a:gd name="T0" fmla="*/ 54 w 61"/>
                <a:gd name="T1" fmla="*/ 11 h 52"/>
                <a:gd name="T2" fmla="*/ 47 w 61"/>
                <a:gd name="T3" fmla="*/ 22 h 52"/>
                <a:gd name="T4" fmla="*/ 2 w 61"/>
                <a:gd name="T5" fmla="*/ 45 h 52"/>
                <a:gd name="T6" fmla="*/ 0 w 61"/>
                <a:gd name="T7" fmla="*/ 45 h 52"/>
                <a:gd name="T8" fmla="*/ 22 w 61"/>
                <a:gd name="T9" fmla="*/ 52 h 52"/>
                <a:gd name="T10" fmla="*/ 45 w 61"/>
                <a:gd name="T11" fmla="*/ 46 h 52"/>
                <a:gd name="T12" fmla="*/ 55 w 61"/>
                <a:gd name="T13" fmla="*/ 27 h 52"/>
                <a:gd name="T14" fmla="*/ 55 w 61"/>
                <a:gd name="T15" fmla="*/ 27 h 52"/>
                <a:gd name="T16" fmla="*/ 54 w 61"/>
                <a:gd name="T17" fmla="*/ 11 h 52"/>
                <a:gd name="T18" fmla="*/ 59 w 61"/>
                <a:gd name="T19" fmla="*/ 0 h 52"/>
                <a:gd name="T20" fmla="*/ 58 w 61"/>
                <a:gd name="T21" fmla="*/ 3 h 52"/>
                <a:gd name="T22" fmla="*/ 61 w 61"/>
                <a:gd name="T23" fmla="*/ 0 h 52"/>
                <a:gd name="T24" fmla="*/ 61 w 61"/>
                <a:gd name="T25" fmla="*/ 0 h 52"/>
                <a:gd name="T26" fmla="*/ 59 w 61"/>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52">
                  <a:moveTo>
                    <a:pt x="54" y="11"/>
                  </a:moveTo>
                  <a:cubicBezTo>
                    <a:pt x="52" y="14"/>
                    <a:pt x="50" y="18"/>
                    <a:pt x="47" y="22"/>
                  </a:cubicBezTo>
                  <a:cubicBezTo>
                    <a:pt x="35" y="37"/>
                    <a:pt x="18" y="45"/>
                    <a:pt x="2" y="45"/>
                  </a:cubicBezTo>
                  <a:cubicBezTo>
                    <a:pt x="2" y="45"/>
                    <a:pt x="1" y="45"/>
                    <a:pt x="0" y="45"/>
                  </a:cubicBezTo>
                  <a:cubicBezTo>
                    <a:pt x="6" y="50"/>
                    <a:pt x="14" y="52"/>
                    <a:pt x="22" y="52"/>
                  </a:cubicBezTo>
                  <a:cubicBezTo>
                    <a:pt x="29" y="52"/>
                    <a:pt x="37" y="50"/>
                    <a:pt x="45" y="46"/>
                  </a:cubicBezTo>
                  <a:cubicBezTo>
                    <a:pt x="48" y="40"/>
                    <a:pt x="51" y="33"/>
                    <a:pt x="55" y="27"/>
                  </a:cubicBezTo>
                  <a:cubicBezTo>
                    <a:pt x="55" y="27"/>
                    <a:pt x="55" y="27"/>
                    <a:pt x="55" y="27"/>
                  </a:cubicBezTo>
                  <a:cubicBezTo>
                    <a:pt x="54" y="11"/>
                    <a:pt x="54" y="11"/>
                    <a:pt x="54" y="11"/>
                  </a:cubicBezTo>
                  <a:moveTo>
                    <a:pt x="59" y="0"/>
                  </a:moveTo>
                  <a:cubicBezTo>
                    <a:pt x="59" y="1"/>
                    <a:pt x="58" y="2"/>
                    <a:pt x="58" y="3"/>
                  </a:cubicBezTo>
                  <a:cubicBezTo>
                    <a:pt x="59" y="2"/>
                    <a:pt x="60" y="1"/>
                    <a:pt x="61" y="0"/>
                  </a:cubicBezTo>
                  <a:cubicBezTo>
                    <a:pt x="61" y="0"/>
                    <a:pt x="61" y="0"/>
                    <a:pt x="61" y="0"/>
                  </a:cubicBezTo>
                  <a:cubicBezTo>
                    <a:pt x="60" y="0"/>
                    <a:pt x="60" y="0"/>
                    <a:pt x="59" y="0"/>
                  </a:cubicBezTo>
                </a:path>
              </a:pathLst>
            </a:custGeom>
            <a:solidFill>
              <a:srgbClr val="DDA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î$ḷïḑe">
              <a:extLst>
                <a:ext uri="{FF2B5EF4-FFF2-40B4-BE49-F238E27FC236}">
                  <a16:creationId xmlns:a16="http://schemas.microsoft.com/office/drawing/2014/main" id="{E0837B30-2E70-457E-99CC-4F2DE121BE35}"/>
                </a:ext>
              </a:extLst>
            </p:cNvPr>
            <p:cNvSpPr/>
            <p:nvPr/>
          </p:nvSpPr>
          <p:spPr bwMode="auto">
            <a:xfrm>
              <a:off x="6843713" y="5353050"/>
              <a:ext cx="363538" cy="263525"/>
            </a:xfrm>
            <a:custGeom>
              <a:avLst/>
              <a:gdLst>
                <a:gd name="T0" fmla="*/ 60 w 95"/>
                <a:gd name="T1" fmla="*/ 12 h 69"/>
                <a:gd name="T2" fmla="*/ 45 w 95"/>
                <a:gd name="T3" fmla="*/ 33 h 69"/>
                <a:gd name="T4" fmla="*/ 3 w 95"/>
                <a:gd name="T5" fmla="*/ 59 h 69"/>
                <a:gd name="T6" fmla="*/ 83 w 95"/>
                <a:gd name="T7" fmla="*/ 60 h 69"/>
                <a:gd name="T8" fmla="*/ 94 w 95"/>
                <a:gd name="T9" fmla="*/ 49 h 69"/>
                <a:gd name="T10" fmla="*/ 87 w 95"/>
                <a:gd name="T11" fmla="*/ 16 h 69"/>
                <a:gd name="T12" fmla="*/ 60 w 95"/>
                <a:gd name="T13" fmla="*/ 12 h 69"/>
              </a:gdLst>
              <a:ahLst/>
              <a:cxnLst>
                <a:cxn ang="0">
                  <a:pos x="T0" y="T1"/>
                </a:cxn>
                <a:cxn ang="0">
                  <a:pos x="T2" y="T3"/>
                </a:cxn>
                <a:cxn ang="0">
                  <a:pos x="T4" y="T5"/>
                </a:cxn>
                <a:cxn ang="0">
                  <a:pos x="T6" y="T7"/>
                </a:cxn>
                <a:cxn ang="0">
                  <a:pos x="T8" y="T9"/>
                </a:cxn>
                <a:cxn ang="0">
                  <a:pos x="T10" y="T11"/>
                </a:cxn>
                <a:cxn ang="0">
                  <a:pos x="T12" y="T13"/>
                </a:cxn>
              </a:cxnLst>
              <a:rect l="0" t="0" r="r" b="b"/>
              <a:pathLst>
                <a:path w="95" h="69">
                  <a:moveTo>
                    <a:pt x="60" y="12"/>
                  </a:moveTo>
                  <a:cubicBezTo>
                    <a:pt x="60" y="12"/>
                    <a:pt x="59" y="23"/>
                    <a:pt x="45" y="33"/>
                  </a:cubicBezTo>
                  <a:cubicBezTo>
                    <a:pt x="31" y="43"/>
                    <a:pt x="0" y="46"/>
                    <a:pt x="3" y="59"/>
                  </a:cubicBezTo>
                  <a:cubicBezTo>
                    <a:pt x="6" y="69"/>
                    <a:pt x="61" y="63"/>
                    <a:pt x="83" y="60"/>
                  </a:cubicBezTo>
                  <a:cubicBezTo>
                    <a:pt x="88" y="59"/>
                    <a:pt x="93" y="55"/>
                    <a:pt x="94" y="49"/>
                  </a:cubicBezTo>
                  <a:cubicBezTo>
                    <a:pt x="95" y="40"/>
                    <a:pt x="94" y="27"/>
                    <a:pt x="87" y="16"/>
                  </a:cubicBezTo>
                  <a:cubicBezTo>
                    <a:pt x="74" y="0"/>
                    <a:pt x="60" y="12"/>
                    <a:pt x="60" y="12"/>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iŝḷíḓê">
              <a:extLst>
                <a:ext uri="{FF2B5EF4-FFF2-40B4-BE49-F238E27FC236}">
                  <a16:creationId xmlns:a16="http://schemas.microsoft.com/office/drawing/2014/main" id="{9F2665C8-EEE3-4DB6-8C8E-1C10D3CFE3D6}"/>
                </a:ext>
              </a:extLst>
            </p:cNvPr>
            <p:cNvSpPr/>
            <p:nvPr/>
          </p:nvSpPr>
          <p:spPr bwMode="auto">
            <a:xfrm>
              <a:off x="6889751" y="3652838"/>
              <a:ext cx="509588" cy="1784350"/>
            </a:xfrm>
            <a:custGeom>
              <a:avLst/>
              <a:gdLst>
                <a:gd name="T0" fmla="*/ 18 w 133"/>
                <a:gd name="T1" fmla="*/ 0 h 466"/>
                <a:gd name="T2" fmla="*/ 1 w 133"/>
                <a:gd name="T3" fmla="*/ 234 h 466"/>
                <a:gd name="T4" fmla="*/ 38 w 133"/>
                <a:gd name="T5" fmla="*/ 466 h 466"/>
                <a:gd name="T6" fmla="*/ 85 w 133"/>
                <a:gd name="T7" fmla="*/ 466 h 466"/>
                <a:gd name="T8" fmla="*/ 80 w 133"/>
                <a:gd name="T9" fmla="*/ 235 h 466"/>
                <a:gd name="T10" fmla="*/ 118 w 133"/>
                <a:gd name="T11" fmla="*/ 43 h 466"/>
                <a:gd name="T12" fmla="*/ 18 w 133"/>
                <a:gd name="T13" fmla="*/ 0 h 466"/>
              </a:gdLst>
              <a:ahLst/>
              <a:cxnLst>
                <a:cxn ang="0">
                  <a:pos x="T0" y="T1"/>
                </a:cxn>
                <a:cxn ang="0">
                  <a:pos x="T2" y="T3"/>
                </a:cxn>
                <a:cxn ang="0">
                  <a:pos x="T4" y="T5"/>
                </a:cxn>
                <a:cxn ang="0">
                  <a:pos x="T6" y="T7"/>
                </a:cxn>
                <a:cxn ang="0">
                  <a:pos x="T8" y="T9"/>
                </a:cxn>
                <a:cxn ang="0">
                  <a:pos x="T10" y="T11"/>
                </a:cxn>
                <a:cxn ang="0">
                  <a:pos x="T12" y="T13"/>
                </a:cxn>
              </a:cxnLst>
              <a:rect l="0" t="0" r="r" b="b"/>
              <a:pathLst>
                <a:path w="133" h="466">
                  <a:moveTo>
                    <a:pt x="18" y="0"/>
                  </a:moveTo>
                  <a:cubicBezTo>
                    <a:pt x="18" y="0"/>
                    <a:pt x="0" y="109"/>
                    <a:pt x="1" y="234"/>
                  </a:cubicBezTo>
                  <a:cubicBezTo>
                    <a:pt x="2" y="277"/>
                    <a:pt x="38" y="466"/>
                    <a:pt x="38" y="466"/>
                  </a:cubicBezTo>
                  <a:cubicBezTo>
                    <a:pt x="85" y="466"/>
                    <a:pt x="85" y="466"/>
                    <a:pt x="85" y="466"/>
                  </a:cubicBezTo>
                  <a:cubicBezTo>
                    <a:pt x="85" y="466"/>
                    <a:pt x="105" y="267"/>
                    <a:pt x="80" y="235"/>
                  </a:cubicBezTo>
                  <a:cubicBezTo>
                    <a:pt x="80" y="235"/>
                    <a:pt x="133" y="115"/>
                    <a:pt x="118" y="43"/>
                  </a:cubicBezTo>
                  <a:cubicBezTo>
                    <a:pt x="109" y="0"/>
                    <a:pt x="18" y="0"/>
                    <a:pt x="18" y="0"/>
                  </a:cubicBezTo>
                </a:path>
              </a:pathLst>
            </a:custGeom>
            <a:solidFill>
              <a:srgbClr val="295F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íŝļiḑê">
              <a:extLst>
                <a:ext uri="{FF2B5EF4-FFF2-40B4-BE49-F238E27FC236}">
                  <a16:creationId xmlns:a16="http://schemas.microsoft.com/office/drawing/2014/main" id="{41C19634-44F0-40B9-A742-A3E4DCDC133C}"/>
                </a:ext>
              </a:extLst>
            </p:cNvPr>
            <p:cNvSpPr/>
            <p:nvPr/>
          </p:nvSpPr>
          <p:spPr bwMode="auto">
            <a:xfrm>
              <a:off x="7334251" y="3790950"/>
              <a:ext cx="15875" cy="134938"/>
            </a:xfrm>
            <a:custGeom>
              <a:avLst/>
              <a:gdLst>
                <a:gd name="T0" fmla="*/ 0 w 4"/>
                <a:gd name="T1" fmla="*/ 0 h 35"/>
                <a:gd name="T2" fmla="*/ 0 w 4"/>
                <a:gd name="T3" fmla="*/ 0 h 35"/>
                <a:gd name="T4" fmla="*/ 2 w 4"/>
                <a:gd name="T5" fmla="*/ 7 h 35"/>
                <a:gd name="T6" fmla="*/ 4 w 4"/>
                <a:gd name="T7" fmla="*/ 35 h 35"/>
                <a:gd name="T8" fmla="*/ 2 w 4"/>
                <a:gd name="T9" fmla="*/ 7 h 35"/>
                <a:gd name="T10" fmla="*/ 0 w 4"/>
                <a:gd name="T11" fmla="*/ 0 h 35"/>
              </a:gdLst>
              <a:ahLst/>
              <a:cxnLst>
                <a:cxn ang="0">
                  <a:pos x="T0" y="T1"/>
                </a:cxn>
                <a:cxn ang="0">
                  <a:pos x="T2" y="T3"/>
                </a:cxn>
                <a:cxn ang="0">
                  <a:pos x="T4" y="T5"/>
                </a:cxn>
                <a:cxn ang="0">
                  <a:pos x="T6" y="T7"/>
                </a:cxn>
                <a:cxn ang="0">
                  <a:pos x="T8" y="T9"/>
                </a:cxn>
                <a:cxn ang="0">
                  <a:pos x="T10" y="T11"/>
                </a:cxn>
              </a:cxnLst>
              <a:rect l="0" t="0" r="r" b="b"/>
              <a:pathLst>
                <a:path w="4" h="35">
                  <a:moveTo>
                    <a:pt x="0" y="0"/>
                  </a:moveTo>
                  <a:cubicBezTo>
                    <a:pt x="0" y="0"/>
                    <a:pt x="0" y="0"/>
                    <a:pt x="0" y="0"/>
                  </a:cubicBezTo>
                  <a:cubicBezTo>
                    <a:pt x="1" y="2"/>
                    <a:pt x="1" y="4"/>
                    <a:pt x="2" y="7"/>
                  </a:cubicBezTo>
                  <a:cubicBezTo>
                    <a:pt x="4" y="16"/>
                    <a:pt x="4" y="25"/>
                    <a:pt x="4" y="35"/>
                  </a:cubicBezTo>
                  <a:cubicBezTo>
                    <a:pt x="4" y="25"/>
                    <a:pt x="4" y="16"/>
                    <a:pt x="2" y="7"/>
                  </a:cubicBezTo>
                  <a:cubicBezTo>
                    <a:pt x="1" y="4"/>
                    <a:pt x="1" y="2"/>
                    <a:pt x="0" y="0"/>
                  </a:cubicBezTo>
                </a:path>
              </a:pathLst>
            </a:custGeom>
            <a:solidFill>
              <a:srgbClr val="0A9B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iṡľíḍê">
              <a:extLst>
                <a:ext uri="{FF2B5EF4-FFF2-40B4-BE49-F238E27FC236}">
                  <a16:creationId xmlns:a16="http://schemas.microsoft.com/office/drawing/2014/main" id="{D50E6E27-509D-4D72-A22E-F706AB3A866E}"/>
                </a:ext>
              </a:extLst>
            </p:cNvPr>
            <p:cNvSpPr/>
            <p:nvPr/>
          </p:nvSpPr>
          <p:spPr bwMode="auto">
            <a:xfrm>
              <a:off x="7081838" y="3790950"/>
              <a:ext cx="268288" cy="1646238"/>
            </a:xfrm>
            <a:custGeom>
              <a:avLst/>
              <a:gdLst>
                <a:gd name="T0" fmla="*/ 66 w 70"/>
                <a:gd name="T1" fmla="*/ 0 h 430"/>
                <a:gd name="T2" fmla="*/ 66 w 70"/>
                <a:gd name="T3" fmla="*/ 1 h 430"/>
                <a:gd name="T4" fmla="*/ 31 w 70"/>
                <a:gd name="T5" fmla="*/ 9 h 430"/>
                <a:gd name="T6" fmla="*/ 28 w 70"/>
                <a:gd name="T7" fmla="*/ 10 h 430"/>
                <a:gd name="T8" fmla="*/ 0 w 70"/>
                <a:gd name="T9" fmla="*/ 200 h 430"/>
                <a:gd name="T10" fmla="*/ 19 w 70"/>
                <a:gd name="T11" fmla="*/ 429 h 430"/>
                <a:gd name="T12" fmla="*/ 9 w 70"/>
                <a:gd name="T13" fmla="*/ 430 h 430"/>
                <a:gd name="T14" fmla="*/ 35 w 70"/>
                <a:gd name="T15" fmla="*/ 430 h 430"/>
                <a:gd name="T16" fmla="*/ 43 w 70"/>
                <a:gd name="T17" fmla="*/ 290 h 430"/>
                <a:gd name="T18" fmla="*/ 30 w 70"/>
                <a:gd name="T19" fmla="*/ 199 h 430"/>
                <a:gd name="T20" fmla="*/ 30 w 70"/>
                <a:gd name="T21" fmla="*/ 199 h 430"/>
                <a:gd name="T22" fmla="*/ 30 w 70"/>
                <a:gd name="T23" fmla="*/ 199 h 430"/>
                <a:gd name="T24" fmla="*/ 70 w 70"/>
                <a:gd name="T25" fmla="*/ 35 h 430"/>
                <a:gd name="T26" fmla="*/ 68 w 70"/>
                <a:gd name="T27" fmla="*/ 7 h 430"/>
                <a:gd name="T28" fmla="*/ 66 w 70"/>
                <a:gd name="T29"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430">
                  <a:moveTo>
                    <a:pt x="66" y="0"/>
                  </a:moveTo>
                  <a:cubicBezTo>
                    <a:pt x="66" y="1"/>
                    <a:pt x="66" y="1"/>
                    <a:pt x="66" y="1"/>
                  </a:cubicBezTo>
                  <a:cubicBezTo>
                    <a:pt x="31" y="9"/>
                    <a:pt x="31" y="9"/>
                    <a:pt x="31" y="9"/>
                  </a:cubicBezTo>
                  <a:cubicBezTo>
                    <a:pt x="30" y="9"/>
                    <a:pt x="29" y="10"/>
                    <a:pt x="28" y="10"/>
                  </a:cubicBezTo>
                  <a:cubicBezTo>
                    <a:pt x="44" y="82"/>
                    <a:pt x="0" y="200"/>
                    <a:pt x="0" y="200"/>
                  </a:cubicBezTo>
                  <a:cubicBezTo>
                    <a:pt x="27" y="229"/>
                    <a:pt x="19" y="429"/>
                    <a:pt x="19" y="429"/>
                  </a:cubicBezTo>
                  <a:cubicBezTo>
                    <a:pt x="9" y="430"/>
                    <a:pt x="9" y="430"/>
                    <a:pt x="9" y="430"/>
                  </a:cubicBezTo>
                  <a:cubicBezTo>
                    <a:pt x="35" y="430"/>
                    <a:pt x="35" y="430"/>
                    <a:pt x="35" y="430"/>
                  </a:cubicBezTo>
                  <a:cubicBezTo>
                    <a:pt x="35" y="430"/>
                    <a:pt x="43" y="355"/>
                    <a:pt x="43" y="290"/>
                  </a:cubicBezTo>
                  <a:cubicBezTo>
                    <a:pt x="43" y="249"/>
                    <a:pt x="40" y="211"/>
                    <a:pt x="30" y="199"/>
                  </a:cubicBezTo>
                  <a:cubicBezTo>
                    <a:pt x="30" y="199"/>
                    <a:pt x="30" y="199"/>
                    <a:pt x="30" y="199"/>
                  </a:cubicBezTo>
                  <a:cubicBezTo>
                    <a:pt x="30" y="199"/>
                    <a:pt x="30" y="199"/>
                    <a:pt x="30" y="199"/>
                  </a:cubicBezTo>
                  <a:cubicBezTo>
                    <a:pt x="30" y="199"/>
                    <a:pt x="70" y="107"/>
                    <a:pt x="70" y="35"/>
                  </a:cubicBezTo>
                  <a:cubicBezTo>
                    <a:pt x="70" y="25"/>
                    <a:pt x="70" y="16"/>
                    <a:pt x="68" y="7"/>
                  </a:cubicBezTo>
                  <a:cubicBezTo>
                    <a:pt x="67" y="4"/>
                    <a:pt x="67" y="2"/>
                    <a:pt x="66" y="0"/>
                  </a:cubicBezTo>
                </a:path>
              </a:pathLst>
            </a:custGeom>
            <a:solidFill>
              <a:srgbClr val="255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íšľïḍè">
              <a:extLst>
                <a:ext uri="{FF2B5EF4-FFF2-40B4-BE49-F238E27FC236}">
                  <a16:creationId xmlns:a16="http://schemas.microsoft.com/office/drawing/2014/main" id="{F840B54D-72C7-4100-8C73-0190BC64F4DD}"/>
                </a:ext>
              </a:extLst>
            </p:cNvPr>
            <p:cNvSpPr/>
            <p:nvPr/>
          </p:nvSpPr>
          <p:spPr bwMode="auto">
            <a:xfrm>
              <a:off x="6762751" y="2944813"/>
              <a:ext cx="666750" cy="962025"/>
            </a:xfrm>
            <a:custGeom>
              <a:avLst/>
              <a:gdLst>
                <a:gd name="T0" fmla="*/ 138 w 174"/>
                <a:gd name="T1" fmla="*/ 12 h 251"/>
                <a:gd name="T2" fmla="*/ 90 w 174"/>
                <a:gd name="T3" fmla="*/ 0 h 251"/>
                <a:gd name="T4" fmla="*/ 33 w 174"/>
                <a:gd name="T5" fmla="*/ 77 h 251"/>
                <a:gd name="T6" fmla="*/ 4 w 174"/>
                <a:gd name="T7" fmla="*/ 206 h 251"/>
                <a:gd name="T8" fmla="*/ 133 w 174"/>
                <a:gd name="T9" fmla="*/ 222 h 251"/>
                <a:gd name="T10" fmla="*/ 148 w 174"/>
                <a:gd name="T11" fmla="*/ 19 h 251"/>
                <a:gd name="T12" fmla="*/ 138 w 174"/>
                <a:gd name="T13" fmla="*/ 12 h 251"/>
              </a:gdLst>
              <a:ahLst/>
              <a:cxnLst>
                <a:cxn ang="0">
                  <a:pos x="T0" y="T1"/>
                </a:cxn>
                <a:cxn ang="0">
                  <a:pos x="T2" y="T3"/>
                </a:cxn>
                <a:cxn ang="0">
                  <a:pos x="T4" y="T5"/>
                </a:cxn>
                <a:cxn ang="0">
                  <a:pos x="T6" y="T7"/>
                </a:cxn>
                <a:cxn ang="0">
                  <a:pos x="T8" y="T9"/>
                </a:cxn>
                <a:cxn ang="0">
                  <a:pos x="T10" y="T11"/>
                </a:cxn>
                <a:cxn ang="0">
                  <a:pos x="T12" y="T13"/>
                </a:cxn>
              </a:cxnLst>
              <a:rect l="0" t="0" r="r" b="b"/>
              <a:pathLst>
                <a:path w="174" h="251">
                  <a:moveTo>
                    <a:pt x="138" y="12"/>
                  </a:moveTo>
                  <a:cubicBezTo>
                    <a:pt x="130" y="14"/>
                    <a:pt x="114" y="13"/>
                    <a:pt x="90" y="0"/>
                  </a:cubicBezTo>
                  <a:cubicBezTo>
                    <a:pt x="90" y="0"/>
                    <a:pt x="52" y="10"/>
                    <a:pt x="33" y="77"/>
                  </a:cubicBezTo>
                  <a:cubicBezTo>
                    <a:pt x="14" y="143"/>
                    <a:pt x="0" y="190"/>
                    <a:pt x="4" y="206"/>
                  </a:cubicBezTo>
                  <a:cubicBezTo>
                    <a:pt x="8" y="222"/>
                    <a:pt x="77" y="251"/>
                    <a:pt x="133" y="222"/>
                  </a:cubicBezTo>
                  <a:cubicBezTo>
                    <a:pt x="174" y="201"/>
                    <a:pt x="158" y="56"/>
                    <a:pt x="148" y="19"/>
                  </a:cubicBezTo>
                  <a:cubicBezTo>
                    <a:pt x="147" y="14"/>
                    <a:pt x="143" y="11"/>
                    <a:pt x="138" y="12"/>
                  </a:cubicBezTo>
                </a:path>
              </a:pathLst>
            </a:custGeom>
            <a:solidFill>
              <a:srgbClr val="DB35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9" name="išḷïḋê">
              <a:extLst>
                <a:ext uri="{FF2B5EF4-FFF2-40B4-BE49-F238E27FC236}">
                  <a16:creationId xmlns:a16="http://schemas.microsoft.com/office/drawing/2014/main" id="{C1698ADB-D6A1-4204-8861-DCA7C386A613}"/>
                </a:ext>
              </a:extLst>
            </p:cNvPr>
            <p:cNvSpPr/>
            <p:nvPr/>
          </p:nvSpPr>
          <p:spPr bwMode="auto">
            <a:xfrm>
              <a:off x="7134226" y="3937000"/>
              <a:ext cx="142875" cy="176213"/>
            </a:xfrm>
            <a:custGeom>
              <a:avLst/>
              <a:gdLst>
                <a:gd name="T0" fmla="*/ 37 w 37"/>
                <a:gd name="T1" fmla="*/ 11 h 46"/>
                <a:gd name="T2" fmla="*/ 19 w 37"/>
                <a:gd name="T3" fmla="*/ 40 h 46"/>
                <a:gd name="T4" fmla="*/ 6 w 37"/>
                <a:gd name="T5" fmla="*/ 25 h 46"/>
                <a:gd name="T6" fmla="*/ 16 w 37"/>
                <a:gd name="T7" fmla="*/ 14 h 46"/>
                <a:gd name="T8" fmla="*/ 11 w 37"/>
                <a:gd name="T9" fmla="*/ 15 h 46"/>
                <a:gd name="T10" fmla="*/ 4 w 37"/>
                <a:gd name="T11" fmla="*/ 20 h 46"/>
                <a:gd name="T12" fmla="*/ 16 w 37"/>
                <a:gd name="T13" fmla="*/ 2 h 46"/>
                <a:gd name="T14" fmla="*/ 37 w 37"/>
                <a:gd name="T15" fmla="*/ 1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6">
                  <a:moveTo>
                    <a:pt x="37" y="11"/>
                  </a:moveTo>
                  <a:cubicBezTo>
                    <a:pt x="37" y="11"/>
                    <a:pt x="32" y="33"/>
                    <a:pt x="19" y="40"/>
                  </a:cubicBezTo>
                  <a:cubicBezTo>
                    <a:pt x="5" y="46"/>
                    <a:pt x="0" y="32"/>
                    <a:pt x="6" y="25"/>
                  </a:cubicBezTo>
                  <a:cubicBezTo>
                    <a:pt x="11" y="18"/>
                    <a:pt x="15" y="16"/>
                    <a:pt x="16" y="14"/>
                  </a:cubicBezTo>
                  <a:cubicBezTo>
                    <a:pt x="17" y="11"/>
                    <a:pt x="13" y="11"/>
                    <a:pt x="11" y="15"/>
                  </a:cubicBezTo>
                  <a:cubicBezTo>
                    <a:pt x="9" y="18"/>
                    <a:pt x="4" y="23"/>
                    <a:pt x="4" y="20"/>
                  </a:cubicBezTo>
                  <a:cubicBezTo>
                    <a:pt x="3" y="16"/>
                    <a:pt x="7" y="5"/>
                    <a:pt x="16" y="2"/>
                  </a:cubicBezTo>
                  <a:cubicBezTo>
                    <a:pt x="26" y="0"/>
                    <a:pt x="37" y="11"/>
                    <a:pt x="37" y="11"/>
                  </a:cubicBezTo>
                  <a:close/>
                </a:path>
              </a:pathLst>
            </a:custGeom>
            <a:solidFill>
              <a:srgbClr val="EAC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íŝḻidé">
              <a:extLst>
                <a:ext uri="{FF2B5EF4-FFF2-40B4-BE49-F238E27FC236}">
                  <a16:creationId xmlns:a16="http://schemas.microsoft.com/office/drawing/2014/main" id="{C4301EFC-604B-4FF6-A865-C8D6241CD7EF}"/>
                </a:ext>
              </a:extLst>
            </p:cNvPr>
            <p:cNvSpPr/>
            <p:nvPr/>
          </p:nvSpPr>
          <p:spPr bwMode="auto">
            <a:xfrm>
              <a:off x="7310438" y="3714750"/>
              <a:ext cx="23813" cy="76200"/>
            </a:xfrm>
            <a:custGeom>
              <a:avLst/>
              <a:gdLst>
                <a:gd name="T0" fmla="*/ 6 w 6"/>
                <a:gd name="T1" fmla="*/ 0 h 20"/>
                <a:gd name="T2" fmla="*/ 0 w 6"/>
                <a:gd name="T3" fmla="*/ 12 h 20"/>
                <a:gd name="T4" fmla="*/ 6 w 6"/>
                <a:gd name="T5" fmla="*/ 20 h 20"/>
                <a:gd name="T6" fmla="*/ 6 w 6"/>
                <a:gd name="T7" fmla="*/ 0 h 20"/>
              </a:gdLst>
              <a:ahLst/>
              <a:cxnLst>
                <a:cxn ang="0">
                  <a:pos x="T0" y="T1"/>
                </a:cxn>
                <a:cxn ang="0">
                  <a:pos x="T2" y="T3"/>
                </a:cxn>
                <a:cxn ang="0">
                  <a:pos x="T4" y="T5"/>
                </a:cxn>
                <a:cxn ang="0">
                  <a:pos x="T6" y="T7"/>
                </a:cxn>
              </a:cxnLst>
              <a:rect l="0" t="0" r="r" b="b"/>
              <a:pathLst>
                <a:path w="6" h="20">
                  <a:moveTo>
                    <a:pt x="6" y="0"/>
                  </a:moveTo>
                  <a:cubicBezTo>
                    <a:pt x="5" y="4"/>
                    <a:pt x="3" y="8"/>
                    <a:pt x="0" y="12"/>
                  </a:cubicBezTo>
                  <a:cubicBezTo>
                    <a:pt x="2" y="14"/>
                    <a:pt x="4" y="17"/>
                    <a:pt x="6" y="20"/>
                  </a:cubicBezTo>
                  <a:cubicBezTo>
                    <a:pt x="6" y="0"/>
                    <a:pt x="6" y="0"/>
                    <a:pt x="6" y="0"/>
                  </a:cubicBezTo>
                </a:path>
              </a:pathLst>
            </a:custGeom>
            <a:solidFill>
              <a:srgbClr val="0A86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ïšľïdê">
              <a:extLst>
                <a:ext uri="{FF2B5EF4-FFF2-40B4-BE49-F238E27FC236}">
                  <a16:creationId xmlns:a16="http://schemas.microsoft.com/office/drawing/2014/main" id="{8F715857-FF8D-424D-93A2-CEF922480D8A}"/>
                </a:ext>
              </a:extLst>
            </p:cNvPr>
            <p:cNvSpPr/>
            <p:nvPr/>
          </p:nvSpPr>
          <p:spPr bwMode="auto">
            <a:xfrm>
              <a:off x="7123113" y="3836988"/>
              <a:ext cx="30163" cy="7938"/>
            </a:xfrm>
            <a:custGeom>
              <a:avLst/>
              <a:gdLst>
                <a:gd name="T0" fmla="*/ 8 w 8"/>
                <a:gd name="T1" fmla="*/ 0 h 2"/>
                <a:gd name="T2" fmla="*/ 1 w 8"/>
                <a:gd name="T3" fmla="*/ 1 h 2"/>
                <a:gd name="T4" fmla="*/ 0 w 8"/>
                <a:gd name="T5" fmla="*/ 2 h 2"/>
                <a:gd name="T6" fmla="*/ 8 w 8"/>
                <a:gd name="T7" fmla="*/ 0 h 2"/>
              </a:gdLst>
              <a:ahLst/>
              <a:cxnLst>
                <a:cxn ang="0">
                  <a:pos x="T0" y="T1"/>
                </a:cxn>
                <a:cxn ang="0">
                  <a:pos x="T2" y="T3"/>
                </a:cxn>
                <a:cxn ang="0">
                  <a:pos x="T4" y="T5"/>
                </a:cxn>
                <a:cxn ang="0">
                  <a:pos x="T6" y="T7"/>
                </a:cxn>
              </a:cxnLst>
              <a:rect l="0" t="0" r="r" b="b"/>
              <a:pathLst>
                <a:path w="8" h="2">
                  <a:moveTo>
                    <a:pt x="8" y="0"/>
                  </a:moveTo>
                  <a:cubicBezTo>
                    <a:pt x="6" y="0"/>
                    <a:pt x="3" y="1"/>
                    <a:pt x="1" y="1"/>
                  </a:cubicBezTo>
                  <a:cubicBezTo>
                    <a:pt x="0" y="1"/>
                    <a:pt x="0" y="2"/>
                    <a:pt x="0" y="2"/>
                  </a:cubicBezTo>
                  <a:cubicBezTo>
                    <a:pt x="8" y="0"/>
                    <a:pt x="8" y="0"/>
                    <a:pt x="8" y="0"/>
                  </a:cubicBezTo>
                </a:path>
              </a:pathLst>
            </a:custGeom>
            <a:solidFill>
              <a:srgbClr val="274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2" name="ïṩ1iḓè">
              <a:extLst>
                <a:ext uri="{FF2B5EF4-FFF2-40B4-BE49-F238E27FC236}">
                  <a16:creationId xmlns:a16="http://schemas.microsoft.com/office/drawing/2014/main" id="{DFF1052A-FBEF-49AA-B73B-572EAA5C8F30}"/>
                </a:ext>
              </a:extLst>
            </p:cNvPr>
            <p:cNvSpPr/>
            <p:nvPr/>
          </p:nvSpPr>
          <p:spPr bwMode="auto">
            <a:xfrm>
              <a:off x="7310438" y="3760788"/>
              <a:ext cx="23813" cy="30163"/>
            </a:xfrm>
            <a:custGeom>
              <a:avLst/>
              <a:gdLst>
                <a:gd name="T0" fmla="*/ 0 w 6"/>
                <a:gd name="T1" fmla="*/ 0 h 8"/>
                <a:gd name="T2" fmla="*/ 0 w 6"/>
                <a:gd name="T3" fmla="*/ 0 h 8"/>
                <a:gd name="T4" fmla="*/ 6 w 6"/>
                <a:gd name="T5" fmla="*/ 8 h 8"/>
                <a:gd name="T6" fmla="*/ 6 w 6"/>
                <a:gd name="T7" fmla="*/ 8 h 8"/>
                <a:gd name="T8" fmla="*/ 0 w 6"/>
                <a:gd name="T9" fmla="*/ 0 h 8"/>
              </a:gdLst>
              <a:ahLst/>
              <a:cxnLst>
                <a:cxn ang="0">
                  <a:pos x="T0" y="T1"/>
                </a:cxn>
                <a:cxn ang="0">
                  <a:pos x="T2" y="T3"/>
                </a:cxn>
                <a:cxn ang="0">
                  <a:pos x="T4" y="T5"/>
                </a:cxn>
                <a:cxn ang="0">
                  <a:pos x="T6" y="T7"/>
                </a:cxn>
                <a:cxn ang="0">
                  <a:pos x="T8" y="T9"/>
                </a:cxn>
              </a:cxnLst>
              <a:rect l="0" t="0" r="r" b="b"/>
              <a:pathLst>
                <a:path w="6" h="8">
                  <a:moveTo>
                    <a:pt x="0" y="0"/>
                  </a:moveTo>
                  <a:cubicBezTo>
                    <a:pt x="0" y="0"/>
                    <a:pt x="0" y="0"/>
                    <a:pt x="0" y="0"/>
                  </a:cubicBezTo>
                  <a:cubicBezTo>
                    <a:pt x="2" y="2"/>
                    <a:pt x="4" y="5"/>
                    <a:pt x="6" y="8"/>
                  </a:cubicBezTo>
                  <a:cubicBezTo>
                    <a:pt x="6" y="8"/>
                    <a:pt x="6" y="8"/>
                    <a:pt x="6" y="8"/>
                  </a:cubicBezTo>
                  <a:cubicBezTo>
                    <a:pt x="4" y="5"/>
                    <a:pt x="2" y="2"/>
                    <a:pt x="0" y="0"/>
                  </a:cubicBezTo>
                </a:path>
              </a:pathLst>
            </a:custGeom>
            <a:solidFill>
              <a:srgbClr val="0A7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3" name="i$ḷïḍê">
              <a:extLst>
                <a:ext uri="{FF2B5EF4-FFF2-40B4-BE49-F238E27FC236}">
                  <a16:creationId xmlns:a16="http://schemas.microsoft.com/office/drawing/2014/main" id="{308C2F14-15AD-4783-9FCF-A899F8EB48B3}"/>
                </a:ext>
              </a:extLst>
            </p:cNvPr>
            <p:cNvSpPr/>
            <p:nvPr/>
          </p:nvSpPr>
          <p:spPr bwMode="auto">
            <a:xfrm>
              <a:off x="7199313" y="3760788"/>
              <a:ext cx="134938" cy="65088"/>
            </a:xfrm>
            <a:custGeom>
              <a:avLst/>
              <a:gdLst>
                <a:gd name="T0" fmla="*/ 29 w 35"/>
                <a:gd name="T1" fmla="*/ 0 h 17"/>
                <a:gd name="T2" fmla="*/ 19 w 35"/>
                <a:gd name="T3" fmla="*/ 9 h 17"/>
                <a:gd name="T4" fmla="*/ 0 w 35"/>
                <a:gd name="T5" fmla="*/ 17 h 17"/>
                <a:gd name="T6" fmla="*/ 35 w 35"/>
                <a:gd name="T7" fmla="*/ 9 h 17"/>
                <a:gd name="T8" fmla="*/ 35 w 35"/>
                <a:gd name="T9" fmla="*/ 8 h 17"/>
                <a:gd name="T10" fmla="*/ 29 w 35"/>
                <a:gd name="T11" fmla="*/ 0 h 17"/>
              </a:gdLst>
              <a:ahLst/>
              <a:cxnLst>
                <a:cxn ang="0">
                  <a:pos x="T0" y="T1"/>
                </a:cxn>
                <a:cxn ang="0">
                  <a:pos x="T2" y="T3"/>
                </a:cxn>
                <a:cxn ang="0">
                  <a:pos x="T4" y="T5"/>
                </a:cxn>
                <a:cxn ang="0">
                  <a:pos x="T6" y="T7"/>
                </a:cxn>
                <a:cxn ang="0">
                  <a:pos x="T8" y="T9"/>
                </a:cxn>
                <a:cxn ang="0">
                  <a:pos x="T10" y="T11"/>
                </a:cxn>
              </a:cxnLst>
              <a:rect l="0" t="0" r="r" b="b"/>
              <a:pathLst>
                <a:path w="35" h="17">
                  <a:moveTo>
                    <a:pt x="29" y="0"/>
                  </a:moveTo>
                  <a:cubicBezTo>
                    <a:pt x="26" y="4"/>
                    <a:pt x="23" y="7"/>
                    <a:pt x="19" y="9"/>
                  </a:cubicBezTo>
                  <a:cubicBezTo>
                    <a:pt x="13" y="13"/>
                    <a:pt x="6" y="15"/>
                    <a:pt x="0" y="17"/>
                  </a:cubicBezTo>
                  <a:cubicBezTo>
                    <a:pt x="35" y="9"/>
                    <a:pt x="35" y="9"/>
                    <a:pt x="35" y="9"/>
                  </a:cubicBezTo>
                  <a:cubicBezTo>
                    <a:pt x="35" y="8"/>
                    <a:pt x="35" y="8"/>
                    <a:pt x="35" y="8"/>
                  </a:cubicBezTo>
                  <a:cubicBezTo>
                    <a:pt x="33" y="5"/>
                    <a:pt x="31" y="2"/>
                    <a:pt x="29" y="0"/>
                  </a:cubicBezTo>
                </a:path>
              </a:pathLst>
            </a:custGeom>
            <a:solidFill>
              <a:srgbClr val="2445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4" name="ïṡlíḋê">
              <a:extLst>
                <a:ext uri="{FF2B5EF4-FFF2-40B4-BE49-F238E27FC236}">
                  <a16:creationId xmlns:a16="http://schemas.microsoft.com/office/drawing/2014/main" id="{544A98B7-D18E-43AD-BDE1-3B3A22F73957}"/>
                </a:ext>
              </a:extLst>
            </p:cNvPr>
            <p:cNvSpPr/>
            <p:nvPr/>
          </p:nvSpPr>
          <p:spPr bwMode="auto">
            <a:xfrm>
              <a:off x="7127876" y="3308350"/>
              <a:ext cx="214313" cy="533400"/>
            </a:xfrm>
            <a:custGeom>
              <a:avLst/>
              <a:gdLst>
                <a:gd name="T0" fmla="*/ 30 w 56"/>
                <a:gd name="T1" fmla="*/ 0 h 139"/>
                <a:gd name="T2" fmla="*/ 34 w 56"/>
                <a:gd name="T3" fmla="*/ 82 h 139"/>
                <a:gd name="T4" fmla="*/ 0 w 56"/>
                <a:gd name="T5" fmla="*/ 139 h 139"/>
                <a:gd name="T6" fmla="*/ 7 w 56"/>
                <a:gd name="T7" fmla="*/ 138 h 139"/>
                <a:gd name="T8" fmla="*/ 19 w 56"/>
                <a:gd name="T9" fmla="*/ 135 h 139"/>
                <a:gd name="T10" fmla="*/ 38 w 56"/>
                <a:gd name="T11" fmla="*/ 127 h 139"/>
                <a:gd name="T12" fmla="*/ 48 w 56"/>
                <a:gd name="T13" fmla="*/ 118 h 139"/>
                <a:gd name="T14" fmla="*/ 48 w 56"/>
                <a:gd name="T15" fmla="*/ 118 h 139"/>
                <a:gd name="T16" fmla="*/ 54 w 56"/>
                <a:gd name="T17" fmla="*/ 106 h 139"/>
                <a:gd name="T18" fmla="*/ 56 w 56"/>
                <a:gd name="T19" fmla="*/ 53 h 139"/>
                <a:gd name="T20" fmla="*/ 30 w 56"/>
                <a:gd name="T2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39">
                  <a:moveTo>
                    <a:pt x="30" y="0"/>
                  </a:moveTo>
                  <a:cubicBezTo>
                    <a:pt x="30" y="0"/>
                    <a:pt x="41" y="62"/>
                    <a:pt x="34" y="82"/>
                  </a:cubicBezTo>
                  <a:cubicBezTo>
                    <a:pt x="28" y="101"/>
                    <a:pt x="4" y="133"/>
                    <a:pt x="0" y="139"/>
                  </a:cubicBezTo>
                  <a:cubicBezTo>
                    <a:pt x="2" y="139"/>
                    <a:pt x="5" y="138"/>
                    <a:pt x="7" y="138"/>
                  </a:cubicBezTo>
                  <a:cubicBezTo>
                    <a:pt x="19" y="135"/>
                    <a:pt x="19" y="135"/>
                    <a:pt x="19" y="135"/>
                  </a:cubicBezTo>
                  <a:cubicBezTo>
                    <a:pt x="25" y="133"/>
                    <a:pt x="32" y="131"/>
                    <a:pt x="38" y="127"/>
                  </a:cubicBezTo>
                  <a:cubicBezTo>
                    <a:pt x="42" y="125"/>
                    <a:pt x="45" y="122"/>
                    <a:pt x="48" y="118"/>
                  </a:cubicBezTo>
                  <a:cubicBezTo>
                    <a:pt x="48" y="118"/>
                    <a:pt x="48" y="118"/>
                    <a:pt x="48" y="118"/>
                  </a:cubicBezTo>
                  <a:cubicBezTo>
                    <a:pt x="51" y="114"/>
                    <a:pt x="53" y="110"/>
                    <a:pt x="54" y="106"/>
                  </a:cubicBezTo>
                  <a:cubicBezTo>
                    <a:pt x="56" y="53"/>
                    <a:pt x="56" y="53"/>
                    <a:pt x="56" y="53"/>
                  </a:cubicBezTo>
                  <a:cubicBezTo>
                    <a:pt x="30" y="0"/>
                    <a:pt x="30" y="0"/>
                    <a:pt x="30" y="0"/>
                  </a:cubicBezTo>
                </a:path>
              </a:pathLst>
            </a:custGeom>
            <a:solidFill>
              <a:srgbClr val="D32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íṩľîḑê">
              <a:extLst>
                <a:ext uri="{FF2B5EF4-FFF2-40B4-BE49-F238E27FC236}">
                  <a16:creationId xmlns:a16="http://schemas.microsoft.com/office/drawing/2014/main" id="{353D63D8-2A96-447F-8CC9-A5E537C607D6}"/>
                </a:ext>
              </a:extLst>
            </p:cNvPr>
            <p:cNvSpPr/>
            <p:nvPr/>
          </p:nvSpPr>
          <p:spPr bwMode="auto">
            <a:xfrm>
              <a:off x="7185026" y="2984500"/>
              <a:ext cx="325438" cy="1009650"/>
            </a:xfrm>
            <a:custGeom>
              <a:avLst/>
              <a:gdLst>
                <a:gd name="T0" fmla="*/ 28 w 85"/>
                <a:gd name="T1" fmla="*/ 5 h 264"/>
                <a:gd name="T2" fmla="*/ 66 w 85"/>
                <a:gd name="T3" fmla="*/ 29 h 264"/>
                <a:gd name="T4" fmla="*/ 81 w 85"/>
                <a:gd name="T5" fmla="*/ 163 h 264"/>
                <a:gd name="T6" fmla="*/ 24 w 85"/>
                <a:gd name="T7" fmla="*/ 264 h 264"/>
                <a:gd name="T8" fmla="*/ 0 w 85"/>
                <a:gd name="T9" fmla="*/ 251 h 264"/>
                <a:gd name="T10" fmla="*/ 35 w 85"/>
                <a:gd name="T11" fmla="*/ 158 h 264"/>
                <a:gd name="T12" fmla="*/ 8 w 85"/>
                <a:gd name="T13" fmla="*/ 42 h 264"/>
                <a:gd name="T14" fmla="*/ 28 w 85"/>
                <a:gd name="T15" fmla="*/ 5 h 2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264">
                  <a:moveTo>
                    <a:pt x="28" y="5"/>
                  </a:moveTo>
                  <a:cubicBezTo>
                    <a:pt x="28" y="5"/>
                    <a:pt x="57" y="3"/>
                    <a:pt x="66" y="29"/>
                  </a:cubicBezTo>
                  <a:cubicBezTo>
                    <a:pt x="74" y="55"/>
                    <a:pt x="85" y="103"/>
                    <a:pt x="81" y="163"/>
                  </a:cubicBezTo>
                  <a:cubicBezTo>
                    <a:pt x="77" y="223"/>
                    <a:pt x="24" y="264"/>
                    <a:pt x="24" y="264"/>
                  </a:cubicBezTo>
                  <a:cubicBezTo>
                    <a:pt x="0" y="251"/>
                    <a:pt x="0" y="251"/>
                    <a:pt x="0" y="251"/>
                  </a:cubicBezTo>
                  <a:cubicBezTo>
                    <a:pt x="0" y="251"/>
                    <a:pt x="34" y="181"/>
                    <a:pt x="35" y="158"/>
                  </a:cubicBezTo>
                  <a:cubicBezTo>
                    <a:pt x="36" y="135"/>
                    <a:pt x="7" y="67"/>
                    <a:pt x="8" y="42"/>
                  </a:cubicBezTo>
                  <a:cubicBezTo>
                    <a:pt x="9" y="0"/>
                    <a:pt x="28" y="5"/>
                    <a:pt x="28" y="5"/>
                  </a:cubicBezTo>
                  <a:close/>
                </a:path>
              </a:pathLst>
            </a:custGeom>
            <a:solidFill>
              <a:srgbClr val="DB35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ïşlïḑè">
              <a:extLst>
                <a:ext uri="{FF2B5EF4-FFF2-40B4-BE49-F238E27FC236}">
                  <a16:creationId xmlns:a16="http://schemas.microsoft.com/office/drawing/2014/main" id="{77088380-2D65-4B62-AC3F-D5FA048F0D68}"/>
                </a:ext>
              </a:extLst>
            </p:cNvPr>
            <p:cNvSpPr/>
            <p:nvPr/>
          </p:nvSpPr>
          <p:spPr bwMode="auto">
            <a:xfrm>
              <a:off x="7131051" y="2451100"/>
              <a:ext cx="820738" cy="1060450"/>
            </a:xfrm>
            <a:custGeom>
              <a:avLst/>
              <a:gdLst>
                <a:gd name="T0" fmla="*/ 71 w 214"/>
                <a:gd name="T1" fmla="*/ 21 h 277"/>
                <a:gd name="T2" fmla="*/ 53 w 214"/>
                <a:gd name="T3" fmla="*/ 16 h 277"/>
                <a:gd name="T4" fmla="*/ 43 w 214"/>
                <a:gd name="T5" fmla="*/ 10 h 277"/>
                <a:gd name="T6" fmla="*/ 2 w 214"/>
                <a:gd name="T7" fmla="*/ 18 h 277"/>
                <a:gd name="T8" fmla="*/ 48 w 214"/>
                <a:gd name="T9" fmla="*/ 66 h 277"/>
                <a:gd name="T10" fmla="*/ 43 w 214"/>
                <a:gd name="T11" fmla="*/ 92 h 277"/>
                <a:gd name="T12" fmla="*/ 47 w 214"/>
                <a:gd name="T13" fmla="*/ 223 h 277"/>
                <a:gd name="T14" fmla="*/ 151 w 214"/>
                <a:gd name="T15" fmla="*/ 266 h 277"/>
                <a:gd name="T16" fmla="*/ 176 w 214"/>
                <a:gd name="T17" fmla="*/ 178 h 277"/>
                <a:gd name="T18" fmla="*/ 148 w 214"/>
                <a:gd name="T19" fmla="*/ 109 h 277"/>
                <a:gd name="T20" fmla="*/ 109 w 214"/>
                <a:gd name="T21" fmla="*/ 65 h 277"/>
                <a:gd name="T22" fmla="*/ 71 w 214"/>
                <a:gd name="T23" fmla="*/ 2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4" h="277">
                  <a:moveTo>
                    <a:pt x="71" y="21"/>
                  </a:moveTo>
                  <a:cubicBezTo>
                    <a:pt x="65" y="20"/>
                    <a:pt x="59" y="19"/>
                    <a:pt x="53" y="16"/>
                  </a:cubicBezTo>
                  <a:cubicBezTo>
                    <a:pt x="50" y="15"/>
                    <a:pt x="47" y="13"/>
                    <a:pt x="43" y="10"/>
                  </a:cubicBezTo>
                  <a:cubicBezTo>
                    <a:pt x="32" y="0"/>
                    <a:pt x="3" y="3"/>
                    <a:pt x="2" y="18"/>
                  </a:cubicBezTo>
                  <a:cubicBezTo>
                    <a:pt x="0" y="33"/>
                    <a:pt x="7" y="54"/>
                    <a:pt x="48" y="66"/>
                  </a:cubicBezTo>
                  <a:cubicBezTo>
                    <a:pt x="56" y="69"/>
                    <a:pt x="53" y="78"/>
                    <a:pt x="43" y="92"/>
                  </a:cubicBezTo>
                  <a:cubicBezTo>
                    <a:pt x="11" y="135"/>
                    <a:pt x="31" y="199"/>
                    <a:pt x="47" y="223"/>
                  </a:cubicBezTo>
                  <a:cubicBezTo>
                    <a:pt x="64" y="247"/>
                    <a:pt x="97" y="277"/>
                    <a:pt x="151" y="266"/>
                  </a:cubicBezTo>
                  <a:cubicBezTo>
                    <a:pt x="214" y="254"/>
                    <a:pt x="204" y="192"/>
                    <a:pt x="176" y="178"/>
                  </a:cubicBezTo>
                  <a:cubicBezTo>
                    <a:pt x="149" y="164"/>
                    <a:pt x="179" y="124"/>
                    <a:pt x="148" y="109"/>
                  </a:cubicBezTo>
                  <a:cubicBezTo>
                    <a:pt x="121" y="95"/>
                    <a:pt x="107" y="83"/>
                    <a:pt x="109" y="65"/>
                  </a:cubicBezTo>
                  <a:cubicBezTo>
                    <a:pt x="111" y="44"/>
                    <a:pt x="92" y="22"/>
                    <a:pt x="71" y="21"/>
                  </a:cubicBezTo>
                </a:path>
              </a:pathLst>
            </a:custGeom>
            <a:solidFill>
              <a:srgbClr val="513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íṣḷídê">
              <a:extLst>
                <a:ext uri="{FF2B5EF4-FFF2-40B4-BE49-F238E27FC236}">
                  <a16:creationId xmlns:a16="http://schemas.microsoft.com/office/drawing/2014/main" id="{F082D545-AF0C-4BF1-BF9A-AB3B971E9769}"/>
                </a:ext>
              </a:extLst>
            </p:cNvPr>
            <p:cNvSpPr/>
            <p:nvPr/>
          </p:nvSpPr>
          <p:spPr bwMode="auto">
            <a:xfrm>
              <a:off x="7008813" y="2466975"/>
              <a:ext cx="279400" cy="133350"/>
            </a:xfrm>
            <a:custGeom>
              <a:avLst/>
              <a:gdLst>
                <a:gd name="T0" fmla="*/ 9 w 73"/>
                <a:gd name="T1" fmla="*/ 15 h 35"/>
                <a:gd name="T2" fmla="*/ 71 w 73"/>
                <a:gd name="T3" fmla="*/ 28 h 35"/>
                <a:gd name="T4" fmla="*/ 63 w 73"/>
                <a:gd name="T5" fmla="*/ 32 h 35"/>
                <a:gd name="T6" fmla="*/ 14 w 73"/>
                <a:gd name="T7" fmla="*/ 31 h 35"/>
                <a:gd name="T8" fmla="*/ 9 w 73"/>
                <a:gd name="T9" fmla="*/ 15 h 35"/>
              </a:gdLst>
              <a:ahLst/>
              <a:cxnLst>
                <a:cxn ang="0">
                  <a:pos x="T0" y="T1"/>
                </a:cxn>
                <a:cxn ang="0">
                  <a:pos x="T2" y="T3"/>
                </a:cxn>
                <a:cxn ang="0">
                  <a:pos x="T4" y="T5"/>
                </a:cxn>
                <a:cxn ang="0">
                  <a:pos x="T6" y="T7"/>
                </a:cxn>
                <a:cxn ang="0">
                  <a:pos x="T8" y="T9"/>
                </a:cxn>
              </a:cxnLst>
              <a:rect l="0" t="0" r="r" b="b"/>
              <a:pathLst>
                <a:path w="73" h="35">
                  <a:moveTo>
                    <a:pt x="9" y="15"/>
                  </a:moveTo>
                  <a:cubicBezTo>
                    <a:pt x="9" y="15"/>
                    <a:pt x="59" y="0"/>
                    <a:pt x="71" y="28"/>
                  </a:cubicBezTo>
                  <a:cubicBezTo>
                    <a:pt x="71" y="28"/>
                    <a:pt x="73" y="33"/>
                    <a:pt x="63" y="32"/>
                  </a:cubicBezTo>
                  <a:cubicBezTo>
                    <a:pt x="53" y="32"/>
                    <a:pt x="27" y="28"/>
                    <a:pt x="14" y="31"/>
                  </a:cubicBezTo>
                  <a:cubicBezTo>
                    <a:pt x="0" y="35"/>
                    <a:pt x="9" y="15"/>
                    <a:pt x="9" y="15"/>
                  </a:cubicBezTo>
                  <a:close/>
                </a:path>
              </a:pathLst>
            </a:custGeom>
            <a:solidFill>
              <a:srgbClr val="EAC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iš1íḓe">
              <a:extLst>
                <a:ext uri="{FF2B5EF4-FFF2-40B4-BE49-F238E27FC236}">
                  <a16:creationId xmlns:a16="http://schemas.microsoft.com/office/drawing/2014/main" id="{15442FB9-E482-473A-9E17-36B1F71B4D34}"/>
                </a:ext>
              </a:extLst>
            </p:cNvPr>
            <p:cNvSpPr/>
            <p:nvPr/>
          </p:nvSpPr>
          <p:spPr bwMode="auto">
            <a:xfrm>
              <a:off x="6678613" y="2501900"/>
              <a:ext cx="479425" cy="692150"/>
            </a:xfrm>
            <a:custGeom>
              <a:avLst/>
              <a:gdLst>
                <a:gd name="T0" fmla="*/ 63 w 125"/>
                <a:gd name="T1" fmla="*/ 181 h 181"/>
                <a:gd name="T2" fmla="*/ 1 w 125"/>
                <a:gd name="T3" fmla="*/ 50 h 181"/>
                <a:gd name="T4" fmla="*/ 7 w 125"/>
                <a:gd name="T5" fmla="*/ 37 h 181"/>
                <a:gd name="T6" fmla="*/ 109 w 125"/>
                <a:gd name="T7" fmla="*/ 0 h 181"/>
                <a:gd name="T8" fmla="*/ 113 w 125"/>
                <a:gd name="T9" fmla="*/ 21 h 181"/>
                <a:gd name="T10" fmla="*/ 52 w 125"/>
                <a:gd name="T11" fmla="*/ 53 h 181"/>
                <a:gd name="T12" fmla="*/ 106 w 125"/>
                <a:gd name="T13" fmla="*/ 115 h 181"/>
                <a:gd name="T14" fmla="*/ 63 w 125"/>
                <a:gd name="T15" fmla="*/ 181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81">
                  <a:moveTo>
                    <a:pt x="63" y="181"/>
                  </a:moveTo>
                  <a:cubicBezTo>
                    <a:pt x="63" y="181"/>
                    <a:pt x="11" y="113"/>
                    <a:pt x="1" y="50"/>
                  </a:cubicBezTo>
                  <a:cubicBezTo>
                    <a:pt x="0" y="45"/>
                    <a:pt x="2" y="40"/>
                    <a:pt x="7" y="37"/>
                  </a:cubicBezTo>
                  <a:cubicBezTo>
                    <a:pt x="20" y="28"/>
                    <a:pt x="52" y="3"/>
                    <a:pt x="109" y="0"/>
                  </a:cubicBezTo>
                  <a:cubicBezTo>
                    <a:pt x="113" y="21"/>
                    <a:pt x="113" y="21"/>
                    <a:pt x="113" y="21"/>
                  </a:cubicBezTo>
                  <a:cubicBezTo>
                    <a:pt x="113" y="21"/>
                    <a:pt x="76" y="51"/>
                    <a:pt x="52" y="53"/>
                  </a:cubicBezTo>
                  <a:cubicBezTo>
                    <a:pt x="52" y="53"/>
                    <a:pt x="87" y="112"/>
                    <a:pt x="106" y="115"/>
                  </a:cubicBezTo>
                  <a:cubicBezTo>
                    <a:pt x="125" y="119"/>
                    <a:pt x="63" y="181"/>
                    <a:pt x="63" y="181"/>
                  </a:cubicBezTo>
                </a:path>
              </a:pathLst>
            </a:custGeom>
            <a:solidFill>
              <a:srgbClr val="DB35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iṥliḋé">
              <a:extLst>
                <a:ext uri="{FF2B5EF4-FFF2-40B4-BE49-F238E27FC236}">
                  <a16:creationId xmlns:a16="http://schemas.microsoft.com/office/drawing/2014/main" id="{0C50F2DB-C053-48AA-9729-54D868A976A7}"/>
                </a:ext>
              </a:extLst>
            </p:cNvPr>
            <p:cNvSpPr/>
            <p:nvPr/>
          </p:nvSpPr>
          <p:spPr bwMode="auto">
            <a:xfrm>
              <a:off x="7288213" y="2684463"/>
              <a:ext cx="87313" cy="150813"/>
            </a:xfrm>
            <a:custGeom>
              <a:avLst/>
              <a:gdLst>
                <a:gd name="T0" fmla="*/ 0 w 23"/>
                <a:gd name="T1" fmla="*/ 13 h 39"/>
                <a:gd name="T2" fmla="*/ 15 w 23"/>
                <a:gd name="T3" fmla="*/ 6 h 39"/>
                <a:gd name="T4" fmla="*/ 1 w 23"/>
                <a:gd name="T5" fmla="*/ 32 h 39"/>
                <a:gd name="T6" fmla="*/ 0 w 23"/>
                <a:gd name="T7" fmla="*/ 13 h 39"/>
              </a:gdLst>
              <a:ahLst/>
              <a:cxnLst>
                <a:cxn ang="0">
                  <a:pos x="T0" y="T1"/>
                </a:cxn>
                <a:cxn ang="0">
                  <a:pos x="T2" y="T3"/>
                </a:cxn>
                <a:cxn ang="0">
                  <a:pos x="T4" y="T5"/>
                </a:cxn>
                <a:cxn ang="0">
                  <a:pos x="T6" y="T7"/>
                </a:cxn>
              </a:cxnLst>
              <a:rect l="0" t="0" r="r" b="b"/>
              <a:pathLst>
                <a:path w="23" h="39">
                  <a:moveTo>
                    <a:pt x="0" y="13"/>
                  </a:moveTo>
                  <a:cubicBezTo>
                    <a:pt x="0" y="13"/>
                    <a:pt x="7" y="0"/>
                    <a:pt x="15" y="6"/>
                  </a:cubicBezTo>
                  <a:cubicBezTo>
                    <a:pt x="23" y="12"/>
                    <a:pt x="19" y="39"/>
                    <a:pt x="1" y="32"/>
                  </a:cubicBezTo>
                  <a:cubicBezTo>
                    <a:pt x="0" y="13"/>
                    <a:pt x="0" y="13"/>
                    <a:pt x="0" y="13"/>
                  </a:cubicBezTo>
                </a:path>
              </a:pathLst>
            </a:custGeom>
            <a:solidFill>
              <a:srgbClr val="EAC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íṩḷíḑé">
              <a:extLst>
                <a:ext uri="{FF2B5EF4-FFF2-40B4-BE49-F238E27FC236}">
                  <a16:creationId xmlns:a16="http://schemas.microsoft.com/office/drawing/2014/main" id="{B59C16A6-C003-4A1E-AA3F-0C79D6CFAF86}"/>
                </a:ext>
              </a:extLst>
            </p:cNvPr>
            <p:cNvSpPr/>
            <p:nvPr/>
          </p:nvSpPr>
          <p:spPr bwMode="auto">
            <a:xfrm>
              <a:off x="7375526" y="2551113"/>
              <a:ext cx="576263" cy="949325"/>
            </a:xfrm>
            <a:custGeom>
              <a:avLst/>
              <a:gdLst>
                <a:gd name="T0" fmla="*/ 46 w 150"/>
                <a:gd name="T1" fmla="*/ 223 h 248"/>
                <a:gd name="T2" fmla="*/ 80 w 150"/>
                <a:gd name="T3" fmla="*/ 142 h 248"/>
                <a:gd name="T4" fmla="*/ 60 w 150"/>
                <a:gd name="T5" fmla="*/ 73 h 248"/>
                <a:gd name="T6" fmla="*/ 28 w 150"/>
                <a:gd name="T7" fmla="*/ 27 h 248"/>
                <a:gd name="T8" fmla="*/ 23 w 150"/>
                <a:gd name="T9" fmla="*/ 0 h 248"/>
                <a:gd name="T10" fmla="*/ 45 w 150"/>
                <a:gd name="T11" fmla="*/ 39 h 248"/>
                <a:gd name="T12" fmla="*/ 84 w 150"/>
                <a:gd name="T13" fmla="*/ 83 h 248"/>
                <a:gd name="T14" fmla="*/ 112 w 150"/>
                <a:gd name="T15" fmla="*/ 152 h 248"/>
                <a:gd name="T16" fmla="*/ 87 w 150"/>
                <a:gd name="T17" fmla="*/ 240 h 248"/>
                <a:gd name="T18" fmla="*/ 0 w 150"/>
                <a:gd name="T19" fmla="*/ 216 h 248"/>
                <a:gd name="T20" fmla="*/ 46 w 150"/>
                <a:gd name="T21" fmla="*/ 22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248">
                  <a:moveTo>
                    <a:pt x="46" y="223"/>
                  </a:moveTo>
                  <a:cubicBezTo>
                    <a:pt x="107" y="219"/>
                    <a:pt x="104" y="158"/>
                    <a:pt x="80" y="142"/>
                  </a:cubicBezTo>
                  <a:cubicBezTo>
                    <a:pt x="55" y="125"/>
                    <a:pt x="88" y="91"/>
                    <a:pt x="60" y="73"/>
                  </a:cubicBezTo>
                  <a:cubicBezTo>
                    <a:pt x="36" y="57"/>
                    <a:pt x="24" y="44"/>
                    <a:pt x="28" y="27"/>
                  </a:cubicBezTo>
                  <a:cubicBezTo>
                    <a:pt x="30" y="18"/>
                    <a:pt x="28" y="8"/>
                    <a:pt x="23" y="0"/>
                  </a:cubicBezTo>
                  <a:cubicBezTo>
                    <a:pt x="37" y="8"/>
                    <a:pt x="47" y="24"/>
                    <a:pt x="45" y="39"/>
                  </a:cubicBezTo>
                  <a:cubicBezTo>
                    <a:pt x="43" y="57"/>
                    <a:pt x="57" y="69"/>
                    <a:pt x="84" y="83"/>
                  </a:cubicBezTo>
                  <a:cubicBezTo>
                    <a:pt x="115" y="98"/>
                    <a:pt x="85" y="138"/>
                    <a:pt x="112" y="152"/>
                  </a:cubicBezTo>
                  <a:cubicBezTo>
                    <a:pt x="140" y="166"/>
                    <a:pt x="150" y="228"/>
                    <a:pt x="87" y="240"/>
                  </a:cubicBezTo>
                  <a:cubicBezTo>
                    <a:pt x="47" y="248"/>
                    <a:pt x="19" y="234"/>
                    <a:pt x="0" y="216"/>
                  </a:cubicBezTo>
                  <a:cubicBezTo>
                    <a:pt x="13" y="222"/>
                    <a:pt x="28" y="225"/>
                    <a:pt x="46" y="223"/>
                  </a:cubicBezTo>
                  <a:close/>
                </a:path>
              </a:pathLst>
            </a:custGeom>
            <a:solidFill>
              <a:srgbClr val="513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îsḷíḍê">
              <a:extLst>
                <a:ext uri="{FF2B5EF4-FFF2-40B4-BE49-F238E27FC236}">
                  <a16:creationId xmlns:a16="http://schemas.microsoft.com/office/drawing/2014/main" id="{759A19FC-2D2E-4878-8DB1-C37F05377627}"/>
                </a:ext>
              </a:extLst>
            </p:cNvPr>
            <p:cNvSpPr/>
            <p:nvPr/>
          </p:nvSpPr>
          <p:spPr bwMode="auto">
            <a:xfrm>
              <a:off x="7288213" y="2705100"/>
              <a:ext cx="73025" cy="106363"/>
            </a:xfrm>
            <a:custGeom>
              <a:avLst/>
              <a:gdLst>
                <a:gd name="T0" fmla="*/ 11 w 19"/>
                <a:gd name="T1" fmla="*/ 0 h 28"/>
                <a:gd name="T2" fmla="*/ 0 w 19"/>
                <a:gd name="T3" fmla="*/ 8 h 28"/>
                <a:gd name="T4" fmla="*/ 1 w 19"/>
                <a:gd name="T5" fmla="*/ 27 h 28"/>
                <a:gd name="T6" fmla="*/ 7 w 19"/>
                <a:gd name="T7" fmla="*/ 28 h 28"/>
                <a:gd name="T8" fmla="*/ 19 w 19"/>
                <a:gd name="T9" fmla="*/ 11 h 28"/>
                <a:gd name="T10" fmla="*/ 15 w 19"/>
                <a:gd name="T11" fmla="*/ 1 h 28"/>
                <a:gd name="T12" fmla="*/ 11 w 19"/>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9" h="28">
                  <a:moveTo>
                    <a:pt x="11" y="0"/>
                  </a:moveTo>
                  <a:cubicBezTo>
                    <a:pt x="5" y="0"/>
                    <a:pt x="0" y="8"/>
                    <a:pt x="0" y="8"/>
                  </a:cubicBezTo>
                  <a:cubicBezTo>
                    <a:pt x="1" y="27"/>
                    <a:pt x="1" y="27"/>
                    <a:pt x="1" y="27"/>
                  </a:cubicBezTo>
                  <a:cubicBezTo>
                    <a:pt x="3" y="28"/>
                    <a:pt x="5" y="28"/>
                    <a:pt x="7" y="28"/>
                  </a:cubicBezTo>
                  <a:cubicBezTo>
                    <a:pt x="15" y="28"/>
                    <a:pt x="19" y="19"/>
                    <a:pt x="19" y="11"/>
                  </a:cubicBezTo>
                  <a:cubicBezTo>
                    <a:pt x="19" y="7"/>
                    <a:pt x="18" y="3"/>
                    <a:pt x="15" y="1"/>
                  </a:cubicBezTo>
                  <a:cubicBezTo>
                    <a:pt x="14" y="0"/>
                    <a:pt x="12" y="0"/>
                    <a:pt x="11" y="0"/>
                  </a:cubicBezTo>
                </a:path>
              </a:pathLst>
            </a:custGeom>
            <a:solidFill>
              <a:srgbClr val="DDA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iṩļíḑê">
              <a:extLst>
                <a:ext uri="{FF2B5EF4-FFF2-40B4-BE49-F238E27FC236}">
                  <a16:creationId xmlns:a16="http://schemas.microsoft.com/office/drawing/2014/main" id="{DCE1D621-76A7-4B18-B366-1CB69F028E70}"/>
                </a:ext>
              </a:extLst>
            </p:cNvPr>
            <p:cNvSpPr/>
            <p:nvPr/>
          </p:nvSpPr>
          <p:spPr bwMode="auto">
            <a:xfrm>
              <a:off x="6892926" y="3159125"/>
              <a:ext cx="15875" cy="19050"/>
            </a:xfrm>
            <a:custGeom>
              <a:avLst/>
              <a:gdLst>
                <a:gd name="T0" fmla="*/ 0 w 4"/>
                <a:gd name="T1" fmla="*/ 0 h 5"/>
                <a:gd name="T2" fmla="*/ 4 w 4"/>
                <a:gd name="T3" fmla="*/ 5 h 5"/>
                <a:gd name="T4" fmla="*/ 4 w 4"/>
                <a:gd name="T5" fmla="*/ 5 h 5"/>
                <a:gd name="T6" fmla="*/ 0 w 4"/>
                <a:gd name="T7" fmla="*/ 0 h 5"/>
              </a:gdLst>
              <a:ahLst/>
              <a:cxnLst>
                <a:cxn ang="0">
                  <a:pos x="T0" y="T1"/>
                </a:cxn>
                <a:cxn ang="0">
                  <a:pos x="T2" y="T3"/>
                </a:cxn>
                <a:cxn ang="0">
                  <a:pos x="T4" y="T5"/>
                </a:cxn>
                <a:cxn ang="0">
                  <a:pos x="T6" y="T7"/>
                </a:cxn>
              </a:cxnLst>
              <a:rect l="0" t="0" r="r" b="b"/>
              <a:pathLst>
                <a:path w="4" h="5">
                  <a:moveTo>
                    <a:pt x="0" y="0"/>
                  </a:moveTo>
                  <a:cubicBezTo>
                    <a:pt x="1" y="2"/>
                    <a:pt x="3" y="3"/>
                    <a:pt x="4" y="5"/>
                  </a:cubicBezTo>
                  <a:cubicBezTo>
                    <a:pt x="4" y="5"/>
                    <a:pt x="4" y="5"/>
                    <a:pt x="4" y="5"/>
                  </a:cubicBezTo>
                  <a:cubicBezTo>
                    <a:pt x="3" y="3"/>
                    <a:pt x="1" y="2"/>
                    <a:pt x="0" y="0"/>
                  </a:cubicBezTo>
                </a:path>
              </a:pathLst>
            </a:custGeom>
            <a:solidFill>
              <a:srgbClr val="0A86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iśľíḋè">
              <a:extLst>
                <a:ext uri="{FF2B5EF4-FFF2-40B4-BE49-F238E27FC236}">
                  <a16:creationId xmlns:a16="http://schemas.microsoft.com/office/drawing/2014/main" id="{BD38063C-9663-4C4C-ABAE-1BF047754D50}"/>
                </a:ext>
              </a:extLst>
            </p:cNvPr>
            <p:cNvSpPr/>
            <p:nvPr/>
          </p:nvSpPr>
          <p:spPr bwMode="auto">
            <a:xfrm>
              <a:off x="6683376" y="2708275"/>
              <a:ext cx="301625" cy="469900"/>
            </a:xfrm>
            <a:custGeom>
              <a:avLst/>
              <a:gdLst>
                <a:gd name="T0" fmla="*/ 0 w 79"/>
                <a:gd name="T1" fmla="*/ 0 h 123"/>
                <a:gd name="T2" fmla="*/ 55 w 79"/>
                <a:gd name="T3" fmla="*/ 118 h 123"/>
                <a:gd name="T4" fmla="*/ 59 w 79"/>
                <a:gd name="T5" fmla="*/ 123 h 123"/>
                <a:gd name="T6" fmla="*/ 79 w 79"/>
                <a:gd name="T7" fmla="*/ 86 h 123"/>
                <a:gd name="T8" fmla="*/ 0 w 79"/>
                <a:gd name="T9" fmla="*/ 0 h 123"/>
              </a:gdLst>
              <a:ahLst/>
              <a:cxnLst>
                <a:cxn ang="0">
                  <a:pos x="T0" y="T1"/>
                </a:cxn>
                <a:cxn ang="0">
                  <a:pos x="T2" y="T3"/>
                </a:cxn>
                <a:cxn ang="0">
                  <a:pos x="T4" y="T5"/>
                </a:cxn>
                <a:cxn ang="0">
                  <a:pos x="T6" y="T7"/>
                </a:cxn>
                <a:cxn ang="0">
                  <a:pos x="T8" y="T9"/>
                </a:cxn>
              </a:cxnLst>
              <a:rect l="0" t="0" r="r" b="b"/>
              <a:pathLst>
                <a:path w="79" h="123">
                  <a:moveTo>
                    <a:pt x="0" y="0"/>
                  </a:moveTo>
                  <a:cubicBezTo>
                    <a:pt x="9" y="48"/>
                    <a:pt x="41" y="97"/>
                    <a:pt x="55" y="118"/>
                  </a:cubicBezTo>
                  <a:cubicBezTo>
                    <a:pt x="56" y="120"/>
                    <a:pt x="58" y="121"/>
                    <a:pt x="59" y="123"/>
                  </a:cubicBezTo>
                  <a:cubicBezTo>
                    <a:pt x="64" y="100"/>
                    <a:pt x="79" y="86"/>
                    <a:pt x="79" y="86"/>
                  </a:cubicBezTo>
                  <a:cubicBezTo>
                    <a:pt x="40" y="74"/>
                    <a:pt x="12" y="39"/>
                    <a:pt x="0" y="0"/>
                  </a:cubicBezTo>
                </a:path>
              </a:pathLst>
            </a:custGeom>
            <a:solidFill>
              <a:srgbClr val="D32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ïšḷiḑe">
              <a:extLst>
                <a:ext uri="{FF2B5EF4-FFF2-40B4-BE49-F238E27FC236}">
                  <a16:creationId xmlns:a16="http://schemas.microsoft.com/office/drawing/2014/main" id="{C52E05F5-566A-49A7-A044-FC871D2B436F}"/>
                </a:ext>
              </a:extLst>
            </p:cNvPr>
            <p:cNvSpPr/>
            <p:nvPr/>
          </p:nvSpPr>
          <p:spPr bwMode="auto">
            <a:xfrm>
              <a:off x="5249863" y="5329238"/>
              <a:ext cx="352425" cy="322263"/>
            </a:xfrm>
            <a:custGeom>
              <a:avLst/>
              <a:gdLst>
                <a:gd name="T0" fmla="*/ 41 w 92"/>
                <a:gd name="T1" fmla="*/ 16 h 84"/>
                <a:gd name="T2" fmla="*/ 51 w 92"/>
                <a:gd name="T3" fmla="*/ 40 h 84"/>
                <a:gd name="T4" fmla="*/ 86 w 92"/>
                <a:gd name="T5" fmla="*/ 75 h 84"/>
                <a:gd name="T6" fmla="*/ 8 w 92"/>
                <a:gd name="T7" fmla="*/ 57 h 84"/>
                <a:gd name="T8" fmla="*/ 0 w 92"/>
                <a:gd name="T9" fmla="*/ 44 h 84"/>
                <a:gd name="T10" fmla="*/ 15 w 92"/>
                <a:gd name="T11" fmla="*/ 14 h 84"/>
                <a:gd name="T12" fmla="*/ 41 w 92"/>
                <a:gd name="T13" fmla="*/ 16 h 84"/>
              </a:gdLst>
              <a:ahLst/>
              <a:cxnLst>
                <a:cxn ang="0">
                  <a:pos x="T0" y="T1"/>
                </a:cxn>
                <a:cxn ang="0">
                  <a:pos x="T2" y="T3"/>
                </a:cxn>
                <a:cxn ang="0">
                  <a:pos x="T4" y="T5"/>
                </a:cxn>
                <a:cxn ang="0">
                  <a:pos x="T6" y="T7"/>
                </a:cxn>
                <a:cxn ang="0">
                  <a:pos x="T8" y="T9"/>
                </a:cxn>
                <a:cxn ang="0">
                  <a:pos x="T10" y="T11"/>
                </a:cxn>
                <a:cxn ang="0">
                  <a:pos x="T12" y="T13"/>
                </a:cxn>
              </a:cxnLst>
              <a:rect l="0" t="0" r="r" b="b"/>
              <a:pathLst>
                <a:path w="92" h="84">
                  <a:moveTo>
                    <a:pt x="41" y="16"/>
                  </a:moveTo>
                  <a:cubicBezTo>
                    <a:pt x="41" y="16"/>
                    <a:pt x="40" y="27"/>
                    <a:pt x="51" y="40"/>
                  </a:cubicBezTo>
                  <a:cubicBezTo>
                    <a:pt x="62" y="53"/>
                    <a:pt x="92" y="63"/>
                    <a:pt x="86" y="75"/>
                  </a:cubicBezTo>
                  <a:cubicBezTo>
                    <a:pt x="81" y="84"/>
                    <a:pt x="29" y="65"/>
                    <a:pt x="8" y="57"/>
                  </a:cubicBezTo>
                  <a:cubicBezTo>
                    <a:pt x="3" y="55"/>
                    <a:pt x="0" y="49"/>
                    <a:pt x="0" y="44"/>
                  </a:cubicBezTo>
                  <a:cubicBezTo>
                    <a:pt x="2" y="35"/>
                    <a:pt x="5" y="22"/>
                    <a:pt x="15" y="14"/>
                  </a:cubicBezTo>
                  <a:cubicBezTo>
                    <a:pt x="31" y="0"/>
                    <a:pt x="41" y="16"/>
                    <a:pt x="41" y="16"/>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5" name="îṣḷîḍe">
              <a:extLst>
                <a:ext uri="{FF2B5EF4-FFF2-40B4-BE49-F238E27FC236}">
                  <a16:creationId xmlns:a16="http://schemas.microsoft.com/office/drawing/2014/main" id="{8D779CFC-28AB-4577-ACC3-FB856B1D7A29}"/>
                </a:ext>
              </a:extLst>
            </p:cNvPr>
            <p:cNvSpPr/>
            <p:nvPr/>
          </p:nvSpPr>
          <p:spPr bwMode="auto">
            <a:xfrm>
              <a:off x="5114926" y="3717925"/>
              <a:ext cx="552450" cy="1776413"/>
            </a:xfrm>
            <a:custGeom>
              <a:avLst/>
              <a:gdLst>
                <a:gd name="T0" fmla="*/ 59 w 144"/>
                <a:gd name="T1" fmla="*/ 0 h 464"/>
                <a:gd name="T2" fmla="*/ 103 w 144"/>
                <a:gd name="T3" fmla="*/ 89 h 464"/>
                <a:gd name="T4" fmla="*/ 139 w 144"/>
                <a:gd name="T5" fmla="*/ 206 h 464"/>
                <a:gd name="T6" fmla="*/ 141 w 144"/>
                <a:gd name="T7" fmla="*/ 244 h 464"/>
                <a:gd name="T8" fmla="*/ 90 w 144"/>
                <a:gd name="T9" fmla="*/ 464 h 464"/>
                <a:gd name="T10" fmla="*/ 36 w 144"/>
                <a:gd name="T11" fmla="*/ 455 h 464"/>
                <a:gd name="T12" fmla="*/ 47 w 144"/>
                <a:gd name="T13" fmla="*/ 264 h 464"/>
                <a:gd name="T14" fmla="*/ 68 w 144"/>
                <a:gd name="T15" fmla="*/ 229 h 464"/>
                <a:gd name="T16" fmla="*/ 14 w 144"/>
                <a:gd name="T17" fmla="*/ 116 h 464"/>
                <a:gd name="T18" fmla="*/ 0 w 144"/>
                <a:gd name="T19" fmla="*/ 25 h 464"/>
                <a:gd name="T20" fmla="*/ 59 w 144"/>
                <a:gd name="T21"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464">
                  <a:moveTo>
                    <a:pt x="59" y="0"/>
                  </a:moveTo>
                  <a:cubicBezTo>
                    <a:pt x="59" y="0"/>
                    <a:pt x="86" y="49"/>
                    <a:pt x="103" y="89"/>
                  </a:cubicBezTo>
                  <a:cubicBezTo>
                    <a:pt x="118" y="125"/>
                    <a:pt x="130" y="176"/>
                    <a:pt x="139" y="206"/>
                  </a:cubicBezTo>
                  <a:cubicBezTo>
                    <a:pt x="143" y="218"/>
                    <a:pt x="144" y="232"/>
                    <a:pt x="141" y="244"/>
                  </a:cubicBezTo>
                  <a:cubicBezTo>
                    <a:pt x="90" y="464"/>
                    <a:pt x="90" y="464"/>
                    <a:pt x="90" y="464"/>
                  </a:cubicBezTo>
                  <a:cubicBezTo>
                    <a:pt x="36" y="455"/>
                    <a:pt x="36" y="455"/>
                    <a:pt x="36" y="455"/>
                  </a:cubicBezTo>
                  <a:cubicBezTo>
                    <a:pt x="36" y="455"/>
                    <a:pt x="33" y="288"/>
                    <a:pt x="47" y="264"/>
                  </a:cubicBezTo>
                  <a:cubicBezTo>
                    <a:pt x="61" y="240"/>
                    <a:pt x="68" y="229"/>
                    <a:pt x="68" y="229"/>
                  </a:cubicBezTo>
                  <a:cubicBezTo>
                    <a:pt x="68" y="229"/>
                    <a:pt x="23" y="149"/>
                    <a:pt x="14" y="116"/>
                  </a:cubicBezTo>
                  <a:cubicBezTo>
                    <a:pt x="5" y="82"/>
                    <a:pt x="0" y="25"/>
                    <a:pt x="0" y="25"/>
                  </a:cubicBezTo>
                  <a:cubicBezTo>
                    <a:pt x="59" y="0"/>
                    <a:pt x="59" y="0"/>
                    <a:pt x="59" y="0"/>
                  </a:cubicBezTo>
                </a:path>
              </a:pathLst>
            </a:custGeom>
            <a:solidFill>
              <a:srgbClr val="295F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6" name="ïş1iďê">
              <a:extLst>
                <a:ext uri="{FF2B5EF4-FFF2-40B4-BE49-F238E27FC236}">
                  <a16:creationId xmlns:a16="http://schemas.microsoft.com/office/drawing/2014/main" id="{FADB12D8-6CF9-47BD-A00F-D4E17F6527E0}"/>
                </a:ext>
              </a:extLst>
            </p:cNvPr>
            <p:cNvSpPr/>
            <p:nvPr/>
          </p:nvSpPr>
          <p:spPr bwMode="auto">
            <a:xfrm>
              <a:off x="5241926" y="3814763"/>
              <a:ext cx="420688" cy="1679575"/>
            </a:xfrm>
            <a:custGeom>
              <a:avLst/>
              <a:gdLst>
                <a:gd name="T0" fmla="*/ 39 w 110"/>
                <a:gd name="T1" fmla="*/ 0 h 439"/>
                <a:gd name="T2" fmla="*/ 39 w 110"/>
                <a:gd name="T3" fmla="*/ 0 h 439"/>
                <a:gd name="T4" fmla="*/ 0 w 110"/>
                <a:gd name="T5" fmla="*/ 25 h 439"/>
                <a:gd name="T6" fmla="*/ 5 w 110"/>
                <a:gd name="T7" fmla="*/ 146 h 439"/>
                <a:gd name="T8" fmla="*/ 35 w 110"/>
                <a:gd name="T9" fmla="*/ 204 h 439"/>
                <a:gd name="T10" fmla="*/ 35 w 110"/>
                <a:gd name="T11" fmla="*/ 204 h 439"/>
                <a:gd name="T12" fmla="*/ 35 w 110"/>
                <a:gd name="T13" fmla="*/ 204 h 439"/>
                <a:gd name="T14" fmla="*/ 14 w 110"/>
                <a:gd name="T15" fmla="*/ 239 h 439"/>
                <a:gd name="T16" fmla="*/ 3 w 110"/>
                <a:gd name="T17" fmla="*/ 399 h 439"/>
                <a:gd name="T18" fmla="*/ 3 w 110"/>
                <a:gd name="T19" fmla="*/ 430 h 439"/>
                <a:gd name="T20" fmla="*/ 57 w 110"/>
                <a:gd name="T21" fmla="*/ 439 h 439"/>
                <a:gd name="T22" fmla="*/ 108 w 110"/>
                <a:gd name="T23" fmla="*/ 219 h 439"/>
                <a:gd name="T24" fmla="*/ 110 w 110"/>
                <a:gd name="T25" fmla="*/ 203 h 439"/>
                <a:gd name="T26" fmla="*/ 106 w 110"/>
                <a:gd name="T27" fmla="*/ 181 h 439"/>
                <a:gd name="T28" fmla="*/ 70 w 110"/>
                <a:gd name="T29" fmla="*/ 64 h 439"/>
                <a:gd name="T30" fmla="*/ 39 w 110"/>
                <a:gd name="T31"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439">
                  <a:moveTo>
                    <a:pt x="39" y="0"/>
                  </a:moveTo>
                  <a:cubicBezTo>
                    <a:pt x="39" y="0"/>
                    <a:pt x="39" y="0"/>
                    <a:pt x="39" y="0"/>
                  </a:cubicBezTo>
                  <a:cubicBezTo>
                    <a:pt x="38" y="6"/>
                    <a:pt x="22" y="17"/>
                    <a:pt x="0" y="25"/>
                  </a:cubicBezTo>
                  <a:cubicBezTo>
                    <a:pt x="3" y="57"/>
                    <a:pt x="5" y="99"/>
                    <a:pt x="5" y="146"/>
                  </a:cubicBezTo>
                  <a:cubicBezTo>
                    <a:pt x="20" y="176"/>
                    <a:pt x="35" y="204"/>
                    <a:pt x="35" y="204"/>
                  </a:cubicBezTo>
                  <a:cubicBezTo>
                    <a:pt x="35" y="204"/>
                    <a:pt x="35" y="204"/>
                    <a:pt x="35" y="204"/>
                  </a:cubicBezTo>
                  <a:cubicBezTo>
                    <a:pt x="35" y="204"/>
                    <a:pt x="35" y="204"/>
                    <a:pt x="35" y="204"/>
                  </a:cubicBezTo>
                  <a:cubicBezTo>
                    <a:pt x="35" y="204"/>
                    <a:pt x="28" y="215"/>
                    <a:pt x="14" y="239"/>
                  </a:cubicBezTo>
                  <a:cubicBezTo>
                    <a:pt x="4" y="256"/>
                    <a:pt x="3" y="349"/>
                    <a:pt x="3" y="399"/>
                  </a:cubicBezTo>
                  <a:cubicBezTo>
                    <a:pt x="3" y="418"/>
                    <a:pt x="3" y="430"/>
                    <a:pt x="3" y="430"/>
                  </a:cubicBezTo>
                  <a:cubicBezTo>
                    <a:pt x="57" y="439"/>
                    <a:pt x="57" y="439"/>
                    <a:pt x="57" y="439"/>
                  </a:cubicBezTo>
                  <a:cubicBezTo>
                    <a:pt x="108" y="219"/>
                    <a:pt x="108" y="219"/>
                    <a:pt x="108" y="219"/>
                  </a:cubicBezTo>
                  <a:cubicBezTo>
                    <a:pt x="109" y="214"/>
                    <a:pt x="110" y="208"/>
                    <a:pt x="110" y="203"/>
                  </a:cubicBezTo>
                  <a:cubicBezTo>
                    <a:pt x="110" y="195"/>
                    <a:pt x="108" y="188"/>
                    <a:pt x="106" y="181"/>
                  </a:cubicBezTo>
                  <a:cubicBezTo>
                    <a:pt x="97" y="151"/>
                    <a:pt x="85" y="100"/>
                    <a:pt x="70" y="64"/>
                  </a:cubicBezTo>
                  <a:cubicBezTo>
                    <a:pt x="61" y="42"/>
                    <a:pt x="49" y="18"/>
                    <a:pt x="39" y="0"/>
                  </a:cubicBezTo>
                </a:path>
              </a:pathLst>
            </a:custGeom>
            <a:solidFill>
              <a:srgbClr val="2456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7" name="išľíḍè">
              <a:extLst>
                <a:ext uri="{FF2B5EF4-FFF2-40B4-BE49-F238E27FC236}">
                  <a16:creationId xmlns:a16="http://schemas.microsoft.com/office/drawing/2014/main" id="{B29703FE-C6E9-4E48-950E-A8199D2C91F2}"/>
                </a:ext>
              </a:extLst>
            </p:cNvPr>
            <p:cNvSpPr/>
            <p:nvPr/>
          </p:nvSpPr>
          <p:spPr bwMode="auto">
            <a:xfrm>
              <a:off x="4762501" y="2735263"/>
              <a:ext cx="268288" cy="328613"/>
            </a:xfrm>
            <a:custGeom>
              <a:avLst/>
              <a:gdLst>
                <a:gd name="T0" fmla="*/ 34 w 70"/>
                <a:gd name="T1" fmla="*/ 11 h 86"/>
                <a:gd name="T2" fmla="*/ 0 w 70"/>
                <a:gd name="T3" fmla="*/ 13 h 86"/>
                <a:gd name="T4" fmla="*/ 12 w 70"/>
                <a:gd name="T5" fmla="*/ 80 h 86"/>
                <a:gd name="T6" fmla="*/ 70 w 70"/>
                <a:gd name="T7" fmla="*/ 69 h 86"/>
                <a:gd name="T8" fmla="*/ 55 w 70"/>
                <a:gd name="T9" fmla="*/ 13 h 86"/>
                <a:gd name="T10" fmla="*/ 34 w 70"/>
                <a:gd name="T11" fmla="*/ 11 h 86"/>
              </a:gdLst>
              <a:ahLst/>
              <a:cxnLst>
                <a:cxn ang="0">
                  <a:pos x="T0" y="T1"/>
                </a:cxn>
                <a:cxn ang="0">
                  <a:pos x="T2" y="T3"/>
                </a:cxn>
                <a:cxn ang="0">
                  <a:pos x="T4" y="T5"/>
                </a:cxn>
                <a:cxn ang="0">
                  <a:pos x="T6" y="T7"/>
                </a:cxn>
                <a:cxn ang="0">
                  <a:pos x="T8" y="T9"/>
                </a:cxn>
                <a:cxn ang="0">
                  <a:pos x="T10" y="T11"/>
                </a:cxn>
              </a:cxnLst>
              <a:rect l="0" t="0" r="r" b="b"/>
              <a:pathLst>
                <a:path w="70" h="86">
                  <a:moveTo>
                    <a:pt x="34" y="11"/>
                  </a:moveTo>
                  <a:cubicBezTo>
                    <a:pt x="0" y="13"/>
                    <a:pt x="0" y="13"/>
                    <a:pt x="0" y="13"/>
                  </a:cubicBezTo>
                  <a:cubicBezTo>
                    <a:pt x="0" y="13"/>
                    <a:pt x="18" y="56"/>
                    <a:pt x="12" y="80"/>
                  </a:cubicBezTo>
                  <a:cubicBezTo>
                    <a:pt x="12" y="80"/>
                    <a:pt x="45" y="86"/>
                    <a:pt x="70" y="69"/>
                  </a:cubicBezTo>
                  <a:cubicBezTo>
                    <a:pt x="70" y="69"/>
                    <a:pt x="53" y="26"/>
                    <a:pt x="55" y="13"/>
                  </a:cubicBezTo>
                  <a:cubicBezTo>
                    <a:pt x="57" y="0"/>
                    <a:pt x="34" y="11"/>
                    <a:pt x="34" y="11"/>
                  </a:cubicBezTo>
                </a:path>
              </a:pathLst>
            </a:custGeom>
            <a:solidFill>
              <a:srgbClr val="EAC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8" name="íṧḻîde">
              <a:extLst>
                <a:ext uri="{FF2B5EF4-FFF2-40B4-BE49-F238E27FC236}">
                  <a16:creationId xmlns:a16="http://schemas.microsoft.com/office/drawing/2014/main" id="{FF95DE65-1035-485E-A292-A4E95183DCFB}"/>
                </a:ext>
              </a:extLst>
            </p:cNvPr>
            <p:cNvSpPr/>
            <p:nvPr/>
          </p:nvSpPr>
          <p:spPr bwMode="auto">
            <a:xfrm>
              <a:off x="4800601" y="2827338"/>
              <a:ext cx="211138" cy="163513"/>
            </a:xfrm>
            <a:custGeom>
              <a:avLst/>
              <a:gdLst>
                <a:gd name="T0" fmla="*/ 7 w 55"/>
                <a:gd name="T1" fmla="*/ 0 h 43"/>
                <a:gd name="T2" fmla="*/ 0 w 55"/>
                <a:gd name="T3" fmla="*/ 19 h 43"/>
                <a:gd name="T4" fmla="*/ 4 w 55"/>
                <a:gd name="T5" fmla="*/ 43 h 43"/>
                <a:gd name="T6" fmla="*/ 8 w 55"/>
                <a:gd name="T7" fmla="*/ 41 h 43"/>
                <a:gd name="T8" fmla="*/ 10 w 55"/>
                <a:gd name="T9" fmla="*/ 41 h 43"/>
                <a:gd name="T10" fmla="*/ 17 w 55"/>
                <a:gd name="T11" fmla="*/ 42 h 43"/>
                <a:gd name="T12" fmla="*/ 55 w 55"/>
                <a:gd name="T13" fmla="*/ 31 h 43"/>
                <a:gd name="T14" fmla="*/ 54 w 55"/>
                <a:gd name="T15" fmla="*/ 28 h 43"/>
                <a:gd name="T16" fmla="*/ 50 w 55"/>
                <a:gd name="T17" fmla="*/ 15 h 43"/>
                <a:gd name="T18" fmla="*/ 44 w 55"/>
                <a:gd name="T19" fmla="*/ 16 h 43"/>
                <a:gd name="T20" fmla="*/ 7 w 5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43">
                  <a:moveTo>
                    <a:pt x="7" y="0"/>
                  </a:moveTo>
                  <a:cubicBezTo>
                    <a:pt x="8" y="11"/>
                    <a:pt x="3" y="16"/>
                    <a:pt x="0" y="19"/>
                  </a:cubicBezTo>
                  <a:cubicBezTo>
                    <a:pt x="2" y="26"/>
                    <a:pt x="3" y="35"/>
                    <a:pt x="4" y="43"/>
                  </a:cubicBezTo>
                  <a:cubicBezTo>
                    <a:pt x="5" y="42"/>
                    <a:pt x="7" y="41"/>
                    <a:pt x="8" y="41"/>
                  </a:cubicBezTo>
                  <a:cubicBezTo>
                    <a:pt x="9" y="41"/>
                    <a:pt x="9" y="41"/>
                    <a:pt x="10" y="41"/>
                  </a:cubicBezTo>
                  <a:cubicBezTo>
                    <a:pt x="12" y="42"/>
                    <a:pt x="14" y="42"/>
                    <a:pt x="17" y="42"/>
                  </a:cubicBezTo>
                  <a:cubicBezTo>
                    <a:pt x="26" y="42"/>
                    <a:pt x="39" y="40"/>
                    <a:pt x="55" y="31"/>
                  </a:cubicBezTo>
                  <a:cubicBezTo>
                    <a:pt x="55" y="30"/>
                    <a:pt x="54" y="29"/>
                    <a:pt x="54" y="28"/>
                  </a:cubicBezTo>
                  <a:cubicBezTo>
                    <a:pt x="53" y="24"/>
                    <a:pt x="51" y="20"/>
                    <a:pt x="50" y="15"/>
                  </a:cubicBezTo>
                  <a:cubicBezTo>
                    <a:pt x="48" y="15"/>
                    <a:pt x="46" y="16"/>
                    <a:pt x="44" y="16"/>
                  </a:cubicBezTo>
                  <a:cubicBezTo>
                    <a:pt x="32" y="16"/>
                    <a:pt x="18" y="10"/>
                    <a:pt x="7" y="0"/>
                  </a:cubicBezTo>
                </a:path>
              </a:pathLst>
            </a:custGeom>
            <a:solidFill>
              <a:srgbClr val="DDA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íslíḑé">
              <a:extLst>
                <a:ext uri="{FF2B5EF4-FFF2-40B4-BE49-F238E27FC236}">
                  <a16:creationId xmlns:a16="http://schemas.microsoft.com/office/drawing/2014/main" id="{6168D71E-C2F5-4DD8-92DB-A73B2436A8BF}"/>
                </a:ext>
              </a:extLst>
            </p:cNvPr>
            <p:cNvSpPr/>
            <p:nvPr/>
          </p:nvSpPr>
          <p:spPr bwMode="auto">
            <a:xfrm>
              <a:off x="4697413" y="2401888"/>
              <a:ext cx="449263" cy="517525"/>
            </a:xfrm>
            <a:custGeom>
              <a:avLst/>
              <a:gdLst>
                <a:gd name="T0" fmla="*/ 100 w 117"/>
                <a:gd name="T1" fmla="*/ 43 h 135"/>
                <a:gd name="T2" fmla="*/ 91 w 117"/>
                <a:gd name="T3" fmla="*/ 121 h 135"/>
                <a:gd name="T4" fmla="*/ 18 w 117"/>
                <a:gd name="T5" fmla="*/ 92 h 135"/>
                <a:gd name="T6" fmla="*/ 27 w 117"/>
                <a:gd name="T7" fmla="*/ 14 h 135"/>
                <a:gd name="T8" fmla="*/ 100 w 117"/>
                <a:gd name="T9" fmla="*/ 43 h 135"/>
              </a:gdLst>
              <a:ahLst/>
              <a:cxnLst>
                <a:cxn ang="0">
                  <a:pos x="T0" y="T1"/>
                </a:cxn>
                <a:cxn ang="0">
                  <a:pos x="T2" y="T3"/>
                </a:cxn>
                <a:cxn ang="0">
                  <a:pos x="T4" y="T5"/>
                </a:cxn>
                <a:cxn ang="0">
                  <a:pos x="T6" y="T7"/>
                </a:cxn>
                <a:cxn ang="0">
                  <a:pos x="T8" y="T9"/>
                </a:cxn>
              </a:cxnLst>
              <a:rect l="0" t="0" r="r" b="b"/>
              <a:pathLst>
                <a:path w="117" h="135">
                  <a:moveTo>
                    <a:pt x="100" y="43"/>
                  </a:moveTo>
                  <a:cubicBezTo>
                    <a:pt x="117" y="73"/>
                    <a:pt x="113" y="108"/>
                    <a:pt x="91" y="121"/>
                  </a:cubicBezTo>
                  <a:cubicBezTo>
                    <a:pt x="68" y="135"/>
                    <a:pt x="36" y="121"/>
                    <a:pt x="18" y="92"/>
                  </a:cubicBezTo>
                  <a:cubicBezTo>
                    <a:pt x="0" y="62"/>
                    <a:pt x="4" y="27"/>
                    <a:pt x="27" y="14"/>
                  </a:cubicBezTo>
                  <a:cubicBezTo>
                    <a:pt x="49" y="0"/>
                    <a:pt x="82" y="14"/>
                    <a:pt x="100" y="43"/>
                  </a:cubicBezTo>
                </a:path>
              </a:pathLst>
            </a:custGeom>
            <a:solidFill>
              <a:srgbClr val="EAC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ïṡļîḓê">
              <a:extLst>
                <a:ext uri="{FF2B5EF4-FFF2-40B4-BE49-F238E27FC236}">
                  <a16:creationId xmlns:a16="http://schemas.microsoft.com/office/drawing/2014/main" id="{DC86002C-3F8C-485D-B63C-984A9D1AFB8E}"/>
                </a:ext>
              </a:extLst>
            </p:cNvPr>
            <p:cNvSpPr/>
            <p:nvPr/>
          </p:nvSpPr>
          <p:spPr bwMode="auto">
            <a:xfrm>
              <a:off x="4800601" y="2581275"/>
              <a:ext cx="222250" cy="306388"/>
            </a:xfrm>
            <a:custGeom>
              <a:avLst/>
              <a:gdLst>
                <a:gd name="T0" fmla="*/ 11 w 58"/>
                <a:gd name="T1" fmla="*/ 0 h 80"/>
                <a:gd name="T2" fmla="*/ 9 w 58"/>
                <a:gd name="T3" fmla="*/ 1 h 80"/>
                <a:gd name="T4" fmla="*/ 2 w 58"/>
                <a:gd name="T5" fmla="*/ 13 h 80"/>
                <a:gd name="T6" fmla="*/ 2 w 58"/>
                <a:gd name="T7" fmla="*/ 13 h 80"/>
                <a:gd name="T8" fmla="*/ 5 w 58"/>
                <a:gd name="T9" fmla="*/ 36 h 80"/>
                <a:gd name="T10" fmla="*/ 5 w 58"/>
                <a:gd name="T11" fmla="*/ 36 h 80"/>
                <a:gd name="T12" fmla="*/ 0 w 58"/>
                <a:gd name="T13" fmla="*/ 38 h 80"/>
                <a:gd name="T14" fmla="*/ 3 w 58"/>
                <a:gd name="T15" fmla="*/ 49 h 80"/>
                <a:gd name="T16" fmla="*/ 7 w 58"/>
                <a:gd name="T17" fmla="*/ 64 h 80"/>
                <a:gd name="T18" fmla="*/ 44 w 58"/>
                <a:gd name="T19" fmla="*/ 80 h 80"/>
                <a:gd name="T20" fmla="*/ 58 w 58"/>
                <a:gd name="T21" fmla="*/ 77 h 80"/>
                <a:gd name="T22" fmla="*/ 13 w 58"/>
                <a:gd name="T23" fmla="*/ 37 h 80"/>
                <a:gd name="T24" fmla="*/ 11 w 58"/>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80">
                  <a:moveTo>
                    <a:pt x="11" y="0"/>
                  </a:moveTo>
                  <a:cubicBezTo>
                    <a:pt x="10" y="0"/>
                    <a:pt x="10" y="1"/>
                    <a:pt x="9" y="1"/>
                  </a:cubicBezTo>
                  <a:cubicBezTo>
                    <a:pt x="6" y="4"/>
                    <a:pt x="4" y="8"/>
                    <a:pt x="2" y="13"/>
                  </a:cubicBezTo>
                  <a:cubicBezTo>
                    <a:pt x="2" y="13"/>
                    <a:pt x="2" y="13"/>
                    <a:pt x="2" y="13"/>
                  </a:cubicBezTo>
                  <a:cubicBezTo>
                    <a:pt x="5" y="36"/>
                    <a:pt x="5" y="36"/>
                    <a:pt x="5" y="36"/>
                  </a:cubicBezTo>
                  <a:cubicBezTo>
                    <a:pt x="5" y="36"/>
                    <a:pt x="5" y="36"/>
                    <a:pt x="5" y="36"/>
                  </a:cubicBezTo>
                  <a:cubicBezTo>
                    <a:pt x="3" y="37"/>
                    <a:pt x="1" y="37"/>
                    <a:pt x="0" y="38"/>
                  </a:cubicBezTo>
                  <a:cubicBezTo>
                    <a:pt x="0" y="41"/>
                    <a:pt x="1" y="45"/>
                    <a:pt x="3" y="49"/>
                  </a:cubicBezTo>
                  <a:cubicBezTo>
                    <a:pt x="5" y="55"/>
                    <a:pt x="6" y="60"/>
                    <a:pt x="7" y="64"/>
                  </a:cubicBezTo>
                  <a:cubicBezTo>
                    <a:pt x="18" y="74"/>
                    <a:pt x="32" y="80"/>
                    <a:pt x="44" y="80"/>
                  </a:cubicBezTo>
                  <a:cubicBezTo>
                    <a:pt x="49" y="80"/>
                    <a:pt x="53" y="79"/>
                    <a:pt x="58" y="77"/>
                  </a:cubicBezTo>
                  <a:cubicBezTo>
                    <a:pt x="40" y="73"/>
                    <a:pt x="22" y="58"/>
                    <a:pt x="13" y="37"/>
                  </a:cubicBezTo>
                  <a:cubicBezTo>
                    <a:pt x="8" y="25"/>
                    <a:pt x="8" y="12"/>
                    <a:pt x="11" y="0"/>
                  </a:cubicBezTo>
                </a:path>
              </a:pathLst>
            </a:custGeom>
            <a:solidFill>
              <a:srgbClr val="DDA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iṥ1îḑé">
              <a:extLst>
                <a:ext uri="{FF2B5EF4-FFF2-40B4-BE49-F238E27FC236}">
                  <a16:creationId xmlns:a16="http://schemas.microsoft.com/office/drawing/2014/main" id="{747ACAF4-B38F-4F6E-9D9A-EC70740E3AA0}"/>
                </a:ext>
              </a:extLst>
            </p:cNvPr>
            <p:cNvSpPr/>
            <p:nvPr/>
          </p:nvSpPr>
          <p:spPr bwMode="auto">
            <a:xfrm>
              <a:off x="4911726" y="5341938"/>
              <a:ext cx="360363" cy="274638"/>
            </a:xfrm>
            <a:custGeom>
              <a:avLst/>
              <a:gdLst>
                <a:gd name="T0" fmla="*/ 35 w 94"/>
                <a:gd name="T1" fmla="*/ 13 h 72"/>
                <a:gd name="T2" fmla="*/ 50 w 94"/>
                <a:gd name="T3" fmla="*/ 35 h 72"/>
                <a:gd name="T4" fmla="*/ 90 w 94"/>
                <a:gd name="T5" fmla="*/ 62 h 72"/>
                <a:gd name="T6" fmla="*/ 11 w 94"/>
                <a:gd name="T7" fmla="*/ 60 h 72"/>
                <a:gd name="T8" fmla="*/ 1 w 94"/>
                <a:gd name="T9" fmla="*/ 49 h 72"/>
                <a:gd name="T10" fmla="*/ 9 w 94"/>
                <a:gd name="T11" fmla="*/ 17 h 72"/>
                <a:gd name="T12" fmla="*/ 35 w 94"/>
                <a:gd name="T13" fmla="*/ 13 h 72"/>
              </a:gdLst>
              <a:ahLst/>
              <a:cxnLst>
                <a:cxn ang="0">
                  <a:pos x="T0" y="T1"/>
                </a:cxn>
                <a:cxn ang="0">
                  <a:pos x="T2" y="T3"/>
                </a:cxn>
                <a:cxn ang="0">
                  <a:pos x="T4" y="T5"/>
                </a:cxn>
                <a:cxn ang="0">
                  <a:pos x="T6" y="T7"/>
                </a:cxn>
                <a:cxn ang="0">
                  <a:pos x="T8" y="T9"/>
                </a:cxn>
                <a:cxn ang="0">
                  <a:pos x="T10" y="T11"/>
                </a:cxn>
                <a:cxn ang="0">
                  <a:pos x="T12" y="T13"/>
                </a:cxn>
              </a:cxnLst>
              <a:rect l="0" t="0" r="r" b="b"/>
              <a:pathLst>
                <a:path w="94" h="72">
                  <a:moveTo>
                    <a:pt x="35" y="13"/>
                  </a:moveTo>
                  <a:cubicBezTo>
                    <a:pt x="35" y="13"/>
                    <a:pt x="36" y="24"/>
                    <a:pt x="50" y="35"/>
                  </a:cubicBezTo>
                  <a:cubicBezTo>
                    <a:pt x="63" y="46"/>
                    <a:pt x="94" y="50"/>
                    <a:pt x="90" y="62"/>
                  </a:cubicBezTo>
                  <a:cubicBezTo>
                    <a:pt x="88" y="72"/>
                    <a:pt x="33" y="64"/>
                    <a:pt x="11" y="60"/>
                  </a:cubicBezTo>
                  <a:cubicBezTo>
                    <a:pt x="5" y="60"/>
                    <a:pt x="1" y="55"/>
                    <a:pt x="1" y="49"/>
                  </a:cubicBezTo>
                  <a:cubicBezTo>
                    <a:pt x="0" y="40"/>
                    <a:pt x="1" y="27"/>
                    <a:pt x="9" y="17"/>
                  </a:cubicBezTo>
                  <a:cubicBezTo>
                    <a:pt x="22" y="0"/>
                    <a:pt x="35" y="13"/>
                    <a:pt x="35" y="13"/>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2" name="îşľídè">
              <a:extLst>
                <a:ext uri="{FF2B5EF4-FFF2-40B4-BE49-F238E27FC236}">
                  <a16:creationId xmlns:a16="http://schemas.microsoft.com/office/drawing/2014/main" id="{173CB402-04B5-41F0-B605-0633E4E6D34F}"/>
                </a:ext>
              </a:extLst>
            </p:cNvPr>
            <p:cNvSpPr/>
            <p:nvPr/>
          </p:nvSpPr>
          <p:spPr bwMode="auto">
            <a:xfrm>
              <a:off x="4767263" y="3668713"/>
              <a:ext cx="509588" cy="1790700"/>
            </a:xfrm>
            <a:custGeom>
              <a:avLst/>
              <a:gdLst>
                <a:gd name="T0" fmla="*/ 119 w 133"/>
                <a:gd name="T1" fmla="*/ 3 h 468"/>
                <a:gd name="T2" fmla="*/ 127 w 133"/>
                <a:gd name="T3" fmla="*/ 238 h 468"/>
                <a:gd name="T4" fmla="*/ 83 w 133"/>
                <a:gd name="T5" fmla="*/ 468 h 468"/>
                <a:gd name="T6" fmla="*/ 36 w 133"/>
                <a:gd name="T7" fmla="*/ 466 h 468"/>
                <a:gd name="T8" fmla="*/ 49 w 133"/>
                <a:gd name="T9" fmla="*/ 236 h 468"/>
                <a:gd name="T10" fmla="*/ 18 w 133"/>
                <a:gd name="T11" fmla="*/ 42 h 468"/>
                <a:gd name="T12" fmla="*/ 119 w 133"/>
                <a:gd name="T13" fmla="*/ 3 h 468"/>
              </a:gdLst>
              <a:ahLst/>
              <a:cxnLst>
                <a:cxn ang="0">
                  <a:pos x="T0" y="T1"/>
                </a:cxn>
                <a:cxn ang="0">
                  <a:pos x="T2" y="T3"/>
                </a:cxn>
                <a:cxn ang="0">
                  <a:pos x="T4" y="T5"/>
                </a:cxn>
                <a:cxn ang="0">
                  <a:pos x="T6" y="T7"/>
                </a:cxn>
                <a:cxn ang="0">
                  <a:pos x="T8" y="T9"/>
                </a:cxn>
                <a:cxn ang="0">
                  <a:pos x="T10" y="T11"/>
                </a:cxn>
                <a:cxn ang="0">
                  <a:pos x="T12" y="T13"/>
                </a:cxn>
              </a:cxnLst>
              <a:rect l="0" t="0" r="r" b="b"/>
              <a:pathLst>
                <a:path w="133" h="468">
                  <a:moveTo>
                    <a:pt x="119" y="3"/>
                  </a:moveTo>
                  <a:cubicBezTo>
                    <a:pt x="119" y="3"/>
                    <a:pt x="133" y="112"/>
                    <a:pt x="127" y="238"/>
                  </a:cubicBezTo>
                  <a:cubicBezTo>
                    <a:pt x="126" y="281"/>
                    <a:pt x="83" y="468"/>
                    <a:pt x="83" y="468"/>
                  </a:cubicBezTo>
                  <a:cubicBezTo>
                    <a:pt x="36" y="466"/>
                    <a:pt x="36" y="466"/>
                    <a:pt x="36" y="466"/>
                  </a:cubicBezTo>
                  <a:cubicBezTo>
                    <a:pt x="36" y="466"/>
                    <a:pt x="23" y="266"/>
                    <a:pt x="49" y="236"/>
                  </a:cubicBezTo>
                  <a:cubicBezTo>
                    <a:pt x="49" y="236"/>
                    <a:pt x="0" y="114"/>
                    <a:pt x="18" y="42"/>
                  </a:cubicBezTo>
                  <a:cubicBezTo>
                    <a:pt x="28" y="0"/>
                    <a:pt x="119" y="3"/>
                    <a:pt x="119" y="3"/>
                  </a:cubicBezTo>
                </a:path>
              </a:pathLst>
            </a:custGeom>
            <a:solidFill>
              <a:srgbClr val="295F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3" name="ïṣļíḓé">
              <a:extLst>
                <a:ext uri="{FF2B5EF4-FFF2-40B4-BE49-F238E27FC236}">
                  <a16:creationId xmlns:a16="http://schemas.microsoft.com/office/drawing/2014/main" id="{B5F9FF40-76F7-4EBF-8D11-AADD4F7BE7E2}"/>
                </a:ext>
              </a:extLst>
            </p:cNvPr>
            <p:cNvSpPr/>
            <p:nvPr/>
          </p:nvSpPr>
          <p:spPr bwMode="auto">
            <a:xfrm>
              <a:off x="4819651" y="3886200"/>
              <a:ext cx="249238" cy="1570038"/>
            </a:xfrm>
            <a:custGeom>
              <a:avLst/>
              <a:gdLst>
                <a:gd name="T0" fmla="*/ 1 w 65"/>
                <a:gd name="T1" fmla="*/ 0 h 410"/>
                <a:gd name="T2" fmla="*/ 0 w 65"/>
                <a:gd name="T3" fmla="*/ 21 h 410"/>
                <a:gd name="T4" fmla="*/ 35 w 65"/>
                <a:gd name="T5" fmla="*/ 179 h 410"/>
                <a:gd name="T6" fmla="*/ 35 w 65"/>
                <a:gd name="T7" fmla="*/ 179 h 410"/>
                <a:gd name="T8" fmla="*/ 35 w 65"/>
                <a:gd name="T9" fmla="*/ 179 h 410"/>
                <a:gd name="T10" fmla="*/ 19 w 65"/>
                <a:gd name="T11" fmla="*/ 305 h 410"/>
                <a:gd name="T12" fmla="*/ 22 w 65"/>
                <a:gd name="T13" fmla="*/ 409 h 410"/>
                <a:gd name="T14" fmla="*/ 48 w 65"/>
                <a:gd name="T15" fmla="*/ 410 h 410"/>
                <a:gd name="T16" fmla="*/ 38 w 65"/>
                <a:gd name="T17" fmla="*/ 409 h 410"/>
                <a:gd name="T18" fmla="*/ 65 w 65"/>
                <a:gd name="T19" fmla="*/ 180 h 410"/>
                <a:gd name="T20" fmla="*/ 39 w 65"/>
                <a:gd name="T21" fmla="*/ 19 h 410"/>
                <a:gd name="T22" fmla="*/ 1 w 65"/>
                <a:gd name="T23"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410">
                  <a:moveTo>
                    <a:pt x="1" y="0"/>
                  </a:moveTo>
                  <a:cubicBezTo>
                    <a:pt x="0" y="6"/>
                    <a:pt x="0" y="13"/>
                    <a:pt x="0" y="21"/>
                  </a:cubicBezTo>
                  <a:cubicBezTo>
                    <a:pt x="0" y="91"/>
                    <a:pt x="35" y="179"/>
                    <a:pt x="35" y="179"/>
                  </a:cubicBezTo>
                  <a:cubicBezTo>
                    <a:pt x="35" y="179"/>
                    <a:pt x="35" y="179"/>
                    <a:pt x="35" y="179"/>
                  </a:cubicBezTo>
                  <a:cubicBezTo>
                    <a:pt x="35" y="179"/>
                    <a:pt x="35" y="179"/>
                    <a:pt x="35" y="179"/>
                  </a:cubicBezTo>
                  <a:cubicBezTo>
                    <a:pt x="22" y="194"/>
                    <a:pt x="19" y="251"/>
                    <a:pt x="19" y="305"/>
                  </a:cubicBezTo>
                  <a:cubicBezTo>
                    <a:pt x="19" y="359"/>
                    <a:pt x="22" y="409"/>
                    <a:pt x="22" y="409"/>
                  </a:cubicBezTo>
                  <a:cubicBezTo>
                    <a:pt x="48" y="410"/>
                    <a:pt x="48" y="410"/>
                    <a:pt x="48" y="410"/>
                  </a:cubicBezTo>
                  <a:cubicBezTo>
                    <a:pt x="38" y="409"/>
                    <a:pt x="38" y="409"/>
                    <a:pt x="38" y="409"/>
                  </a:cubicBezTo>
                  <a:cubicBezTo>
                    <a:pt x="38" y="409"/>
                    <a:pt x="36" y="209"/>
                    <a:pt x="65" y="180"/>
                  </a:cubicBezTo>
                  <a:cubicBezTo>
                    <a:pt x="65" y="180"/>
                    <a:pt x="34" y="89"/>
                    <a:pt x="39" y="19"/>
                  </a:cubicBezTo>
                  <a:cubicBezTo>
                    <a:pt x="24" y="17"/>
                    <a:pt x="10" y="11"/>
                    <a:pt x="1" y="0"/>
                  </a:cubicBezTo>
                </a:path>
              </a:pathLst>
            </a:custGeom>
            <a:solidFill>
              <a:srgbClr val="255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4" name="işľîdè">
              <a:extLst>
                <a:ext uri="{FF2B5EF4-FFF2-40B4-BE49-F238E27FC236}">
                  <a16:creationId xmlns:a16="http://schemas.microsoft.com/office/drawing/2014/main" id="{625D34D1-D3E7-4319-80E8-AC284D48A992}"/>
                </a:ext>
              </a:extLst>
            </p:cNvPr>
            <p:cNvSpPr/>
            <p:nvPr/>
          </p:nvSpPr>
          <p:spPr bwMode="auto">
            <a:xfrm>
              <a:off x="4735513" y="2941638"/>
              <a:ext cx="671513" cy="1128713"/>
            </a:xfrm>
            <a:custGeom>
              <a:avLst/>
              <a:gdLst>
                <a:gd name="T0" fmla="*/ 27 w 175"/>
                <a:gd name="T1" fmla="*/ 11 h 295"/>
                <a:gd name="T2" fmla="*/ 75 w 175"/>
                <a:gd name="T3" fmla="*/ 0 h 295"/>
                <a:gd name="T4" fmla="*/ 132 w 175"/>
                <a:gd name="T5" fmla="*/ 76 h 295"/>
                <a:gd name="T6" fmla="*/ 171 w 175"/>
                <a:gd name="T7" fmla="*/ 228 h 295"/>
                <a:gd name="T8" fmla="*/ 21 w 175"/>
                <a:gd name="T9" fmla="*/ 244 h 295"/>
                <a:gd name="T10" fmla="*/ 17 w 175"/>
                <a:gd name="T11" fmla="*/ 18 h 295"/>
                <a:gd name="T12" fmla="*/ 27 w 175"/>
                <a:gd name="T13" fmla="*/ 11 h 295"/>
              </a:gdLst>
              <a:ahLst/>
              <a:cxnLst>
                <a:cxn ang="0">
                  <a:pos x="T0" y="T1"/>
                </a:cxn>
                <a:cxn ang="0">
                  <a:pos x="T2" y="T3"/>
                </a:cxn>
                <a:cxn ang="0">
                  <a:pos x="T4" y="T5"/>
                </a:cxn>
                <a:cxn ang="0">
                  <a:pos x="T6" y="T7"/>
                </a:cxn>
                <a:cxn ang="0">
                  <a:pos x="T8" y="T9"/>
                </a:cxn>
                <a:cxn ang="0">
                  <a:pos x="T10" y="T11"/>
                </a:cxn>
                <a:cxn ang="0">
                  <a:pos x="T12" y="T13"/>
                </a:cxn>
              </a:cxnLst>
              <a:rect l="0" t="0" r="r" b="b"/>
              <a:pathLst>
                <a:path w="175" h="295">
                  <a:moveTo>
                    <a:pt x="27" y="11"/>
                  </a:moveTo>
                  <a:cubicBezTo>
                    <a:pt x="36" y="13"/>
                    <a:pt x="52" y="12"/>
                    <a:pt x="75" y="0"/>
                  </a:cubicBezTo>
                  <a:cubicBezTo>
                    <a:pt x="75" y="0"/>
                    <a:pt x="114" y="9"/>
                    <a:pt x="132" y="76"/>
                  </a:cubicBezTo>
                  <a:cubicBezTo>
                    <a:pt x="151" y="142"/>
                    <a:pt x="175" y="212"/>
                    <a:pt x="171" y="228"/>
                  </a:cubicBezTo>
                  <a:cubicBezTo>
                    <a:pt x="168" y="244"/>
                    <a:pt x="58" y="295"/>
                    <a:pt x="21" y="244"/>
                  </a:cubicBezTo>
                  <a:cubicBezTo>
                    <a:pt x="0" y="214"/>
                    <a:pt x="8" y="55"/>
                    <a:pt x="17" y="18"/>
                  </a:cubicBezTo>
                  <a:cubicBezTo>
                    <a:pt x="18" y="13"/>
                    <a:pt x="22" y="10"/>
                    <a:pt x="27" y="11"/>
                  </a:cubicBezTo>
                </a:path>
              </a:pathLst>
            </a:custGeom>
            <a:solidFill>
              <a:srgbClr val="F77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ïṩlíḋé">
              <a:extLst>
                <a:ext uri="{FF2B5EF4-FFF2-40B4-BE49-F238E27FC236}">
                  <a16:creationId xmlns:a16="http://schemas.microsoft.com/office/drawing/2014/main" id="{787B9B1C-F4F3-4961-926D-E95DCAD3F3A5}"/>
                </a:ext>
              </a:extLst>
            </p:cNvPr>
            <p:cNvSpPr/>
            <p:nvPr/>
          </p:nvSpPr>
          <p:spPr bwMode="auto">
            <a:xfrm>
              <a:off x="5233988" y="3201988"/>
              <a:ext cx="49213" cy="176213"/>
            </a:xfrm>
            <a:custGeom>
              <a:avLst/>
              <a:gdLst>
                <a:gd name="T0" fmla="*/ 0 w 13"/>
                <a:gd name="T1" fmla="*/ 0 h 46"/>
                <a:gd name="T2" fmla="*/ 2 w 13"/>
                <a:gd name="T3" fmla="*/ 8 h 46"/>
                <a:gd name="T4" fmla="*/ 13 w 13"/>
                <a:gd name="T5" fmla="*/ 46 h 46"/>
                <a:gd name="T6" fmla="*/ 4 w 13"/>
                <a:gd name="T7" fmla="*/ 1 h 46"/>
                <a:gd name="T8" fmla="*/ 0 w 13"/>
                <a:gd name="T9" fmla="*/ 0 h 46"/>
              </a:gdLst>
              <a:ahLst/>
              <a:cxnLst>
                <a:cxn ang="0">
                  <a:pos x="T0" y="T1"/>
                </a:cxn>
                <a:cxn ang="0">
                  <a:pos x="T2" y="T3"/>
                </a:cxn>
                <a:cxn ang="0">
                  <a:pos x="T4" y="T5"/>
                </a:cxn>
                <a:cxn ang="0">
                  <a:pos x="T6" y="T7"/>
                </a:cxn>
                <a:cxn ang="0">
                  <a:pos x="T8" y="T9"/>
                </a:cxn>
              </a:cxnLst>
              <a:rect l="0" t="0" r="r" b="b"/>
              <a:pathLst>
                <a:path w="13" h="46">
                  <a:moveTo>
                    <a:pt x="0" y="0"/>
                  </a:moveTo>
                  <a:cubicBezTo>
                    <a:pt x="1" y="3"/>
                    <a:pt x="2" y="5"/>
                    <a:pt x="2" y="8"/>
                  </a:cubicBezTo>
                  <a:cubicBezTo>
                    <a:pt x="6" y="20"/>
                    <a:pt x="10" y="33"/>
                    <a:pt x="13" y="46"/>
                  </a:cubicBezTo>
                  <a:cubicBezTo>
                    <a:pt x="4" y="1"/>
                    <a:pt x="4" y="1"/>
                    <a:pt x="4" y="1"/>
                  </a:cubicBezTo>
                  <a:cubicBezTo>
                    <a:pt x="4" y="1"/>
                    <a:pt x="2" y="1"/>
                    <a:pt x="0" y="0"/>
                  </a:cubicBezTo>
                </a:path>
              </a:pathLst>
            </a:custGeom>
            <a:solidFill>
              <a:srgbClr val="0B80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íṩ1îdê">
              <a:extLst>
                <a:ext uri="{FF2B5EF4-FFF2-40B4-BE49-F238E27FC236}">
                  <a16:creationId xmlns:a16="http://schemas.microsoft.com/office/drawing/2014/main" id="{5A2C439D-9FD3-48FE-A9C9-D1030968B209}"/>
                </a:ext>
              </a:extLst>
            </p:cNvPr>
            <p:cNvSpPr/>
            <p:nvPr/>
          </p:nvSpPr>
          <p:spPr bwMode="auto">
            <a:xfrm>
              <a:off x="4865688" y="3128963"/>
              <a:ext cx="452438" cy="390525"/>
            </a:xfrm>
            <a:custGeom>
              <a:avLst/>
              <a:gdLst>
                <a:gd name="T0" fmla="*/ 17 w 118"/>
                <a:gd name="T1" fmla="*/ 0 h 102"/>
                <a:gd name="T2" fmla="*/ 1 w 118"/>
                <a:gd name="T3" fmla="*/ 8 h 102"/>
                <a:gd name="T4" fmla="*/ 118 w 118"/>
                <a:gd name="T5" fmla="*/ 102 h 102"/>
                <a:gd name="T6" fmla="*/ 109 w 118"/>
                <a:gd name="T7" fmla="*/ 65 h 102"/>
                <a:gd name="T8" fmla="*/ 98 w 118"/>
                <a:gd name="T9" fmla="*/ 27 h 102"/>
                <a:gd name="T10" fmla="*/ 96 w 118"/>
                <a:gd name="T11" fmla="*/ 19 h 102"/>
                <a:gd name="T12" fmla="*/ 17 w 118"/>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118" h="102">
                  <a:moveTo>
                    <a:pt x="17" y="0"/>
                  </a:moveTo>
                  <a:cubicBezTo>
                    <a:pt x="8" y="0"/>
                    <a:pt x="1" y="2"/>
                    <a:pt x="1" y="8"/>
                  </a:cubicBezTo>
                  <a:cubicBezTo>
                    <a:pt x="0" y="32"/>
                    <a:pt x="118" y="102"/>
                    <a:pt x="118" y="102"/>
                  </a:cubicBezTo>
                  <a:cubicBezTo>
                    <a:pt x="109" y="65"/>
                    <a:pt x="109" y="65"/>
                    <a:pt x="109" y="65"/>
                  </a:cubicBezTo>
                  <a:cubicBezTo>
                    <a:pt x="106" y="52"/>
                    <a:pt x="102" y="39"/>
                    <a:pt x="98" y="27"/>
                  </a:cubicBezTo>
                  <a:cubicBezTo>
                    <a:pt x="98" y="24"/>
                    <a:pt x="97" y="22"/>
                    <a:pt x="96" y="19"/>
                  </a:cubicBezTo>
                  <a:cubicBezTo>
                    <a:pt x="84" y="15"/>
                    <a:pt x="40" y="0"/>
                    <a:pt x="17" y="0"/>
                  </a:cubicBezTo>
                </a:path>
              </a:pathLst>
            </a:custGeom>
            <a:solidFill>
              <a:srgbClr val="F35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išlíďe">
              <a:extLst>
                <a:ext uri="{FF2B5EF4-FFF2-40B4-BE49-F238E27FC236}">
                  <a16:creationId xmlns:a16="http://schemas.microsoft.com/office/drawing/2014/main" id="{817558D0-3E1A-45DB-80BD-6F3E5812ADE1}"/>
                </a:ext>
              </a:extLst>
            </p:cNvPr>
            <p:cNvSpPr/>
            <p:nvPr/>
          </p:nvSpPr>
          <p:spPr bwMode="auto">
            <a:xfrm>
              <a:off x="5797551" y="2984500"/>
              <a:ext cx="198438" cy="144463"/>
            </a:xfrm>
            <a:custGeom>
              <a:avLst/>
              <a:gdLst>
                <a:gd name="T0" fmla="*/ 13 w 52"/>
                <a:gd name="T1" fmla="*/ 38 h 38"/>
                <a:gd name="T2" fmla="*/ 45 w 52"/>
                <a:gd name="T3" fmla="*/ 19 h 38"/>
                <a:gd name="T4" fmla="*/ 30 w 52"/>
                <a:gd name="T5" fmla="*/ 5 h 38"/>
                <a:gd name="T6" fmla="*/ 19 w 52"/>
                <a:gd name="T7" fmla="*/ 12 h 38"/>
                <a:gd name="T8" fmla="*/ 18 w 52"/>
                <a:gd name="T9" fmla="*/ 10 h 38"/>
                <a:gd name="T10" fmla="*/ 24 w 52"/>
                <a:gd name="T11" fmla="*/ 2 h 38"/>
                <a:gd name="T12" fmla="*/ 4 w 52"/>
                <a:gd name="T13" fmla="*/ 20 h 38"/>
                <a:gd name="T14" fmla="*/ 13 w 52"/>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8">
                  <a:moveTo>
                    <a:pt x="13" y="38"/>
                  </a:moveTo>
                  <a:cubicBezTo>
                    <a:pt x="13" y="38"/>
                    <a:pt x="37" y="34"/>
                    <a:pt x="45" y="19"/>
                  </a:cubicBezTo>
                  <a:cubicBezTo>
                    <a:pt x="52" y="5"/>
                    <a:pt x="38" y="0"/>
                    <a:pt x="30" y="5"/>
                  </a:cubicBezTo>
                  <a:cubicBezTo>
                    <a:pt x="22" y="11"/>
                    <a:pt x="22" y="11"/>
                    <a:pt x="19" y="12"/>
                  </a:cubicBezTo>
                  <a:cubicBezTo>
                    <a:pt x="16" y="13"/>
                    <a:pt x="15" y="12"/>
                    <a:pt x="18" y="10"/>
                  </a:cubicBezTo>
                  <a:cubicBezTo>
                    <a:pt x="22" y="8"/>
                    <a:pt x="28" y="3"/>
                    <a:pt x="24" y="2"/>
                  </a:cubicBezTo>
                  <a:cubicBezTo>
                    <a:pt x="20" y="2"/>
                    <a:pt x="7" y="10"/>
                    <a:pt x="4" y="20"/>
                  </a:cubicBezTo>
                  <a:cubicBezTo>
                    <a:pt x="0" y="29"/>
                    <a:pt x="13" y="38"/>
                    <a:pt x="13" y="38"/>
                  </a:cubicBezTo>
                  <a:close/>
                </a:path>
              </a:pathLst>
            </a:custGeom>
            <a:solidFill>
              <a:srgbClr val="EAC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îşḻïḍe">
              <a:extLst>
                <a:ext uri="{FF2B5EF4-FFF2-40B4-BE49-F238E27FC236}">
                  <a16:creationId xmlns:a16="http://schemas.microsoft.com/office/drawing/2014/main" id="{AB224E38-6248-4EC7-8D4B-F475D2D1D38C}"/>
                </a:ext>
              </a:extLst>
            </p:cNvPr>
            <p:cNvSpPr/>
            <p:nvPr/>
          </p:nvSpPr>
          <p:spPr bwMode="auto">
            <a:xfrm>
              <a:off x="4792663" y="2960688"/>
              <a:ext cx="1066800" cy="382588"/>
            </a:xfrm>
            <a:custGeom>
              <a:avLst/>
              <a:gdLst>
                <a:gd name="T0" fmla="*/ 41 w 278"/>
                <a:gd name="T1" fmla="*/ 78 h 100"/>
                <a:gd name="T2" fmla="*/ 174 w 278"/>
                <a:gd name="T3" fmla="*/ 98 h 100"/>
                <a:gd name="T4" fmla="*/ 278 w 278"/>
                <a:gd name="T5" fmla="*/ 45 h 100"/>
                <a:gd name="T6" fmla="*/ 265 w 278"/>
                <a:gd name="T7" fmla="*/ 21 h 100"/>
                <a:gd name="T8" fmla="*/ 171 w 278"/>
                <a:gd name="T9" fmla="*/ 52 h 100"/>
                <a:gd name="T10" fmla="*/ 60 w 278"/>
                <a:gd name="T11" fmla="*/ 5 h 100"/>
                <a:gd name="T12" fmla="*/ 41 w 278"/>
                <a:gd name="T13" fmla="*/ 78 h 100"/>
              </a:gdLst>
              <a:ahLst/>
              <a:cxnLst>
                <a:cxn ang="0">
                  <a:pos x="T0" y="T1"/>
                </a:cxn>
                <a:cxn ang="0">
                  <a:pos x="T2" y="T3"/>
                </a:cxn>
                <a:cxn ang="0">
                  <a:pos x="T4" y="T5"/>
                </a:cxn>
                <a:cxn ang="0">
                  <a:pos x="T6" y="T7"/>
                </a:cxn>
                <a:cxn ang="0">
                  <a:pos x="T8" y="T9"/>
                </a:cxn>
                <a:cxn ang="0">
                  <a:pos x="T10" y="T11"/>
                </a:cxn>
                <a:cxn ang="0">
                  <a:pos x="T12" y="T13"/>
                </a:cxn>
              </a:cxnLst>
              <a:rect l="0" t="0" r="r" b="b"/>
              <a:pathLst>
                <a:path w="278" h="100">
                  <a:moveTo>
                    <a:pt x="41" y="78"/>
                  </a:moveTo>
                  <a:cubicBezTo>
                    <a:pt x="68" y="85"/>
                    <a:pt x="114" y="100"/>
                    <a:pt x="174" y="98"/>
                  </a:cubicBezTo>
                  <a:cubicBezTo>
                    <a:pt x="235" y="96"/>
                    <a:pt x="278" y="45"/>
                    <a:pt x="278" y="45"/>
                  </a:cubicBezTo>
                  <a:cubicBezTo>
                    <a:pt x="265" y="21"/>
                    <a:pt x="265" y="21"/>
                    <a:pt x="265" y="21"/>
                  </a:cubicBezTo>
                  <a:cubicBezTo>
                    <a:pt x="265" y="21"/>
                    <a:pt x="194" y="52"/>
                    <a:pt x="171" y="52"/>
                  </a:cubicBezTo>
                  <a:cubicBezTo>
                    <a:pt x="148" y="52"/>
                    <a:pt x="85" y="7"/>
                    <a:pt x="60" y="5"/>
                  </a:cubicBezTo>
                  <a:cubicBezTo>
                    <a:pt x="9" y="0"/>
                    <a:pt x="0" y="66"/>
                    <a:pt x="41" y="78"/>
                  </a:cubicBezTo>
                  <a:close/>
                </a:path>
              </a:pathLst>
            </a:custGeom>
            <a:solidFill>
              <a:srgbClr val="F77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iṥļïḑê">
              <a:extLst>
                <a:ext uri="{FF2B5EF4-FFF2-40B4-BE49-F238E27FC236}">
                  <a16:creationId xmlns:a16="http://schemas.microsoft.com/office/drawing/2014/main" id="{95695A7C-C74D-440F-A7C5-67C458D111C2}"/>
                </a:ext>
              </a:extLst>
            </p:cNvPr>
            <p:cNvSpPr/>
            <p:nvPr/>
          </p:nvSpPr>
          <p:spPr bwMode="auto">
            <a:xfrm>
              <a:off x="4529138" y="2317750"/>
              <a:ext cx="612775" cy="585788"/>
            </a:xfrm>
            <a:custGeom>
              <a:avLst/>
              <a:gdLst>
                <a:gd name="T0" fmla="*/ 65 w 160"/>
                <a:gd name="T1" fmla="*/ 28 h 153"/>
                <a:gd name="T2" fmla="*/ 123 w 160"/>
                <a:gd name="T3" fmla="*/ 5 h 153"/>
                <a:gd name="T4" fmla="*/ 116 w 160"/>
                <a:gd name="T5" fmla="*/ 22 h 153"/>
                <a:gd name="T6" fmla="*/ 131 w 160"/>
                <a:gd name="T7" fmla="*/ 0 h 153"/>
                <a:gd name="T8" fmla="*/ 117 w 160"/>
                <a:gd name="T9" fmla="*/ 59 h 153"/>
                <a:gd name="T10" fmla="*/ 80 w 160"/>
                <a:gd name="T11" fmla="*/ 70 h 153"/>
                <a:gd name="T12" fmla="*/ 74 w 160"/>
                <a:gd name="T13" fmla="*/ 118 h 153"/>
                <a:gd name="T14" fmla="*/ 69 w 160"/>
                <a:gd name="T15" fmla="*/ 153 h 153"/>
                <a:gd name="T16" fmla="*/ 65 w 160"/>
                <a:gd name="T17" fmla="*/ 2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53">
                  <a:moveTo>
                    <a:pt x="65" y="28"/>
                  </a:moveTo>
                  <a:cubicBezTo>
                    <a:pt x="89" y="14"/>
                    <a:pt x="120" y="14"/>
                    <a:pt x="123" y="5"/>
                  </a:cubicBezTo>
                  <a:cubicBezTo>
                    <a:pt x="123" y="5"/>
                    <a:pt x="124" y="12"/>
                    <a:pt x="116" y="22"/>
                  </a:cubicBezTo>
                  <a:cubicBezTo>
                    <a:pt x="116" y="22"/>
                    <a:pt x="130" y="11"/>
                    <a:pt x="131" y="0"/>
                  </a:cubicBezTo>
                  <a:cubicBezTo>
                    <a:pt x="131" y="0"/>
                    <a:pt x="160" y="39"/>
                    <a:pt x="117" y="59"/>
                  </a:cubicBezTo>
                  <a:cubicBezTo>
                    <a:pt x="98" y="68"/>
                    <a:pt x="86" y="64"/>
                    <a:pt x="80" y="70"/>
                  </a:cubicBezTo>
                  <a:cubicBezTo>
                    <a:pt x="73" y="78"/>
                    <a:pt x="65" y="96"/>
                    <a:pt x="74" y="118"/>
                  </a:cubicBezTo>
                  <a:cubicBezTo>
                    <a:pt x="85" y="147"/>
                    <a:pt x="69" y="153"/>
                    <a:pt x="69" y="153"/>
                  </a:cubicBezTo>
                  <a:cubicBezTo>
                    <a:pt x="69" y="153"/>
                    <a:pt x="0" y="66"/>
                    <a:pt x="65" y="28"/>
                  </a:cubicBezTo>
                </a:path>
              </a:pathLst>
            </a:custGeom>
            <a:solidFill>
              <a:srgbClr val="513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íṩľïḓe">
              <a:extLst>
                <a:ext uri="{FF2B5EF4-FFF2-40B4-BE49-F238E27FC236}">
                  <a16:creationId xmlns:a16="http://schemas.microsoft.com/office/drawing/2014/main" id="{E93A1E98-337B-4AF7-9C85-D0EB68BE390E}"/>
                </a:ext>
              </a:extLst>
            </p:cNvPr>
            <p:cNvSpPr/>
            <p:nvPr/>
          </p:nvSpPr>
          <p:spPr bwMode="auto">
            <a:xfrm>
              <a:off x="4708526" y="2586038"/>
              <a:ext cx="111125" cy="176213"/>
            </a:xfrm>
            <a:custGeom>
              <a:avLst/>
              <a:gdLst>
                <a:gd name="T0" fmla="*/ 26 w 29"/>
                <a:gd name="T1" fmla="*/ 12 h 46"/>
                <a:gd name="T2" fmla="*/ 8 w 29"/>
                <a:gd name="T3" fmla="*/ 8 h 46"/>
                <a:gd name="T4" fmla="*/ 29 w 29"/>
                <a:gd name="T5" fmla="*/ 35 h 46"/>
                <a:gd name="T6" fmla="*/ 26 w 29"/>
                <a:gd name="T7" fmla="*/ 12 h 46"/>
              </a:gdLst>
              <a:ahLst/>
              <a:cxnLst>
                <a:cxn ang="0">
                  <a:pos x="T0" y="T1"/>
                </a:cxn>
                <a:cxn ang="0">
                  <a:pos x="T2" y="T3"/>
                </a:cxn>
                <a:cxn ang="0">
                  <a:pos x="T4" y="T5"/>
                </a:cxn>
                <a:cxn ang="0">
                  <a:pos x="T6" y="T7"/>
                </a:cxn>
              </a:cxnLst>
              <a:rect l="0" t="0" r="r" b="b"/>
              <a:pathLst>
                <a:path w="29" h="46">
                  <a:moveTo>
                    <a:pt x="26" y="12"/>
                  </a:moveTo>
                  <a:cubicBezTo>
                    <a:pt x="26" y="12"/>
                    <a:pt x="16" y="0"/>
                    <a:pt x="8" y="8"/>
                  </a:cubicBezTo>
                  <a:cubicBezTo>
                    <a:pt x="0" y="16"/>
                    <a:pt x="10" y="46"/>
                    <a:pt x="29" y="35"/>
                  </a:cubicBezTo>
                  <a:cubicBezTo>
                    <a:pt x="26" y="12"/>
                    <a:pt x="26" y="12"/>
                    <a:pt x="26" y="12"/>
                  </a:cubicBezTo>
                </a:path>
              </a:pathLst>
            </a:custGeom>
            <a:solidFill>
              <a:srgbClr val="EAC3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1" name="íśḷïdé">
              <a:extLst>
                <a:ext uri="{FF2B5EF4-FFF2-40B4-BE49-F238E27FC236}">
                  <a16:creationId xmlns:a16="http://schemas.microsoft.com/office/drawing/2014/main" id="{B7202646-7174-4409-81D1-E61C597660DF}"/>
                </a:ext>
              </a:extLst>
            </p:cNvPr>
            <p:cNvSpPr/>
            <p:nvPr/>
          </p:nvSpPr>
          <p:spPr bwMode="auto">
            <a:xfrm>
              <a:off x="4727576" y="2605088"/>
              <a:ext cx="92075" cy="122238"/>
            </a:xfrm>
            <a:custGeom>
              <a:avLst/>
              <a:gdLst>
                <a:gd name="T0" fmla="*/ 9 w 24"/>
                <a:gd name="T1" fmla="*/ 0 h 32"/>
                <a:gd name="T2" fmla="*/ 3 w 24"/>
                <a:gd name="T3" fmla="*/ 3 h 32"/>
                <a:gd name="T4" fmla="*/ 0 w 24"/>
                <a:gd name="T5" fmla="*/ 11 h 32"/>
                <a:gd name="T6" fmla="*/ 16 w 24"/>
                <a:gd name="T7" fmla="*/ 32 h 32"/>
                <a:gd name="T8" fmla="*/ 24 w 24"/>
                <a:gd name="T9" fmla="*/ 30 h 32"/>
                <a:gd name="T10" fmla="*/ 21 w 24"/>
                <a:gd name="T11" fmla="*/ 7 h 32"/>
                <a:gd name="T12" fmla="*/ 9 w 24"/>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9" y="0"/>
                  </a:moveTo>
                  <a:cubicBezTo>
                    <a:pt x="7" y="0"/>
                    <a:pt x="5" y="1"/>
                    <a:pt x="3" y="3"/>
                  </a:cubicBezTo>
                  <a:cubicBezTo>
                    <a:pt x="1" y="5"/>
                    <a:pt x="0" y="8"/>
                    <a:pt x="0" y="11"/>
                  </a:cubicBezTo>
                  <a:cubicBezTo>
                    <a:pt x="0" y="21"/>
                    <a:pt x="6" y="32"/>
                    <a:pt x="16" y="32"/>
                  </a:cubicBezTo>
                  <a:cubicBezTo>
                    <a:pt x="18" y="32"/>
                    <a:pt x="21" y="31"/>
                    <a:pt x="24" y="30"/>
                  </a:cubicBezTo>
                  <a:cubicBezTo>
                    <a:pt x="21" y="7"/>
                    <a:pt x="21" y="7"/>
                    <a:pt x="21" y="7"/>
                  </a:cubicBezTo>
                  <a:cubicBezTo>
                    <a:pt x="21" y="7"/>
                    <a:pt x="15" y="0"/>
                    <a:pt x="9" y="0"/>
                  </a:cubicBezTo>
                </a:path>
              </a:pathLst>
            </a:custGeom>
            <a:solidFill>
              <a:srgbClr val="DDA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2" name="ísļîḋê">
              <a:extLst>
                <a:ext uri="{FF2B5EF4-FFF2-40B4-BE49-F238E27FC236}">
                  <a16:creationId xmlns:a16="http://schemas.microsoft.com/office/drawing/2014/main" id="{7335539E-3BE7-4DBF-9CD1-C5C3D5DB3EE4}"/>
                </a:ext>
              </a:extLst>
            </p:cNvPr>
            <p:cNvSpPr/>
            <p:nvPr/>
          </p:nvSpPr>
          <p:spPr bwMode="auto">
            <a:xfrm>
              <a:off x="4529138" y="2374900"/>
              <a:ext cx="387350" cy="528638"/>
            </a:xfrm>
            <a:custGeom>
              <a:avLst/>
              <a:gdLst>
                <a:gd name="T0" fmla="*/ 67 w 101"/>
                <a:gd name="T1" fmla="*/ 18 h 138"/>
                <a:gd name="T2" fmla="*/ 101 w 101"/>
                <a:gd name="T3" fmla="*/ 0 h 138"/>
                <a:gd name="T4" fmla="*/ 65 w 101"/>
                <a:gd name="T5" fmla="*/ 13 h 138"/>
                <a:gd name="T6" fmla="*/ 69 w 101"/>
                <a:gd name="T7" fmla="*/ 138 h 138"/>
                <a:gd name="T8" fmla="*/ 77 w 101"/>
                <a:gd name="T9" fmla="*/ 129 h 138"/>
                <a:gd name="T10" fmla="*/ 67 w 101"/>
                <a:gd name="T11" fmla="*/ 18 h 138"/>
              </a:gdLst>
              <a:ahLst/>
              <a:cxnLst>
                <a:cxn ang="0">
                  <a:pos x="T0" y="T1"/>
                </a:cxn>
                <a:cxn ang="0">
                  <a:pos x="T2" y="T3"/>
                </a:cxn>
                <a:cxn ang="0">
                  <a:pos x="T4" y="T5"/>
                </a:cxn>
                <a:cxn ang="0">
                  <a:pos x="T6" y="T7"/>
                </a:cxn>
                <a:cxn ang="0">
                  <a:pos x="T8" y="T9"/>
                </a:cxn>
                <a:cxn ang="0">
                  <a:pos x="T10" y="T11"/>
                </a:cxn>
              </a:cxnLst>
              <a:rect l="0" t="0" r="r" b="b"/>
              <a:pathLst>
                <a:path w="101" h="138">
                  <a:moveTo>
                    <a:pt x="67" y="18"/>
                  </a:moveTo>
                  <a:cubicBezTo>
                    <a:pt x="78" y="10"/>
                    <a:pt x="91" y="4"/>
                    <a:pt x="101" y="0"/>
                  </a:cubicBezTo>
                  <a:cubicBezTo>
                    <a:pt x="90" y="3"/>
                    <a:pt x="77" y="6"/>
                    <a:pt x="65" y="13"/>
                  </a:cubicBezTo>
                  <a:cubicBezTo>
                    <a:pt x="0" y="51"/>
                    <a:pt x="69" y="138"/>
                    <a:pt x="69" y="138"/>
                  </a:cubicBezTo>
                  <a:cubicBezTo>
                    <a:pt x="69" y="138"/>
                    <a:pt x="74" y="136"/>
                    <a:pt x="77" y="129"/>
                  </a:cubicBezTo>
                  <a:cubicBezTo>
                    <a:pt x="57" y="105"/>
                    <a:pt x="23" y="54"/>
                    <a:pt x="67" y="18"/>
                  </a:cubicBezTo>
                  <a:close/>
                </a:path>
              </a:pathLst>
            </a:custGeom>
            <a:solidFill>
              <a:srgbClr val="513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3" name="îṧ1íde">
              <a:extLst>
                <a:ext uri="{FF2B5EF4-FFF2-40B4-BE49-F238E27FC236}">
                  <a16:creationId xmlns:a16="http://schemas.microsoft.com/office/drawing/2014/main" id="{71097F22-BBDD-48D1-8058-A11069E1CFBC}"/>
                </a:ext>
              </a:extLst>
            </p:cNvPr>
            <p:cNvSpPr/>
            <p:nvPr/>
          </p:nvSpPr>
          <p:spPr bwMode="auto">
            <a:xfrm>
              <a:off x="7754938" y="3405188"/>
              <a:ext cx="942975" cy="1001713"/>
            </a:xfrm>
            <a:custGeom>
              <a:avLst/>
              <a:gdLst>
                <a:gd name="T0" fmla="*/ 34 w 246"/>
                <a:gd name="T1" fmla="*/ 69 h 262"/>
                <a:gd name="T2" fmla="*/ 193 w 246"/>
                <a:gd name="T3" fmla="*/ 35 h 262"/>
                <a:gd name="T4" fmla="*/ 190 w 246"/>
                <a:gd name="T5" fmla="*/ 169 h 262"/>
                <a:gd name="T6" fmla="*/ 68 w 246"/>
                <a:gd name="T7" fmla="*/ 228 h 262"/>
                <a:gd name="T8" fmla="*/ 34 w 246"/>
                <a:gd name="T9" fmla="*/ 69 h 262"/>
              </a:gdLst>
              <a:ahLst/>
              <a:cxnLst>
                <a:cxn ang="0">
                  <a:pos x="T0" y="T1"/>
                </a:cxn>
                <a:cxn ang="0">
                  <a:pos x="T2" y="T3"/>
                </a:cxn>
                <a:cxn ang="0">
                  <a:pos x="T4" y="T5"/>
                </a:cxn>
                <a:cxn ang="0">
                  <a:pos x="T6" y="T7"/>
                </a:cxn>
                <a:cxn ang="0">
                  <a:pos x="T8" y="T9"/>
                </a:cxn>
              </a:cxnLst>
              <a:rect l="0" t="0" r="r" b="b"/>
              <a:pathLst>
                <a:path w="246" h="262">
                  <a:moveTo>
                    <a:pt x="34" y="69"/>
                  </a:moveTo>
                  <a:cubicBezTo>
                    <a:pt x="68" y="16"/>
                    <a:pt x="139" y="0"/>
                    <a:pt x="193" y="35"/>
                  </a:cubicBezTo>
                  <a:cubicBezTo>
                    <a:pt x="246" y="69"/>
                    <a:pt x="224" y="116"/>
                    <a:pt x="190" y="169"/>
                  </a:cubicBezTo>
                  <a:cubicBezTo>
                    <a:pt x="155" y="223"/>
                    <a:pt x="122" y="262"/>
                    <a:pt x="68" y="228"/>
                  </a:cubicBezTo>
                  <a:cubicBezTo>
                    <a:pt x="15" y="193"/>
                    <a:pt x="0" y="122"/>
                    <a:pt x="34" y="69"/>
                  </a:cubicBezTo>
                  <a:close/>
                </a:path>
              </a:pathLst>
            </a:custGeom>
            <a:solidFill>
              <a:srgbClr val="0BA9B9">
                <a:alpha val="30000"/>
              </a:srgbClr>
            </a:solidFill>
            <a:ln>
              <a:noFill/>
            </a:ln>
          </p:spPr>
          <p:txBody>
            <a:bodyPr vert="horz" wrap="square" lIns="91440" tIns="45720" rIns="91440" bIns="45720" numCol="1" anchor="t" anchorCtr="0" compatLnSpc="1">
              <a:prstTxWarp prst="textNoShape">
                <a:avLst/>
              </a:prstTxWarp>
            </a:bodyPr>
            <a:lstStyle/>
            <a:p>
              <a:endParaRPr lang="zh-CN" altLang="en-US"/>
            </a:p>
          </p:txBody>
        </p:sp>
      </p:grpSp>
      <p:pic>
        <p:nvPicPr>
          <p:cNvPr id="184" name="图形 183" descr="指向右边的反手食指">
            <a:extLst>
              <a:ext uri="{FF2B5EF4-FFF2-40B4-BE49-F238E27FC236}">
                <a16:creationId xmlns:a16="http://schemas.microsoft.com/office/drawing/2014/main" id="{6DB1F4DF-F546-4BEA-9450-BE07A5B9922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54844" y="1842294"/>
            <a:ext cx="914400" cy="914400"/>
          </a:xfrm>
          <a:prstGeom prst="rect">
            <a:avLst/>
          </a:prstGeom>
        </p:spPr>
      </p:pic>
    </p:spTree>
    <p:custDataLst>
      <p:tags r:id="rId1"/>
    </p:custDataLst>
    <p:extLst>
      <p:ext uri="{BB962C8B-B14F-4D97-AF65-F5344CB8AC3E}">
        <p14:creationId xmlns:p14="http://schemas.microsoft.com/office/powerpoint/2010/main" val="13515590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8AE9547-3C5E-4215-B705-424CD628A5F0}"/>
              </a:ext>
            </a:extLst>
          </p:cNvPr>
          <p:cNvSpPr>
            <a:spLocks noGrp="1"/>
          </p:cNvSpPr>
          <p:nvPr>
            <p:ph type="title"/>
          </p:nvPr>
        </p:nvSpPr>
        <p:spPr/>
        <p:txBody>
          <a:bodyPr/>
          <a:lstStyle/>
          <a:p>
            <a:r>
              <a:rPr lang="en-US" altLang="zh-CN" dirty="0"/>
              <a:t>3.1</a:t>
            </a:r>
            <a:r>
              <a:rPr lang="zh-CN" altLang="en-US" dirty="0"/>
              <a:t>使用</a:t>
            </a:r>
            <a:r>
              <a:rPr lang="en-US" altLang="zh-CN" dirty="0" err="1"/>
              <a:t>java.util.function</a:t>
            </a:r>
            <a:r>
              <a:rPr lang="zh-CN" altLang="en-US" dirty="0"/>
              <a:t>包</a:t>
            </a:r>
            <a:r>
              <a:rPr lang="en-US" altLang="zh-CN" baseline="30000" dirty="0">
                <a:latin typeface="+mn-lt"/>
                <a:ea typeface="+mn-ea"/>
                <a:cs typeface="+mn-ea"/>
                <a:sym typeface="+mn-lt"/>
              </a:rPr>
              <a:t>[1]</a:t>
            </a:r>
            <a:endParaRPr lang="zh-CN" altLang="en-US" dirty="0"/>
          </a:p>
        </p:txBody>
      </p:sp>
      <p:sp>
        <p:nvSpPr>
          <p:cNvPr id="3" name="页脚占位符 2">
            <a:extLst>
              <a:ext uri="{FF2B5EF4-FFF2-40B4-BE49-F238E27FC236}">
                <a16:creationId xmlns:a16="http://schemas.microsoft.com/office/drawing/2014/main" id="{D9288446-E0C0-4697-9CA8-5A17747996FD}"/>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0735D7FB-624C-49D2-973C-586FB4E6E8B0}"/>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graphicFrame>
        <p:nvGraphicFramePr>
          <p:cNvPr id="5" name="表格 5">
            <a:extLst>
              <a:ext uri="{FF2B5EF4-FFF2-40B4-BE49-F238E27FC236}">
                <a16:creationId xmlns:a16="http://schemas.microsoft.com/office/drawing/2014/main" id="{E1EDD136-0DD4-4C55-9DA8-AAAB94405D02}"/>
              </a:ext>
            </a:extLst>
          </p:cNvPr>
          <p:cNvGraphicFramePr>
            <a:graphicFrameLocks/>
          </p:cNvGraphicFramePr>
          <p:nvPr>
            <p:extLst>
              <p:ext uri="{D42A27DB-BD31-4B8C-83A1-F6EECF244321}">
                <p14:modId xmlns:p14="http://schemas.microsoft.com/office/powerpoint/2010/main" val="1136217205"/>
              </p:ext>
            </p:extLst>
          </p:nvPr>
        </p:nvGraphicFramePr>
        <p:xfrm>
          <a:off x="776808" y="1968769"/>
          <a:ext cx="7102312" cy="2434686"/>
        </p:xfrm>
        <a:graphic>
          <a:graphicData uri="http://schemas.openxmlformats.org/drawingml/2006/table">
            <a:tbl>
              <a:tblPr firstRow="1" bandRow="1">
                <a:tableStyleId>{5C22544A-7EE6-4342-B048-85BDC9FD1C3A}</a:tableStyleId>
              </a:tblPr>
              <a:tblGrid>
                <a:gridCol w="3551156">
                  <a:extLst>
                    <a:ext uri="{9D8B030D-6E8A-4147-A177-3AD203B41FA5}">
                      <a16:colId xmlns:a16="http://schemas.microsoft.com/office/drawing/2014/main" val="2373171271"/>
                    </a:ext>
                  </a:extLst>
                </a:gridCol>
                <a:gridCol w="3551156">
                  <a:extLst>
                    <a:ext uri="{9D8B030D-6E8A-4147-A177-3AD203B41FA5}">
                      <a16:colId xmlns:a16="http://schemas.microsoft.com/office/drawing/2014/main" val="2782385122"/>
                    </a:ext>
                  </a:extLst>
                </a:gridCol>
              </a:tblGrid>
              <a:tr h="405781">
                <a:tc>
                  <a:txBody>
                    <a:bodyPr/>
                    <a:lstStyle/>
                    <a:p>
                      <a:pPr>
                        <a:lnSpc>
                          <a:spcPct val="120000"/>
                        </a:lnSpc>
                        <a:spcBef>
                          <a:spcPts val="0"/>
                        </a:spcBef>
                        <a:spcAft>
                          <a:spcPts val="0"/>
                        </a:spcAft>
                      </a:pPr>
                      <a:r>
                        <a:rPr lang="zh-CN" altLang="en-US" dirty="0">
                          <a:latin typeface="+mn-lt"/>
                          <a:ea typeface="+mn-ea"/>
                          <a:cs typeface="+mn-ea"/>
                          <a:sym typeface="+mn-lt"/>
                        </a:rPr>
                        <a:t>特征</a:t>
                      </a:r>
                    </a:p>
                  </a:txBody>
                  <a:tcPr/>
                </a:tc>
                <a:tc>
                  <a:txBody>
                    <a:bodyPr/>
                    <a:lstStyle/>
                    <a:p>
                      <a:pPr>
                        <a:lnSpc>
                          <a:spcPct val="120000"/>
                        </a:lnSpc>
                        <a:spcBef>
                          <a:spcPts val="0"/>
                        </a:spcBef>
                        <a:spcAft>
                          <a:spcPts val="0"/>
                        </a:spcAft>
                      </a:pPr>
                      <a:r>
                        <a:rPr lang="zh-CN" altLang="en-US" dirty="0">
                          <a:latin typeface="+mn-lt"/>
                          <a:ea typeface="+mn-ea"/>
                          <a:cs typeface="+mn-ea"/>
                          <a:sym typeface="+mn-lt"/>
                        </a:rPr>
                        <a:t>函数</a:t>
                      </a:r>
                    </a:p>
                  </a:txBody>
                  <a:tcPr/>
                </a:tc>
                <a:extLst>
                  <a:ext uri="{0D108BD9-81ED-4DB2-BD59-A6C34878D82A}">
                    <a16:rowId xmlns:a16="http://schemas.microsoft.com/office/drawing/2014/main" val="2571490008"/>
                  </a:ext>
                </a:extLst>
              </a:tr>
              <a:tr h="405781">
                <a:tc>
                  <a:txBody>
                    <a:bodyPr/>
                    <a:lstStyle/>
                    <a:p>
                      <a:pPr>
                        <a:lnSpc>
                          <a:spcPct val="120000"/>
                        </a:lnSpc>
                        <a:spcBef>
                          <a:spcPts val="0"/>
                        </a:spcBef>
                        <a:spcAft>
                          <a:spcPts val="0"/>
                        </a:spcAft>
                      </a:pPr>
                      <a:r>
                        <a:rPr lang="zh-CN" altLang="en-US" dirty="0">
                          <a:latin typeface="+mn-lt"/>
                          <a:ea typeface="+mn-ea"/>
                          <a:cs typeface="+mn-ea"/>
                          <a:sym typeface="+mn-lt"/>
                        </a:rPr>
                        <a:t>无参数；无返回值</a:t>
                      </a:r>
                    </a:p>
                  </a:txBody>
                  <a:tcPr/>
                </a:tc>
                <a:tc>
                  <a:txBody>
                    <a:bodyPr/>
                    <a:lstStyle/>
                    <a:p>
                      <a:pPr>
                        <a:lnSpc>
                          <a:spcPct val="120000"/>
                        </a:lnSpc>
                        <a:spcBef>
                          <a:spcPts val="0"/>
                        </a:spcBef>
                        <a:spcAft>
                          <a:spcPts val="0"/>
                        </a:spcAft>
                      </a:pPr>
                      <a:r>
                        <a:rPr lang="en-US" altLang="zh-CN" sz="1800" b="1" i="0" kern="1200" dirty="0">
                          <a:solidFill>
                            <a:schemeClr val="dk1"/>
                          </a:solidFill>
                          <a:effectLst/>
                          <a:latin typeface="+mn-lt"/>
                          <a:ea typeface="+mn-ea"/>
                          <a:cs typeface="+mn-ea"/>
                          <a:sym typeface="+mn-lt"/>
                        </a:rPr>
                        <a:t>Runnable</a:t>
                      </a:r>
                      <a:endParaRPr lang="zh-CN" altLang="en-US" dirty="0">
                        <a:latin typeface="+mn-lt"/>
                        <a:ea typeface="+mn-ea"/>
                        <a:cs typeface="+mn-ea"/>
                        <a:sym typeface="+mn-lt"/>
                      </a:endParaRPr>
                    </a:p>
                  </a:txBody>
                  <a:tcPr/>
                </a:tc>
                <a:extLst>
                  <a:ext uri="{0D108BD9-81ED-4DB2-BD59-A6C34878D82A}">
                    <a16:rowId xmlns:a16="http://schemas.microsoft.com/office/drawing/2014/main" val="3808564248"/>
                  </a:ext>
                </a:extLst>
              </a:tr>
              <a:tr h="405781">
                <a:tc>
                  <a:txBody>
                    <a:bodyPr/>
                    <a:lstStyle/>
                    <a:p>
                      <a:pPr>
                        <a:lnSpc>
                          <a:spcPct val="120000"/>
                        </a:lnSpc>
                        <a:spcBef>
                          <a:spcPts val="0"/>
                        </a:spcBef>
                        <a:spcAft>
                          <a:spcPts val="0"/>
                        </a:spcAft>
                      </a:pPr>
                      <a:r>
                        <a:rPr lang="zh-CN" altLang="en-US" dirty="0">
                          <a:latin typeface="+mn-lt"/>
                          <a:ea typeface="+mn-ea"/>
                          <a:cs typeface="+mn-ea"/>
                          <a:sym typeface="+mn-lt"/>
                        </a:rPr>
                        <a:t>无参数；返回值类型任意</a:t>
                      </a:r>
                    </a:p>
                  </a:txBody>
                  <a:tcPr/>
                </a:tc>
                <a:tc>
                  <a:txBody>
                    <a:bodyPr/>
                    <a:lstStyle/>
                    <a:p>
                      <a:pPr>
                        <a:lnSpc>
                          <a:spcPct val="120000"/>
                        </a:lnSpc>
                        <a:spcBef>
                          <a:spcPts val="0"/>
                        </a:spcBef>
                        <a:spcAft>
                          <a:spcPts val="0"/>
                        </a:spcAft>
                      </a:pPr>
                      <a:r>
                        <a:rPr lang="en-US" altLang="zh-CN" sz="1800" b="1" i="0" kern="1200" dirty="0">
                          <a:solidFill>
                            <a:schemeClr val="dk1"/>
                          </a:solidFill>
                          <a:effectLst/>
                          <a:latin typeface="+mn-lt"/>
                          <a:ea typeface="+mn-ea"/>
                          <a:cs typeface="+mn-ea"/>
                          <a:sym typeface="+mn-lt"/>
                        </a:rPr>
                        <a:t>Supplier&lt;T&gt;</a:t>
                      </a:r>
                      <a:endParaRPr lang="zh-CN" altLang="en-US" dirty="0">
                        <a:latin typeface="+mn-lt"/>
                        <a:ea typeface="+mn-ea"/>
                        <a:cs typeface="+mn-ea"/>
                        <a:sym typeface="+mn-lt"/>
                      </a:endParaRPr>
                    </a:p>
                  </a:txBody>
                  <a:tcPr/>
                </a:tc>
                <a:extLst>
                  <a:ext uri="{0D108BD9-81ED-4DB2-BD59-A6C34878D82A}">
                    <a16:rowId xmlns:a16="http://schemas.microsoft.com/office/drawing/2014/main" val="3014394190"/>
                  </a:ext>
                </a:extLst>
              </a:tr>
              <a:tr h="405781">
                <a:tc>
                  <a:txBody>
                    <a:bodyPr/>
                    <a:lstStyle/>
                    <a:p>
                      <a:pPr>
                        <a:lnSpc>
                          <a:spcPct val="120000"/>
                        </a:lnSpc>
                        <a:spcBef>
                          <a:spcPts val="0"/>
                        </a:spcBef>
                        <a:spcAft>
                          <a:spcPts val="0"/>
                        </a:spcAft>
                      </a:pPr>
                      <a:r>
                        <a:rPr lang="zh-CN" altLang="en-US" dirty="0">
                          <a:latin typeface="+mn-lt"/>
                          <a:ea typeface="+mn-ea"/>
                          <a:cs typeface="+mn-ea"/>
                          <a:sym typeface="+mn-lt"/>
                        </a:rPr>
                        <a:t>一个任意参数；无返回值</a:t>
                      </a:r>
                    </a:p>
                  </a:txBody>
                  <a:tcPr/>
                </a:tc>
                <a:tc>
                  <a:txBody>
                    <a:bodyPr/>
                    <a:lstStyle/>
                    <a:p>
                      <a:pPr>
                        <a:lnSpc>
                          <a:spcPct val="120000"/>
                        </a:lnSpc>
                        <a:spcBef>
                          <a:spcPts val="0"/>
                        </a:spcBef>
                        <a:spcAft>
                          <a:spcPts val="0"/>
                        </a:spcAft>
                      </a:pPr>
                      <a:r>
                        <a:rPr lang="en-US" altLang="zh-CN" sz="1800" b="1" i="0" kern="1200" dirty="0">
                          <a:solidFill>
                            <a:schemeClr val="dk1"/>
                          </a:solidFill>
                          <a:effectLst/>
                          <a:latin typeface="+mn-lt"/>
                          <a:ea typeface="+mn-ea"/>
                          <a:cs typeface="+mn-ea"/>
                          <a:sym typeface="+mn-lt"/>
                        </a:rPr>
                        <a:t>Consumer&lt;T&gt;</a:t>
                      </a:r>
                      <a:endParaRPr lang="zh-CN" altLang="en-US" dirty="0">
                        <a:latin typeface="+mn-lt"/>
                        <a:ea typeface="+mn-ea"/>
                        <a:cs typeface="+mn-ea"/>
                        <a:sym typeface="+mn-lt"/>
                      </a:endParaRPr>
                    </a:p>
                  </a:txBody>
                  <a:tcPr/>
                </a:tc>
                <a:extLst>
                  <a:ext uri="{0D108BD9-81ED-4DB2-BD59-A6C34878D82A}">
                    <a16:rowId xmlns:a16="http://schemas.microsoft.com/office/drawing/2014/main" val="4008518285"/>
                  </a:ext>
                </a:extLst>
              </a:tr>
              <a:tr h="405781">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zh-CN" altLang="en-US" dirty="0">
                          <a:latin typeface="+mn-lt"/>
                          <a:ea typeface="+mn-ea"/>
                          <a:cs typeface="+mn-ea"/>
                          <a:sym typeface="+mn-lt"/>
                        </a:rPr>
                        <a:t>两个任意参数；无返回值</a:t>
                      </a:r>
                    </a:p>
                  </a:txBody>
                  <a:tcPr/>
                </a:tc>
                <a:tc>
                  <a:txBody>
                    <a:bodyPr/>
                    <a:lstStyle/>
                    <a:p>
                      <a:pPr>
                        <a:lnSpc>
                          <a:spcPct val="120000"/>
                        </a:lnSpc>
                        <a:spcBef>
                          <a:spcPts val="0"/>
                        </a:spcBef>
                        <a:spcAft>
                          <a:spcPts val="0"/>
                        </a:spcAft>
                      </a:pPr>
                      <a:r>
                        <a:rPr lang="en-US" altLang="zh-CN" sz="1800" b="1" i="0" kern="1200" dirty="0" err="1">
                          <a:solidFill>
                            <a:schemeClr val="dk1"/>
                          </a:solidFill>
                          <a:effectLst/>
                          <a:latin typeface="+mn-lt"/>
                          <a:ea typeface="+mn-ea"/>
                          <a:cs typeface="+mn-ea"/>
                          <a:sym typeface="+mn-lt"/>
                        </a:rPr>
                        <a:t>BiConsumer</a:t>
                      </a:r>
                      <a:r>
                        <a:rPr lang="en-US" altLang="zh-CN" sz="1800" b="1" i="0" kern="1200" dirty="0">
                          <a:solidFill>
                            <a:schemeClr val="dk1"/>
                          </a:solidFill>
                          <a:effectLst/>
                          <a:latin typeface="+mn-lt"/>
                          <a:ea typeface="+mn-ea"/>
                          <a:cs typeface="+mn-ea"/>
                          <a:sym typeface="+mn-lt"/>
                        </a:rPr>
                        <a:t>&lt;T,U&gt;</a:t>
                      </a:r>
                      <a:endParaRPr lang="zh-CN" altLang="en-US" dirty="0">
                        <a:latin typeface="+mn-lt"/>
                        <a:ea typeface="+mn-ea"/>
                        <a:cs typeface="+mn-ea"/>
                        <a:sym typeface="+mn-lt"/>
                      </a:endParaRPr>
                    </a:p>
                  </a:txBody>
                  <a:tcPr/>
                </a:tc>
                <a:extLst>
                  <a:ext uri="{0D108BD9-81ED-4DB2-BD59-A6C34878D82A}">
                    <a16:rowId xmlns:a16="http://schemas.microsoft.com/office/drawing/2014/main" val="1368634476"/>
                  </a:ext>
                </a:extLst>
              </a:tr>
              <a:tr h="405781">
                <a:tc>
                  <a:txBody>
                    <a:bodyPr/>
                    <a:lstStyle/>
                    <a:p>
                      <a:pPr>
                        <a:lnSpc>
                          <a:spcPct val="120000"/>
                        </a:lnSpc>
                        <a:spcBef>
                          <a:spcPts val="0"/>
                        </a:spcBef>
                        <a:spcAft>
                          <a:spcPts val="0"/>
                        </a:spcAft>
                      </a:pPr>
                      <a:r>
                        <a:rPr lang="zh-CN" altLang="en-US" dirty="0">
                          <a:latin typeface="+mn-lt"/>
                          <a:ea typeface="+mn-ea"/>
                          <a:cs typeface="+mn-ea"/>
                          <a:sym typeface="+mn-lt"/>
                        </a:rPr>
                        <a:t>一个任意参数；返回值任意</a:t>
                      </a:r>
                    </a:p>
                  </a:txBody>
                  <a:tcPr/>
                </a:tc>
                <a:tc>
                  <a:txBody>
                    <a:bodyPr/>
                    <a:lstStyle/>
                    <a:p>
                      <a:pPr>
                        <a:lnSpc>
                          <a:spcPct val="120000"/>
                        </a:lnSpc>
                        <a:spcBef>
                          <a:spcPts val="0"/>
                        </a:spcBef>
                        <a:spcAft>
                          <a:spcPts val="0"/>
                        </a:spcAft>
                      </a:pPr>
                      <a:r>
                        <a:rPr lang="en-US" altLang="zh-CN" sz="1800" b="1" i="0" kern="1200" dirty="0">
                          <a:solidFill>
                            <a:schemeClr val="dk1"/>
                          </a:solidFill>
                          <a:effectLst/>
                          <a:latin typeface="+mn-lt"/>
                          <a:ea typeface="+mn-ea"/>
                          <a:cs typeface="+mn-ea"/>
                          <a:sym typeface="+mn-lt"/>
                        </a:rPr>
                        <a:t>Function&lt;T,R&gt;</a:t>
                      </a:r>
                      <a:endParaRPr lang="zh-CN" altLang="en-US" dirty="0">
                        <a:latin typeface="+mn-lt"/>
                        <a:ea typeface="+mn-ea"/>
                        <a:cs typeface="+mn-ea"/>
                        <a:sym typeface="+mn-lt"/>
                      </a:endParaRPr>
                    </a:p>
                  </a:txBody>
                  <a:tcPr/>
                </a:tc>
                <a:extLst>
                  <a:ext uri="{0D108BD9-81ED-4DB2-BD59-A6C34878D82A}">
                    <a16:rowId xmlns:a16="http://schemas.microsoft.com/office/drawing/2014/main" val="2128409962"/>
                  </a:ext>
                </a:extLst>
              </a:tr>
            </a:tbl>
          </a:graphicData>
        </a:graphic>
      </p:graphicFrame>
      <p:grpSp>
        <p:nvGrpSpPr>
          <p:cNvPr id="146" name="09c452b4-502c-4255-b442-928c6d181bbb"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B14B38D-93C5-4B95-BFF7-0E4B68983962}"/>
              </a:ext>
            </a:extLst>
          </p:cNvPr>
          <p:cNvGrpSpPr>
            <a:grpSpLocks noChangeAspect="1"/>
          </p:cNvGrpSpPr>
          <p:nvPr>
            <p:custDataLst>
              <p:tags r:id="rId2"/>
            </p:custDataLst>
          </p:nvPr>
        </p:nvGrpSpPr>
        <p:grpSpPr>
          <a:xfrm>
            <a:off x="8185507" y="1970087"/>
            <a:ext cx="3249613" cy="4167188"/>
            <a:chOff x="4467226" y="1336676"/>
            <a:chExt cx="3249613" cy="4167188"/>
          </a:xfrm>
        </p:grpSpPr>
        <p:sp>
          <p:nvSpPr>
            <p:cNvPr id="147" name="isḷïḑe">
              <a:extLst>
                <a:ext uri="{FF2B5EF4-FFF2-40B4-BE49-F238E27FC236}">
                  <a16:creationId xmlns:a16="http://schemas.microsoft.com/office/drawing/2014/main" id="{DC6B7246-3387-4D88-808C-68AFE16FAAAF}"/>
                </a:ext>
              </a:extLst>
            </p:cNvPr>
            <p:cNvSpPr/>
            <p:nvPr/>
          </p:nvSpPr>
          <p:spPr bwMode="auto">
            <a:xfrm>
              <a:off x="4467226" y="1336676"/>
              <a:ext cx="3249613" cy="4167188"/>
            </a:xfrm>
            <a:custGeom>
              <a:avLst/>
              <a:gdLst>
                <a:gd name="T0" fmla="*/ 2047 w 2047"/>
                <a:gd name="T1" fmla="*/ 2397 h 2625"/>
                <a:gd name="T2" fmla="*/ 315 w 2047"/>
                <a:gd name="T3" fmla="*/ 2625 h 2625"/>
                <a:gd name="T4" fmla="*/ 0 w 2047"/>
                <a:gd name="T5" fmla="*/ 233 h 2625"/>
                <a:gd name="T6" fmla="*/ 1726 w 2047"/>
                <a:gd name="T7" fmla="*/ 0 h 2625"/>
                <a:gd name="T8" fmla="*/ 2047 w 2047"/>
                <a:gd name="T9" fmla="*/ 2397 h 2625"/>
              </a:gdLst>
              <a:ahLst/>
              <a:cxnLst>
                <a:cxn ang="0">
                  <a:pos x="T0" y="T1"/>
                </a:cxn>
                <a:cxn ang="0">
                  <a:pos x="T2" y="T3"/>
                </a:cxn>
                <a:cxn ang="0">
                  <a:pos x="T4" y="T5"/>
                </a:cxn>
                <a:cxn ang="0">
                  <a:pos x="T6" y="T7"/>
                </a:cxn>
                <a:cxn ang="0">
                  <a:pos x="T8" y="T9"/>
                </a:cxn>
              </a:cxnLst>
              <a:rect l="0" t="0" r="r" b="b"/>
              <a:pathLst>
                <a:path w="2047" h="2625">
                  <a:moveTo>
                    <a:pt x="2047" y="2397"/>
                  </a:moveTo>
                  <a:lnTo>
                    <a:pt x="315" y="2625"/>
                  </a:lnTo>
                  <a:lnTo>
                    <a:pt x="0" y="233"/>
                  </a:lnTo>
                  <a:lnTo>
                    <a:pt x="1726" y="0"/>
                  </a:lnTo>
                  <a:lnTo>
                    <a:pt x="2047" y="2397"/>
                  </a:lnTo>
                  <a:close/>
                </a:path>
              </a:pathLst>
            </a:custGeom>
            <a:solidFill>
              <a:srgbClr val="D694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íṥ1îďê">
              <a:extLst>
                <a:ext uri="{FF2B5EF4-FFF2-40B4-BE49-F238E27FC236}">
                  <a16:creationId xmlns:a16="http://schemas.microsoft.com/office/drawing/2014/main" id="{0936FB60-605B-4B2C-8CCB-1FE8C2F23641}"/>
                </a:ext>
              </a:extLst>
            </p:cNvPr>
            <p:cNvSpPr/>
            <p:nvPr/>
          </p:nvSpPr>
          <p:spPr bwMode="auto">
            <a:xfrm>
              <a:off x="4545013" y="1422401"/>
              <a:ext cx="3049588" cy="3910013"/>
            </a:xfrm>
            <a:custGeom>
              <a:avLst/>
              <a:gdLst>
                <a:gd name="T0" fmla="*/ 1921 w 1921"/>
                <a:gd name="T1" fmla="*/ 2245 h 2463"/>
                <a:gd name="T2" fmla="*/ 299 w 1921"/>
                <a:gd name="T3" fmla="*/ 2463 h 2463"/>
                <a:gd name="T4" fmla="*/ 0 w 1921"/>
                <a:gd name="T5" fmla="*/ 212 h 2463"/>
                <a:gd name="T6" fmla="*/ 1622 w 1921"/>
                <a:gd name="T7" fmla="*/ 0 h 2463"/>
                <a:gd name="T8" fmla="*/ 1921 w 1921"/>
                <a:gd name="T9" fmla="*/ 2245 h 2463"/>
              </a:gdLst>
              <a:ahLst/>
              <a:cxnLst>
                <a:cxn ang="0">
                  <a:pos x="T0" y="T1"/>
                </a:cxn>
                <a:cxn ang="0">
                  <a:pos x="T2" y="T3"/>
                </a:cxn>
                <a:cxn ang="0">
                  <a:pos x="T4" y="T5"/>
                </a:cxn>
                <a:cxn ang="0">
                  <a:pos x="T6" y="T7"/>
                </a:cxn>
                <a:cxn ang="0">
                  <a:pos x="T8" y="T9"/>
                </a:cxn>
              </a:cxnLst>
              <a:rect l="0" t="0" r="r" b="b"/>
              <a:pathLst>
                <a:path w="1921" h="2463">
                  <a:moveTo>
                    <a:pt x="1921" y="2245"/>
                  </a:moveTo>
                  <a:lnTo>
                    <a:pt x="299" y="2463"/>
                  </a:lnTo>
                  <a:lnTo>
                    <a:pt x="0" y="212"/>
                  </a:lnTo>
                  <a:lnTo>
                    <a:pt x="1622" y="0"/>
                  </a:lnTo>
                  <a:lnTo>
                    <a:pt x="1921" y="22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9" name="îŝḷíḓê">
              <a:extLst>
                <a:ext uri="{FF2B5EF4-FFF2-40B4-BE49-F238E27FC236}">
                  <a16:creationId xmlns:a16="http://schemas.microsoft.com/office/drawing/2014/main" id="{CDAC6DF9-121D-41FE-A755-C6BF29C49F70}"/>
                </a:ext>
              </a:extLst>
            </p:cNvPr>
            <p:cNvSpPr/>
            <p:nvPr/>
          </p:nvSpPr>
          <p:spPr bwMode="auto">
            <a:xfrm>
              <a:off x="5383213" y="1362076"/>
              <a:ext cx="898525" cy="388938"/>
            </a:xfrm>
            <a:custGeom>
              <a:avLst/>
              <a:gdLst>
                <a:gd name="T0" fmla="*/ 566 w 566"/>
                <a:gd name="T1" fmla="*/ 169 h 245"/>
                <a:gd name="T2" fmla="*/ 22 w 566"/>
                <a:gd name="T3" fmla="*/ 245 h 245"/>
                <a:gd name="T4" fmla="*/ 0 w 566"/>
                <a:gd name="T5" fmla="*/ 76 h 245"/>
                <a:gd name="T6" fmla="*/ 544 w 566"/>
                <a:gd name="T7" fmla="*/ 0 h 245"/>
                <a:gd name="T8" fmla="*/ 566 w 566"/>
                <a:gd name="T9" fmla="*/ 169 h 245"/>
              </a:gdLst>
              <a:ahLst/>
              <a:cxnLst>
                <a:cxn ang="0">
                  <a:pos x="T0" y="T1"/>
                </a:cxn>
                <a:cxn ang="0">
                  <a:pos x="T2" y="T3"/>
                </a:cxn>
                <a:cxn ang="0">
                  <a:pos x="T4" y="T5"/>
                </a:cxn>
                <a:cxn ang="0">
                  <a:pos x="T6" y="T7"/>
                </a:cxn>
                <a:cxn ang="0">
                  <a:pos x="T8" y="T9"/>
                </a:cxn>
              </a:cxnLst>
              <a:rect l="0" t="0" r="r" b="b"/>
              <a:pathLst>
                <a:path w="566" h="245">
                  <a:moveTo>
                    <a:pt x="566" y="169"/>
                  </a:moveTo>
                  <a:lnTo>
                    <a:pt x="22" y="245"/>
                  </a:lnTo>
                  <a:lnTo>
                    <a:pt x="0" y="76"/>
                  </a:lnTo>
                  <a:lnTo>
                    <a:pt x="544" y="0"/>
                  </a:lnTo>
                  <a:lnTo>
                    <a:pt x="566" y="169"/>
                  </a:lnTo>
                  <a:close/>
                </a:path>
              </a:pathLst>
            </a:custGeom>
            <a:solidFill>
              <a:srgbClr val="3362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i$ḷîḍé">
              <a:extLst>
                <a:ext uri="{FF2B5EF4-FFF2-40B4-BE49-F238E27FC236}">
                  <a16:creationId xmlns:a16="http://schemas.microsoft.com/office/drawing/2014/main" id="{1E3A14DA-E30B-4588-B4FE-E84C9690E9E0}"/>
                </a:ext>
              </a:extLst>
            </p:cNvPr>
            <p:cNvSpPr/>
            <p:nvPr/>
          </p:nvSpPr>
          <p:spPr bwMode="auto">
            <a:xfrm>
              <a:off x="5122863" y="2216151"/>
              <a:ext cx="727075" cy="1044575"/>
            </a:xfrm>
            <a:custGeom>
              <a:avLst/>
              <a:gdLst>
                <a:gd name="T0" fmla="*/ 71 w 84"/>
                <a:gd name="T1" fmla="*/ 120 h 121"/>
                <a:gd name="T2" fmla="*/ 49 w 84"/>
                <a:gd name="T3" fmla="*/ 111 h 121"/>
                <a:gd name="T4" fmla="*/ 19 w 84"/>
                <a:gd name="T5" fmla="*/ 75 h 121"/>
                <a:gd name="T6" fmla="*/ 2 w 84"/>
                <a:gd name="T7" fmla="*/ 30 h 121"/>
                <a:gd name="T8" fmla="*/ 8 w 84"/>
                <a:gd name="T9" fmla="*/ 3 h 121"/>
                <a:gd name="T10" fmla="*/ 35 w 84"/>
                <a:gd name="T11" fmla="*/ 11 h 121"/>
                <a:gd name="T12" fmla="*/ 65 w 84"/>
                <a:gd name="T13" fmla="*/ 48 h 121"/>
                <a:gd name="T14" fmla="*/ 82 w 84"/>
                <a:gd name="T15" fmla="*/ 92 h 121"/>
                <a:gd name="T16" fmla="*/ 76 w 84"/>
                <a:gd name="T17" fmla="*/ 119 h 121"/>
                <a:gd name="T18" fmla="*/ 71 w 84"/>
                <a:gd name="T19" fmla="*/ 120 h 121"/>
                <a:gd name="T20" fmla="*/ 13 w 84"/>
                <a:gd name="T21" fmla="*/ 4 h 121"/>
                <a:gd name="T22" fmla="*/ 9 w 84"/>
                <a:gd name="T23" fmla="*/ 5 h 121"/>
                <a:gd name="T24" fmla="*/ 4 w 84"/>
                <a:gd name="T25" fmla="*/ 30 h 121"/>
                <a:gd name="T26" fmla="*/ 21 w 84"/>
                <a:gd name="T27" fmla="*/ 74 h 121"/>
                <a:gd name="T28" fmla="*/ 50 w 84"/>
                <a:gd name="T29" fmla="*/ 110 h 121"/>
                <a:gd name="T30" fmla="*/ 75 w 84"/>
                <a:gd name="T31" fmla="*/ 117 h 121"/>
                <a:gd name="T32" fmla="*/ 80 w 84"/>
                <a:gd name="T33" fmla="*/ 92 h 121"/>
                <a:gd name="T34" fmla="*/ 63 w 84"/>
                <a:gd name="T35" fmla="*/ 49 h 121"/>
                <a:gd name="T36" fmla="*/ 33 w 84"/>
                <a:gd name="T37" fmla="*/ 12 h 121"/>
                <a:gd name="T38" fmla="*/ 13 w 84"/>
                <a:gd name="T39" fmla="*/ 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121">
                  <a:moveTo>
                    <a:pt x="71" y="120"/>
                  </a:moveTo>
                  <a:cubicBezTo>
                    <a:pt x="65" y="121"/>
                    <a:pt x="58" y="118"/>
                    <a:pt x="49" y="111"/>
                  </a:cubicBezTo>
                  <a:cubicBezTo>
                    <a:pt x="39" y="103"/>
                    <a:pt x="28" y="90"/>
                    <a:pt x="19" y="75"/>
                  </a:cubicBezTo>
                  <a:cubicBezTo>
                    <a:pt x="10" y="59"/>
                    <a:pt x="4" y="44"/>
                    <a:pt x="2" y="30"/>
                  </a:cubicBezTo>
                  <a:cubicBezTo>
                    <a:pt x="0" y="17"/>
                    <a:pt x="2" y="7"/>
                    <a:pt x="8" y="3"/>
                  </a:cubicBezTo>
                  <a:cubicBezTo>
                    <a:pt x="14" y="0"/>
                    <a:pt x="24" y="2"/>
                    <a:pt x="35" y="11"/>
                  </a:cubicBezTo>
                  <a:cubicBezTo>
                    <a:pt x="45" y="19"/>
                    <a:pt x="56" y="32"/>
                    <a:pt x="65" y="48"/>
                  </a:cubicBezTo>
                  <a:cubicBezTo>
                    <a:pt x="74" y="63"/>
                    <a:pt x="80" y="79"/>
                    <a:pt x="82" y="92"/>
                  </a:cubicBezTo>
                  <a:cubicBezTo>
                    <a:pt x="84" y="106"/>
                    <a:pt x="82" y="115"/>
                    <a:pt x="76" y="119"/>
                  </a:cubicBezTo>
                  <a:cubicBezTo>
                    <a:pt x="74" y="120"/>
                    <a:pt x="73" y="120"/>
                    <a:pt x="71" y="120"/>
                  </a:cubicBezTo>
                  <a:close/>
                  <a:moveTo>
                    <a:pt x="13" y="4"/>
                  </a:moveTo>
                  <a:cubicBezTo>
                    <a:pt x="11" y="4"/>
                    <a:pt x="10" y="4"/>
                    <a:pt x="9" y="5"/>
                  </a:cubicBezTo>
                  <a:cubicBezTo>
                    <a:pt x="3" y="8"/>
                    <a:pt x="2" y="17"/>
                    <a:pt x="4" y="30"/>
                  </a:cubicBezTo>
                  <a:cubicBezTo>
                    <a:pt x="6" y="43"/>
                    <a:pt x="12" y="59"/>
                    <a:pt x="21" y="74"/>
                  </a:cubicBezTo>
                  <a:cubicBezTo>
                    <a:pt x="29" y="89"/>
                    <a:pt x="40" y="102"/>
                    <a:pt x="50" y="110"/>
                  </a:cubicBezTo>
                  <a:cubicBezTo>
                    <a:pt x="61" y="118"/>
                    <a:pt x="69" y="121"/>
                    <a:pt x="75" y="117"/>
                  </a:cubicBezTo>
                  <a:cubicBezTo>
                    <a:pt x="80" y="114"/>
                    <a:pt x="82" y="105"/>
                    <a:pt x="80" y="92"/>
                  </a:cubicBezTo>
                  <a:cubicBezTo>
                    <a:pt x="78" y="79"/>
                    <a:pt x="72" y="64"/>
                    <a:pt x="63" y="49"/>
                  </a:cubicBezTo>
                  <a:cubicBezTo>
                    <a:pt x="55" y="34"/>
                    <a:pt x="44" y="21"/>
                    <a:pt x="33" y="12"/>
                  </a:cubicBezTo>
                  <a:cubicBezTo>
                    <a:pt x="25" y="6"/>
                    <a:pt x="18" y="3"/>
                    <a:pt x="13" y="4"/>
                  </a:cubicBezTo>
                  <a:close/>
                </a:path>
              </a:pathLst>
            </a:custGeom>
            <a:solidFill>
              <a:srgbClr val="3362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îšḷiḓé">
              <a:extLst>
                <a:ext uri="{FF2B5EF4-FFF2-40B4-BE49-F238E27FC236}">
                  <a16:creationId xmlns:a16="http://schemas.microsoft.com/office/drawing/2014/main" id="{9CFF9133-2031-4C8A-9AD7-F2A5528CAE36}"/>
                </a:ext>
              </a:extLst>
            </p:cNvPr>
            <p:cNvSpPr/>
            <p:nvPr/>
          </p:nvSpPr>
          <p:spPr bwMode="auto">
            <a:xfrm>
              <a:off x="4906963" y="2501901"/>
              <a:ext cx="1158875" cy="482600"/>
            </a:xfrm>
            <a:custGeom>
              <a:avLst/>
              <a:gdLst>
                <a:gd name="T0" fmla="*/ 98 w 134"/>
                <a:gd name="T1" fmla="*/ 54 h 56"/>
                <a:gd name="T2" fmla="*/ 65 w 134"/>
                <a:gd name="T3" fmla="*/ 55 h 56"/>
                <a:gd name="T4" fmla="*/ 18 w 134"/>
                <a:gd name="T5" fmla="*/ 43 h 56"/>
                <a:gd name="T6" fmla="*/ 0 w 134"/>
                <a:gd name="T7" fmla="*/ 22 h 56"/>
                <a:gd name="T8" fmla="*/ 22 w 134"/>
                <a:gd name="T9" fmla="*/ 5 h 56"/>
                <a:gd name="T10" fmla="*/ 69 w 134"/>
                <a:gd name="T11" fmla="*/ 2 h 56"/>
                <a:gd name="T12" fmla="*/ 116 w 134"/>
                <a:gd name="T13" fmla="*/ 14 h 56"/>
                <a:gd name="T14" fmla="*/ 134 w 134"/>
                <a:gd name="T15" fmla="*/ 34 h 56"/>
                <a:gd name="T16" fmla="*/ 112 w 134"/>
                <a:gd name="T17" fmla="*/ 51 h 56"/>
                <a:gd name="T18" fmla="*/ 98 w 134"/>
                <a:gd name="T19" fmla="*/ 54 h 56"/>
                <a:gd name="T20" fmla="*/ 36 w 134"/>
                <a:gd name="T21" fmla="*/ 4 h 56"/>
                <a:gd name="T22" fmla="*/ 22 w 134"/>
                <a:gd name="T23" fmla="*/ 7 h 56"/>
                <a:gd name="T24" fmla="*/ 2 w 134"/>
                <a:gd name="T25" fmla="*/ 22 h 56"/>
                <a:gd name="T26" fmla="*/ 19 w 134"/>
                <a:gd name="T27" fmla="*/ 41 h 56"/>
                <a:gd name="T28" fmla="*/ 65 w 134"/>
                <a:gd name="T29" fmla="*/ 53 h 56"/>
                <a:gd name="T30" fmla="*/ 112 w 134"/>
                <a:gd name="T31" fmla="*/ 50 h 56"/>
                <a:gd name="T32" fmla="*/ 132 w 134"/>
                <a:gd name="T33" fmla="*/ 34 h 56"/>
                <a:gd name="T34" fmla="*/ 115 w 134"/>
                <a:gd name="T35" fmla="*/ 15 h 56"/>
                <a:gd name="T36" fmla="*/ 69 w 134"/>
                <a:gd name="T37" fmla="*/ 3 h 56"/>
                <a:gd name="T38" fmla="*/ 36 w 134"/>
                <a:gd name="T39"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56">
                  <a:moveTo>
                    <a:pt x="98" y="54"/>
                  </a:moveTo>
                  <a:cubicBezTo>
                    <a:pt x="88" y="56"/>
                    <a:pt x="76" y="56"/>
                    <a:pt x="65" y="55"/>
                  </a:cubicBezTo>
                  <a:cubicBezTo>
                    <a:pt x="47" y="53"/>
                    <a:pt x="30" y="49"/>
                    <a:pt x="18" y="43"/>
                  </a:cubicBezTo>
                  <a:cubicBezTo>
                    <a:pt x="6" y="37"/>
                    <a:pt x="0" y="29"/>
                    <a:pt x="0" y="22"/>
                  </a:cubicBezTo>
                  <a:cubicBezTo>
                    <a:pt x="1" y="15"/>
                    <a:pt x="9" y="9"/>
                    <a:pt x="22" y="5"/>
                  </a:cubicBezTo>
                  <a:cubicBezTo>
                    <a:pt x="35" y="1"/>
                    <a:pt x="52" y="0"/>
                    <a:pt x="69" y="2"/>
                  </a:cubicBezTo>
                  <a:cubicBezTo>
                    <a:pt x="87" y="3"/>
                    <a:pt x="103" y="8"/>
                    <a:pt x="116" y="14"/>
                  </a:cubicBezTo>
                  <a:cubicBezTo>
                    <a:pt x="128" y="20"/>
                    <a:pt x="134" y="27"/>
                    <a:pt x="134" y="34"/>
                  </a:cubicBezTo>
                  <a:cubicBezTo>
                    <a:pt x="133" y="42"/>
                    <a:pt x="125" y="48"/>
                    <a:pt x="112" y="51"/>
                  </a:cubicBezTo>
                  <a:cubicBezTo>
                    <a:pt x="108" y="53"/>
                    <a:pt x="103" y="54"/>
                    <a:pt x="98" y="54"/>
                  </a:cubicBezTo>
                  <a:close/>
                  <a:moveTo>
                    <a:pt x="36" y="4"/>
                  </a:moveTo>
                  <a:cubicBezTo>
                    <a:pt x="31" y="5"/>
                    <a:pt x="27" y="5"/>
                    <a:pt x="22" y="7"/>
                  </a:cubicBezTo>
                  <a:cubicBezTo>
                    <a:pt x="10" y="10"/>
                    <a:pt x="3" y="16"/>
                    <a:pt x="2" y="22"/>
                  </a:cubicBezTo>
                  <a:cubicBezTo>
                    <a:pt x="2" y="29"/>
                    <a:pt x="8" y="35"/>
                    <a:pt x="19" y="41"/>
                  </a:cubicBezTo>
                  <a:cubicBezTo>
                    <a:pt x="31" y="47"/>
                    <a:pt x="47" y="51"/>
                    <a:pt x="65" y="53"/>
                  </a:cubicBezTo>
                  <a:cubicBezTo>
                    <a:pt x="82" y="55"/>
                    <a:pt x="99" y="53"/>
                    <a:pt x="112" y="50"/>
                  </a:cubicBezTo>
                  <a:cubicBezTo>
                    <a:pt x="124" y="46"/>
                    <a:pt x="131" y="41"/>
                    <a:pt x="132" y="34"/>
                  </a:cubicBezTo>
                  <a:cubicBezTo>
                    <a:pt x="132" y="28"/>
                    <a:pt x="126" y="21"/>
                    <a:pt x="115" y="15"/>
                  </a:cubicBezTo>
                  <a:cubicBezTo>
                    <a:pt x="103" y="9"/>
                    <a:pt x="87" y="5"/>
                    <a:pt x="69" y="3"/>
                  </a:cubicBezTo>
                  <a:cubicBezTo>
                    <a:pt x="57" y="2"/>
                    <a:pt x="46" y="3"/>
                    <a:pt x="36" y="4"/>
                  </a:cubicBezTo>
                  <a:close/>
                </a:path>
              </a:pathLst>
            </a:custGeom>
            <a:solidFill>
              <a:srgbClr val="3362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2" name="íṩḷiḋe">
              <a:extLst>
                <a:ext uri="{FF2B5EF4-FFF2-40B4-BE49-F238E27FC236}">
                  <a16:creationId xmlns:a16="http://schemas.microsoft.com/office/drawing/2014/main" id="{FE509D42-E193-475E-833C-7C56CB6365E5}"/>
                </a:ext>
              </a:extLst>
            </p:cNvPr>
            <p:cNvSpPr/>
            <p:nvPr/>
          </p:nvSpPr>
          <p:spPr bwMode="auto">
            <a:xfrm>
              <a:off x="5157788" y="2198688"/>
              <a:ext cx="657225" cy="1079500"/>
            </a:xfrm>
            <a:custGeom>
              <a:avLst/>
              <a:gdLst>
                <a:gd name="T0" fmla="*/ 16 w 76"/>
                <a:gd name="T1" fmla="*/ 125 h 125"/>
                <a:gd name="T2" fmla="*/ 9 w 76"/>
                <a:gd name="T3" fmla="*/ 124 h 125"/>
                <a:gd name="T4" fmla="*/ 1 w 76"/>
                <a:gd name="T5" fmla="*/ 98 h 125"/>
                <a:gd name="T6" fmla="*/ 14 w 76"/>
                <a:gd name="T7" fmla="*/ 52 h 125"/>
                <a:gd name="T8" fmla="*/ 15 w 76"/>
                <a:gd name="T9" fmla="*/ 52 h 125"/>
                <a:gd name="T10" fmla="*/ 14 w 76"/>
                <a:gd name="T11" fmla="*/ 52 h 125"/>
                <a:gd name="T12" fmla="*/ 41 w 76"/>
                <a:gd name="T13" fmla="*/ 13 h 125"/>
                <a:gd name="T14" fmla="*/ 67 w 76"/>
                <a:gd name="T15" fmla="*/ 3 h 125"/>
                <a:gd name="T16" fmla="*/ 75 w 76"/>
                <a:gd name="T17" fmla="*/ 29 h 125"/>
                <a:gd name="T18" fmla="*/ 62 w 76"/>
                <a:gd name="T19" fmla="*/ 75 h 125"/>
                <a:gd name="T20" fmla="*/ 35 w 76"/>
                <a:gd name="T21" fmla="*/ 114 h 125"/>
                <a:gd name="T22" fmla="*/ 16 w 76"/>
                <a:gd name="T23" fmla="*/ 125 h 125"/>
                <a:gd name="T24" fmla="*/ 60 w 76"/>
                <a:gd name="T25" fmla="*/ 3 h 125"/>
                <a:gd name="T26" fmla="*/ 42 w 76"/>
                <a:gd name="T27" fmla="*/ 14 h 125"/>
                <a:gd name="T28" fmla="*/ 16 w 76"/>
                <a:gd name="T29" fmla="*/ 53 h 125"/>
                <a:gd name="T30" fmla="*/ 16 w 76"/>
                <a:gd name="T31" fmla="*/ 53 h 125"/>
                <a:gd name="T32" fmla="*/ 2 w 76"/>
                <a:gd name="T33" fmla="*/ 98 h 125"/>
                <a:gd name="T34" fmla="*/ 10 w 76"/>
                <a:gd name="T35" fmla="*/ 122 h 125"/>
                <a:gd name="T36" fmla="*/ 34 w 76"/>
                <a:gd name="T37" fmla="*/ 113 h 125"/>
                <a:gd name="T38" fmla="*/ 60 w 76"/>
                <a:gd name="T39" fmla="*/ 74 h 125"/>
                <a:gd name="T40" fmla="*/ 73 w 76"/>
                <a:gd name="T41" fmla="*/ 29 h 125"/>
                <a:gd name="T42" fmla="*/ 66 w 76"/>
                <a:gd name="T43" fmla="*/ 4 h 125"/>
                <a:gd name="T44" fmla="*/ 60 w 76"/>
                <a:gd name="T45" fmla="*/ 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 h="125">
                  <a:moveTo>
                    <a:pt x="16" y="125"/>
                  </a:moveTo>
                  <a:cubicBezTo>
                    <a:pt x="14" y="125"/>
                    <a:pt x="11" y="125"/>
                    <a:pt x="9" y="124"/>
                  </a:cubicBezTo>
                  <a:cubicBezTo>
                    <a:pt x="3" y="121"/>
                    <a:pt x="0" y="111"/>
                    <a:pt x="1" y="98"/>
                  </a:cubicBezTo>
                  <a:cubicBezTo>
                    <a:pt x="2" y="84"/>
                    <a:pt x="6" y="68"/>
                    <a:pt x="14" y="52"/>
                  </a:cubicBezTo>
                  <a:cubicBezTo>
                    <a:pt x="15" y="52"/>
                    <a:pt x="15" y="52"/>
                    <a:pt x="15" y="52"/>
                  </a:cubicBezTo>
                  <a:cubicBezTo>
                    <a:pt x="14" y="52"/>
                    <a:pt x="14" y="52"/>
                    <a:pt x="14" y="52"/>
                  </a:cubicBezTo>
                  <a:cubicBezTo>
                    <a:pt x="21" y="36"/>
                    <a:pt x="31" y="22"/>
                    <a:pt x="41" y="13"/>
                  </a:cubicBezTo>
                  <a:cubicBezTo>
                    <a:pt x="51" y="3"/>
                    <a:pt x="60" y="0"/>
                    <a:pt x="67" y="3"/>
                  </a:cubicBezTo>
                  <a:cubicBezTo>
                    <a:pt x="73" y="6"/>
                    <a:pt x="76" y="15"/>
                    <a:pt x="75" y="29"/>
                  </a:cubicBezTo>
                  <a:cubicBezTo>
                    <a:pt x="74" y="42"/>
                    <a:pt x="70" y="59"/>
                    <a:pt x="62" y="75"/>
                  </a:cubicBezTo>
                  <a:cubicBezTo>
                    <a:pt x="54" y="91"/>
                    <a:pt x="45" y="105"/>
                    <a:pt x="35" y="114"/>
                  </a:cubicBezTo>
                  <a:cubicBezTo>
                    <a:pt x="28" y="120"/>
                    <a:pt x="22" y="124"/>
                    <a:pt x="16" y="125"/>
                  </a:cubicBezTo>
                  <a:close/>
                  <a:moveTo>
                    <a:pt x="60" y="3"/>
                  </a:moveTo>
                  <a:cubicBezTo>
                    <a:pt x="55" y="4"/>
                    <a:pt x="49" y="8"/>
                    <a:pt x="42" y="14"/>
                  </a:cubicBezTo>
                  <a:cubicBezTo>
                    <a:pt x="32" y="23"/>
                    <a:pt x="23" y="37"/>
                    <a:pt x="16" y="53"/>
                  </a:cubicBezTo>
                  <a:cubicBezTo>
                    <a:pt x="16" y="53"/>
                    <a:pt x="16" y="53"/>
                    <a:pt x="16" y="53"/>
                  </a:cubicBezTo>
                  <a:cubicBezTo>
                    <a:pt x="8" y="68"/>
                    <a:pt x="3" y="84"/>
                    <a:pt x="2" y="98"/>
                  </a:cubicBezTo>
                  <a:cubicBezTo>
                    <a:pt x="2" y="111"/>
                    <a:pt x="4" y="119"/>
                    <a:pt x="10" y="122"/>
                  </a:cubicBezTo>
                  <a:cubicBezTo>
                    <a:pt x="16" y="125"/>
                    <a:pt x="24" y="121"/>
                    <a:pt x="34" y="113"/>
                  </a:cubicBezTo>
                  <a:cubicBezTo>
                    <a:pt x="43" y="103"/>
                    <a:pt x="53" y="90"/>
                    <a:pt x="60" y="74"/>
                  </a:cubicBezTo>
                  <a:cubicBezTo>
                    <a:pt x="68" y="58"/>
                    <a:pt x="73" y="42"/>
                    <a:pt x="73" y="29"/>
                  </a:cubicBezTo>
                  <a:cubicBezTo>
                    <a:pt x="74" y="16"/>
                    <a:pt x="72" y="7"/>
                    <a:pt x="66" y="4"/>
                  </a:cubicBezTo>
                  <a:cubicBezTo>
                    <a:pt x="64" y="3"/>
                    <a:pt x="62" y="3"/>
                    <a:pt x="60" y="3"/>
                  </a:cubicBezTo>
                  <a:close/>
                </a:path>
              </a:pathLst>
            </a:custGeom>
            <a:solidFill>
              <a:srgbClr val="3362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3" name="iš1iḋé">
              <a:extLst>
                <a:ext uri="{FF2B5EF4-FFF2-40B4-BE49-F238E27FC236}">
                  <a16:creationId xmlns:a16="http://schemas.microsoft.com/office/drawing/2014/main" id="{A199998B-BD36-41F6-8A15-5F02CC83251B}"/>
                </a:ext>
              </a:extLst>
            </p:cNvPr>
            <p:cNvSpPr/>
            <p:nvPr/>
          </p:nvSpPr>
          <p:spPr bwMode="auto">
            <a:xfrm>
              <a:off x="5418138" y="2682876"/>
              <a:ext cx="155575" cy="155575"/>
            </a:xfrm>
            <a:custGeom>
              <a:avLst/>
              <a:gdLst>
                <a:gd name="T0" fmla="*/ 16 w 18"/>
                <a:gd name="T1" fmla="*/ 5 h 18"/>
                <a:gd name="T2" fmla="*/ 13 w 18"/>
                <a:gd name="T3" fmla="*/ 16 h 18"/>
                <a:gd name="T4" fmla="*/ 2 w 18"/>
                <a:gd name="T5" fmla="*/ 13 h 18"/>
                <a:gd name="T6" fmla="*/ 5 w 18"/>
                <a:gd name="T7" fmla="*/ 2 h 18"/>
                <a:gd name="T8" fmla="*/ 16 w 18"/>
                <a:gd name="T9" fmla="*/ 5 h 18"/>
              </a:gdLst>
              <a:ahLst/>
              <a:cxnLst>
                <a:cxn ang="0">
                  <a:pos x="T0" y="T1"/>
                </a:cxn>
                <a:cxn ang="0">
                  <a:pos x="T2" y="T3"/>
                </a:cxn>
                <a:cxn ang="0">
                  <a:pos x="T4" y="T5"/>
                </a:cxn>
                <a:cxn ang="0">
                  <a:pos x="T6" y="T7"/>
                </a:cxn>
                <a:cxn ang="0">
                  <a:pos x="T8" y="T9"/>
                </a:cxn>
              </a:cxnLst>
              <a:rect l="0" t="0" r="r" b="b"/>
              <a:pathLst>
                <a:path w="18" h="18">
                  <a:moveTo>
                    <a:pt x="16" y="5"/>
                  </a:moveTo>
                  <a:cubicBezTo>
                    <a:pt x="18" y="9"/>
                    <a:pt x="17" y="14"/>
                    <a:pt x="13" y="16"/>
                  </a:cubicBezTo>
                  <a:cubicBezTo>
                    <a:pt x="9" y="18"/>
                    <a:pt x="4" y="17"/>
                    <a:pt x="2" y="13"/>
                  </a:cubicBezTo>
                  <a:cubicBezTo>
                    <a:pt x="0" y="9"/>
                    <a:pt x="1" y="4"/>
                    <a:pt x="5" y="2"/>
                  </a:cubicBezTo>
                  <a:cubicBezTo>
                    <a:pt x="9" y="0"/>
                    <a:pt x="14" y="1"/>
                    <a:pt x="16" y="5"/>
                  </a:cubicBezTo>
                  <a:close/>
                </a:path>
              </a:pathLst>
            </a:custGeom>
            <a:solidFill>
              <a:srgbClr val="EA64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4" name="ï$ļïdê">
              <a:extLst>
                <a:ext uri="{FF2B5EF4-FFF2-40B4-BE49-F238E27FC236}">
                  <a16:creationId xmlns:a16="http://schemas.microsoft.com/office/drawing/2014/main" id="{825170AA-7338-4778-9AF7-737F4CE0FDEB}"/>
                </a:ext>
              </a:extLst>
            </p:cNvPr>
            <p:cNvSpPr/>
            <p:nvPr/>
          </p:nvSpPr>
          <p:spPr bwMode="auto">
            <a:xfrm>
              <a:off x="6307138" y="2130426"/>
              <a:ext cx="674688" cy="138113"/>
            </a:xfrm>
            <a:custGeom>
              <a:avLst/>
              <a:gdLst>
                <a:gd name="T0" fmla="*/ 425 w 425"/>
                <a:gd name="T1" fmla="*/ 32 h 87"/>
                <a:gd name="T2" fmla="*/ 6 w 425"/>
                <a:gd name="T3" fmla="*/ 87 h 87"/>
                <a:gd name="T4" fmla="*/ 0 w 425"/>
                <a:gd name="T5" fmla="*/ 54 h 87"/>
                <a:gd name="T6" fmla="*/ 420 w 425"/>
                <a:gd name="T7" fmla="*/ 0 h 87"/>
                <a:gd name="T8" fmla="*/ 425 w 425"/>
                <a:gd name="T9" fmla="*/ 32 h 87"/>
              </a:gdLst>
              <a:ahLst/>
              <a:cxnLst>
                <a:cxn ang="0">
                  <a:pos x="T0" y="T1"/>
                </a:cxn>
                <a:cxn ang="0">
                  <a:pos x="T2" y="T3"/>
                </a:cxn>
                <a:cxn ang="0">
                  <a:pos x="T4" y="T5"/>
                </a:cxn>
                <a:cxn ang="0">
                  <a:pos x="T6" y="T7"/>
                </a:cxn>
                <a:cxn ang="0">
                  <a:pos x="T8" y="T9"/>
                </a:cxn>
              </a:cxnLst>
              <a:rect l="0" t="0" r="r" b="b"/>
              <a:pathLst>
                <a:path w="425" h="87">
                  <a:moveTo>
                    <a:pt x="425" y="32"/>
                  </a:moveTo>
                  <a:lnTo>
                    <a:pt x="6" y="87"/>
                  </a:lnTo>
                  <a:lnTo>
                    <a:pt x="0" y="54"/>
                  </a:lnTo>
                  <a:lnTo>
                    <a:pt x="420" y="0"/>
                  </a:lnTo>
                  <a:lnTo>
                    <a:pt x="425" y="32"/>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îşḻíḍê">
              <a:extLst>
                <a:ext uri="{FF2B5EF4-FFF2-40B4-BE49-F238E27FC236}">
                  <a16:creationId xmlns:a16="http://schemas.microsoft.com/office/drawing/2014/main" id="{4999CE93-EB1D-4AC8-8E90-AA83983A2769}"/>
                </a:ext>
              </a:extLst>
            </p:cNvPr>
            <p:cNvSpPr/>
            <p:nvPr/>
          </p:nvSpPr>
          <p:spPr bwMode="auto">
            <a:xfrm>
              <a:off x="6334126" y="2346326"/>
              <a:ext cx="673100" cy="138113"/>
            </a:xfrm>
            <a:custGeom>
              <a:avLst/>
              <a:gdLst>
                <a:gd name="T0" fmla="*/ 424 w 424"/>
                <a:gd name="T1" fmla="*/ 27 h 87"/>
                <a:gd name="T2" fmla="*/ 5 w 424"/>
                <a:gd name="T3" fmla="*/ 87 h 87"/>
                <a:gd name="T4" fmla="*/ 0 w 424"/>
                <a:gd name="T5" fmla="*/ 54 h 87"/>
                <a:gd name="T6" fmla="*/ 419 w 424"/>
                <a:gd name="T7" fmla="*/ 0 h 87"/>
                <a:gd name="T8" fmla="*/ 424 w 424"/>
                <a:gd name="T9" fmla="*/ 27 h 87"/>
              </a:gdLst>
              <a:ahLst/>
              <a:cxnLst>
                <a:cxn ang="0">
                  <a:pos x="T0" y="T1"/>
                </a:cxn>
                <a:cxn ang="0">
                  <a:pos x="T2" y="T3"/>
                </a:cxn>
                <a:cxn ang="0">
                  <a:pos x="T4" y="T5"/>
                </a:cxn>
                <a:cxn ang="0">
                  <a:pos x="T6" y="T7"/>
                </a:cxn>
                <a:cxn ang="0">
                  <a:pos x="T8" y="T9"/>
                </a:cxn>
              </a:cxnLst>
              <a:rect l="0" t="0" r="r" b="b"/>
              <a:pathLst>
                <a:path w="424" h="87">
                  <a:moveTo>
                    <a:pt x="424" y="27"/>
                  </a:moveTo>
                  <a:lnTo>
                    <a:pt x="5" y="87"/>
                  </a:lnTo>
                  <a:lnTo>
                    <a:pt x="0" y="54"/>
                  </a:lnTo>
                  <a:lnTo>
                    <a:pt x="419" y="0"/>
                  </a:lnTo>
                  <a:lnTo>
                    <a:pt x="424" y="27"/>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îṩļidé">
              <a:extLst>
                <a:ext uri="{FF2B5EF4-FFF2-40B4-BE49-F238E27FC236}">
                  <a16:creationId xmlns:a16="http://schemas.microsoft.com/office/drawing/2014/main" id="{364965A7-4547-4B02-944E-A853B719620E}"/>
                </a:ext>
              </a:extLst>
            </p:cNvPr>
            <p:cNvSpPr/>
            <p:nvPr/>
          </p:nvSpPr>
          <p:spPr bwMode="auto">
            <a:xfrm>
              <a:off x="6367463" y="2552701"/>
              <a:ext cx="666750" cy="138113"/>
            </a:xfrm>
            <a:custGeom>
              <a:avLst/>
              <a:gdLst>
                <a:gd name="T0" fmla="*/ 420 w 420"/>
                <a:gd name="T1" fmla="*/ 33 h 87"/>
                <a:gd name="T2" fmla="*/ 6 w 420"/>
                <a:gd name="T3" fmla="*/ 87 h 87"/>
                <a:gd name="T4" fmla="*/ 0 w 420"/>
                <a:gd name="T5" fmla="*/ 55 h 87"/>
                <a:gd name="T6" fmla="*/ 420 w 420"/>
                <a:gd name="T7" fmla="*/ 0 h 87"/>
                <a:gd name="T8" fmla="*/ 420 w 420"/>
                <a:gd name="T9" fmla="*/ 33 h 87"/>
              </a:gdLst>
              <a:ahLst/>
              <a:cxnLst>
                <a:cxn ang="0">
                  <a:pos x="T0" y="T1"/>
                </a:cxn>
                <a:cxn ang="0">
                  <a:pos x="T2" y="T3"/>
                </a:cxn>
                <a:cxn ang="0">
                  <a:pos x="T4" y="T5"/>
                </a:cxn>
                <a:cxn ang="0">
                  <a:pos x="T6" y="T7"/>
                </a:cxn>
                <a:cxn ang="0">
                  <a:pos x="T8" y="T9"/>
                </a:cxn>
              </a:cxnLst>
              <a:rect l="0" t="0" r="r" b="b"/>
              <a:pathLst>
                <a:path w="420" h="87">
                  <a:moveTo>
                    <a:pt x="420" y="33"/>
                  </a:moveTo>
                  <a:lnTo>
                    <a:pt x="6" y="87"/>
                  </a:lnTo>
                  <a:lnTo>
                    <a:pt x="0" y="55"/>
                  </a:lnTo>
                  <a:lnTo>
                    <a:pt x="420" y="0"/>
                  </a:lnTo>
                  <a:lnTo>
                    <a:pt x="420" y="33"/>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íṡḷíḋè">
              <a:extLst>
                <a:ext uri="{FF2B5EF4-FFF2-40B4-BE49-F238E27FC236}">
                  <a16:creationId xmlns:a16="http://schemas.microsoft.com/office/drawing/2014/main" id="{BB43C35E-C7A7-43B2-B935-7FBF1737C618}"/>
                </a:ext>
              </a:extLst>
            </p:cNvPr>
            <p:cNvSpPr/>
            <p:nvPr/>
          </p:nvSpPr>
          <p:spPr bwMode="auto">
            <a:xfrm>
              <a:off x="6394451" y="2768601"/>
              <a:ext cx="673100" cy="138113"/>
            </a:xfrm>
            <a:custGeom>
              <a:avLst/>
              <a:gdLst>
                <a:gd name="T0" fmla="*/ 424 w 424"/>
                <a:gd name="T1" fmla="*/ 27 h 87"/>
                <a:gd name="T2" fmla="*/ 5 w 424"/>
                <a:gd name="T3" fmla="*/ 87 h 87"/>
                <a:gd name="T4" fmla="*/ 0 w 424"/>
                <a:gd name="T5" fmla="*/ 54 h 87"/>
                <a:gd name="T6" fmla="*/ 419 w 424"/>
                <a:gd name="T7" fmla="*/ 0 h 87"/>
                <a:gd name="T8" fmla="*/ 424 w 424"/>
                <a:gd name="T9" fmla="*/ 27 h 87"/>
              </a:gdLst>
              <a:ahLst/>
              <a:cxnLst>
                <a:cxn ang="0">
                  <a:pos x="T0" y="T1"/>
                </a:cxn>
                <a:cxn ang="0">
                  <a:pos x="T2" y="T3"/>
                </a:cxn>
                <a:cxn ang="0">
                  <a:pos x="T4" y="T5"/>
                </a:cxn>
                <a:cxn ang="0">
                  <a:pos x="T6" y="T7"/>
                </a:cxn>
                <a:cxn ang="0">
                  <a:pos x="T8" y="T9"/>
                </a:cxn>
              </a:cxnLst>
              <a:rect l="0" t="0" r="r" b="b"/>
              <a:pathLst>
                <a:path w="424" h="87">
                  <a:moveTo>
                    <a:pt x="424" y="27"/>
                  </a:moveTo>
                  <a:lnTo>
                    <a:pt x="5" y="87"/>
                  </a:lnTo>
                  <a:lnTo>
                    <a:pt x="0" y="54"/>
                  </a:lnTo>
                  <a:lnTo>
                    <a:pt x="419" y="0"/>
                  </a:lnTo>
                  <a:lnTo>
                    <a:pt x="424" y="27"/>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iṥľîḋê">
              <a:extLst>
                <a:ext uri="{FF2B5EF4-FFF2-40B4-BE49-F238E27FC236}">
                  <a16:creationId xmlns:a16="http://schemas.microsoft.com/office/drawing/2014/main" id="{1C0243F0-1C12-4FB2-A4D9-8061503FD000}"/>
                </a:ext>
              </a:extLst>
            </p:cNvPr>
            <p:cNvSpPr/>
            <p:nvPr/>
          </p:nvSpPr>
          <p:spPr bwMode="auto">
            <a:xfrm>
              <a:off x="6419851" y="2976563"/>
              <a:ext cx="674688" cy="138113"/>
            </a:xfrm>
            <a:custGeom>
              <a:avLst/>
              <a:gdLst>
                <a:gd name="T0" fmla="*/ 425 w 425"/>
                <a:gd name="T1" fmla="*/ 32 h 87"/>
                <a:gd name="T2" fmla="*/ 6 w 425"/>
                <a:gd name="T3" fmla="*/ 87 h 87"/>
                <a:gd name="T4" fmla="*/ 0 w 425"/>
                <a:gd name="T5" fmla="*/ 59 h 87"/>
                <a:gd name="T6" fmla="*/ 419 w 425"/>
                <a:gd name="T7" fmla="*/ 0 h 87"/>
                <a:gd name="T8" fmla="*/ 425 w 425"/>
                <a:gd name="T9" fmla="*/ 32 h 87"/>
              </a:gdLst>
              <a:ahLst/>
              <a:cxnLst>
                <a:cxn ang="0">
                  <a:pos x="T0" y="T1"/>
                </a:cxn>
                <a:cxn ang="0">
                  <a:pos x="T2" y="T3"/>
                </a:cxn>
                <a:cxn ang="0">
                  <a:pos x="T4" y="T5"/>
                </a:cxn>
                <a:cxn ang="0">
                  <a:pos x="T6" y="T7"/>
                </a:cxn>
                <a:cxn ang="0">
                  <a:pos x="T8" y="T9"/>
                </a:cxn>
              </a:cxnLst>
              <a:rect l="0" t="0" r="r" b="b"/>
              <a:pathLst>
                <a:path w="425" h="87">
                  <a:moveTo>
                    <a:pt x="425" y="32"/>
                  </a:moveTo>
                  <a:lnTo>
                    <a:pt x="6" y="87"/>
                  </a:lnTo>
                  <a:lnTo>
                    <a:pt x="0" y="59"/>
                  </a:lnTo>
                  <a:lnTo>
                    <a:pt x="419" y="0"/>
                  </a:lnTo>
                  <a:lnTo>
                    <a:pt x="425" y="32"/>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ïşḻïḓè">
              <a:extLst>
                <a:ext uri="{FF2B5EF4-FFF2-40B4-BE49-F238E27FC236}">
                  <a16:creationId xmlns:a16="http://schemas.microsoft.com/office/drawing/2014/main" id="{B756FE68-E394-4250-8468-453D9720EB65}"/>
                </a:ext>
              </a:extLst>
            </p:cNvPr>
            <p:cNvSpPr/>
            <p:nvPr/>
          </p:nvSpPr>
          <p:spPr bwMode="auto">
            <a:xfrm>
              <a:off x="5200651" y="3743326"/>
              <a:ext cx="1470025" cy="242888"/>
            </a:xfrm>
            <a:custGeom>
              <a:avLst/>
              <a:gdLst>
                <a:gd name="T0" fmla="*/ 926 w 926"/>
                <a:gd name="T1" fmla="*/ 28 h 153"/>
                <a:gd name="T2" fmla="*/ 6 w 926"/>
                <a:gd name="T3" fmla="*/ 153 h 153"/>
                <a:gd name="T4" fmla="*/ 0 w 926"/>
                <a:gd name="T5" fmla="*/ 125 h 153"/>
                <a:gd name="T6" fmla="*/ 921 w 926"/>
                <a:gd name="T7" fmla="*/ 0 h 153"/>
                <a:gd name="T8" fmla="*/ 926 w 926"/>
                <a:gd name="T9" fmla="*/ 28 h 153"/>
              </a:gdLst>
              <a:ahLst/>
              <a:cxnLst>
                <a:cxn ang="0">
                  <a:pos x="T0" y="T1"/>
                </a:cxn>
                <a:cxn ang="0">
                  <a:pos x="T2" y="T3"/>
                </a:cxn>
                <a:cxn ang="0">
                  <a:pos x="T4" y="T5"/>
                </a:cxn>
                <a:cxn ang="0">
                  <a:pos x="T6" y="T7"/>
                </a:cxn>
                <a:cxn ang="0">
                  <a:pos x="T8" y="T9"/>
                </a:cxn>
              </a:cxnLst>
              <a:rect l="0" t="0" r="r" b="b"/>
              <a:pathLst>
                <a:path w="926" h="153">
                  <a:moveTo>
                    <a:pt x="926" y="28"/>
                  </a:moveTo>
                  <a:lnTo>
                    <a:pt x="6" y="153"/>
                  </a:lnTo>
                  <a:lnTo>
                    <a:pt x="0" y="125"/>
                  </a:lnTo>
                  <a:lnTo>
                    <a:pt x="921" y="0"/>
                  </a:lnTo>
                  <a:lnTo>
                    <a:pt x="926" y="28"/>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iṧḷïḑê">
              <a:extLst>
                <a:ext uri="{FF2B5EF4-FFF2-40B4-BE49-F238E27FC236}">
                  <a16:creationId xmlns:a16="http://schemas.microsoft.com/office/drawing/2014/main" id="{F5750395-A199-4C04-8C11-2E860DFD0449}"/>
                </a:ext>
              </a:extLst>
            </p:cNvPr>
            <p:cNvSpPr/>
            <p:nvPr/>
          </p:nvSpPr>
          <p:spPr bwMode="auto">
            <a:xfrm>
              <a:off x="5227638" y="3959226"/>
              <a:ext cx="1468438" cy="241300"/>
            </a:xfrm>
            <a:custGeom>
              <a:avLst/>
              <a:gdLst>
                <a:gd name="T0" fmla="*/ 925 w 925"/>
                <a:gd name="T1" fmla="*/ 27 h 152"/>
                <a:gd name="T2" fmla="*/ 5 w 925"/>
                <a:gd name="T3" fmla="*/ 152 h 152"/>
                <a:gd name="T4" fmla="*/ 0 w 925"/>
                <a:gd name="T5" fmla="*/ 125 h 152"/>
                <a:gd name="T6" fmla="*/ 925 w 925"/>
                <a:gd name="T7" fmla="*/ 0 h 152"/>
                <a:gd name="T8" fmla="*/ 925 w 925"/>
                <a:gd name="T9" fmla="*/ 27 h 152"/>
              </a:gdLst>
              <a:ahLst/>
              <a:cxnLst>
                <a:cxn ang="0">
                  <a:pos x="T0" y="T1"/>
                </a:cxn>
                <a:cxn ang="0">
                  <a:pos x="T2" y="T3"/>
                </a:cxn>
                <a:cxn ang="0">
                  <a:pos x="T4" y="T5"/>
                </a:cxn>
                <a:cxn ang="0">
                  <a:pos x="T6" y="T7"/>
                </a:cxn>
                <a:cxn ang="0">
                  <a:pos x="T8" y="T9"/>
                </a:cxn>
              </a:cxnLst>
              <a:rect l="0" t="0" r="r" b="b"/>
              <a:pathLst>
                <a:path w="925" h="152">
                  <a:moveTo>
                    <a:pt x="925" y="27"/>
                  </a:moveTo>
                  <a:lnTo>
                    <a:pt x="5" y="152"/>
                  </a:lnTo>
                  <a:lnTo>
                    <a:pt x="0" y="125"/>
                  </a:lnTo>
                  <a:lnTo>
                    <a:pt x="925" y="0"/>
                  </a:lnTo>
                  <a:lnTo>
                    <a:pt x="925" y="27"/>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îS1ïḍê">
              <a:extLst>
                <a:ext uri="{FF2B5EF4-FFF2-40B4-BE49-F238E27FC236}">
                  <a16:creationId xmlns:a16="http://schemas.microsoft.com/office/drawing/2014/main" id="{02852DBA-CEF1-46E4-9180-27A24C373CB9}"/>
                </a:ext>
              </a:extLst>
            </p:cNvPr>
            <p:cNvSpPr/>
            <p:nvPr/>
          </p:nvSpPr>
          <p:spPr bwMode="auto">
            <a:xfrm>
              <a:off x="5262563" y="4175126"/>
              <a:ext cx="1468438" cy="241300"/>
            </a:xfrm>
            <a:custGeom>
              <a:avLst/>
              <a:gdLst>
                <a:gd name="T0" fmla="*/ 925 w 925"/>
                <a:gd name="T1" fmla="*/ 27 h 152"/>
                <a:gd name="T2" fmla="*/ 0 w 925"/>
                <a:gd name="T3" fmla="*/ 152 h 152"/>
                <a:gd name="T4" fmla="*/ 0 w 925"/>
                <a:gd name="T5" fmla="*/ 125 h 152"/>
                <a:gd name="T6" fmla="*/ 920 w 925"/>
                <a:gd name="T7" fmla="*/ 0 h 152"/>
                <a:gd name="T8" fmla="*/ 925 w 925"/>
                <a:gd name="T9" fmla="*/ 27 h 152"/>
              </a:gdLst>
              <a:ahLst/>
              <a:cxnLst>
                <a:cxn ang="0">
                  <a:pos x="T0" y="T1"/>
                </a:cxn>
                <a:cxn ang="0">
                  <a:pos x="T2" y="T3"/>
                </a:cxn>
                <a:cxn ang="0">
                  <a:pos x="T4" y="T5"/>
                </a:cxn>
                <a:cxn ang="0">
                  <a:pos x="T6" y="T7"/>
                </a:cxn>
                <a:cxn ang="0">
                  <a:pos x="T8" y="T9"/>
                </a:cxn>
              </a:cxnLst>
              <a:rect l="0" t="0" r="r" b="b"/>
              <a:pathLst>
                <a:path w="925" h="152">
                  <a:moveTo>
                    <a:pt x="925" y="27"/>
                  </a:moveTo>
                  <a:lnTo>
                    <a:pt x="0" y="152"/>
                  </a:lnTo>
                  <a:lnTo>
                    <a:pt x="0" y="125"/>
                  </a:lnTo>
                  <a:lnTo>
                    <a:pt x="920" y="0"/>
                  </a:lnTo>
                  <a:lnTo>
                    <a:pt x="925" y="27"/>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ísḷíďê">
              <a:extLst>
                <a:ext uri="{FF2B5EF4-FFF2-40B4-BE49-F238E27FC236}">
                  <a16:creationId xmlns:a16="http://schemas.microsoft.com/office/drawing/2014/main" id="{60793535-0118-4369-A68A-29EAFA80D031}"/>
                </a:ext>
              </a:extLst>
            </p:cNvPr>
            <p:cNvSpPr/>
            <p:nvPr/>
          </p:nvSpPr>
          <p:spPr bwMode="auto">
            <a:xfrm>
              <a:off x="5287963" y="4391026"/>
              <a:ext cx="1468438" cy="241300"/>
            </a:xfrm>
            <a:custGeom>
              <a:avLst/>
              <a:gdLst>
                <a:gd name="T0" fmla="*/ 925 w 925"/>
                <a:gd name="T1" fmla="*/ 27 h 152"/>
                <a:gd name="T2" fmla="*/ 5 w 925"/>
                <a:gd name="T3" fmla="*/ 152 h 152"/>
                <a:gd name="T4" fmla="*/ 0 w 925"/>
                <a:gd name="T5" fmla="*/ 125 h 152"/>
                <a:gd name="T6" fmla="*/ 920 w 925"/>
                <a:gd name="T7" fmla="*/ 0 h 152"/>
                <a:gd name="T8" fmla="*/ 925 w 925"/>
                <a:gd name="T9" fmla="*/ 27 h 152"/>
              </a:gdLst>
              <a:ahLst/>
              <a:cxnLst>
                <a:cxn ang="0">
                  <a:pos x="T0" y="T1"/>
                </a:cxn>
                <a:cxn ang="0">
                  <a:pos x="T2" y="T3"/>
                </a:cxn>
                <a:cxn ang="0">
                  <a:pos x="T4" y="T5"/>
                </a:cxn>
                <a:cxn ang="0">
                  <a:pos x="T6" y="T7"/>
                </a:cxn>
                <a:cxn ang="0">
                  <a:pos x="T8" y="T9"/>
                </a:cxn>
              </a:cxnLst>
              <a:rect l="0" t="0" r="r" b="b"/>
              <a:pathLst>
                <a:path w="925" h="152">
                  <a:moveTo>
                    <a:pt x="925" y="27"/>
                  </a:moveTo>
                  <a:lnTo>
                    <a:pt x="5" y="152"/>
                  </a:lnTo>
                  <a:lnTo>
                    <a:pt x="0" y="125"/>
                  </a:lnTo>
                  <a:lnTo>
                    <a:pt x="920" y="0"/>
                  </a:lnTo>
                  <a:lnTo>
                    <a:pt x="925" y="27"/>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ïṡḻiḓé">
              <a:extLst>
                <a:ext uri="{FF2B5EF4-FFF2-40B4-BE49-F238E27FC236}">
                  <a16:creationId xmlns:a16="http://schemas.microsoft.com/office/drawing/2014/main" id="{7366CBD7-0CC7-4E12-97B3-CF65B4150FCD}"/>
                </a:ext>
              </a:extLst>
            </p:cNvPr>
            <p:cNvSpPr/>
            <p:nvPr/>
          </p:nvSpPr>
          <p:spPr bwMode="auto">
            <a:xfrm>
              <a:off x="5313363" y="4606926"/>
              <a:ext cx="1470025" cy="241300"/>
            </a:xfrm>
            <a:custGeom>
              <a:avLst/>
              <a:gdLst>
                <a:gd name="T0" fmla="*/ 926 w 926"/>
                <a:gd name="T1" fmla="*/ 27 h 152"/>
                <a:gd name="T2" fmla="*/ 6 w 926"/>
                <a:gd name="T3" fmla="*/ 152 h 152"/>
                <a:gd name="T4" fmla="*/ 0 w 926"/>
                <a:gd name="T5" fmla="*/ 125 h 152"/>
                <a:gd name="T6" fmla="*/ 926 w 926"/>
                <a:gd name="T7" fmla="*/ 0 h 152"/>
                <a:gd name="T8" fmla="*/ 926 w 926"/>
                <a:gd name="T9" fmla="*/ 27 h 152"/>
              </a:gdLst>
              <a:ahLst/>
              <a:cxnLst>
                <a:cxn ang="0">
                  <a:pos x="T0" y="T1"/>
                </a:cxn>
                <a:cxn ang="0">
                  <a:pos x="T2" y="T3"/>
                </a:cxn>
                <a:cxn ang="0">
                  <a:pos x="T4" y="T5"/>
                </a:cxn>
                <a:cxn ang="0">
                  <a:pos x="T6" y="T7"/>
                </a:cxn>
                <a:cxn ang="0">
                  <a:pos x="T8" y="T9"/>
                </a:cxn>
              </a:cxnLst>
              <a:rect l="0" t="0" r="r" b="b"/>
              <a:pathLst>
                <a:path w="926" h="152">
                  <a:moveTo>
                    <a:pt x="926" y="27"/>
                  </a:moveTo>
                  <a:lnTo>
                    <a:pt x="6" y="152"/>
                  </a:lnTo>
                  <a:lnTo>
                    <a:pt x="0" y="125"/>
                  </a:lnTo>
                  <a:lnTo>
                    <a:pt x="926" y="0"/>
                  </a:lnTo>
                  <a:lnTo>
                    <a:pt x="926" y="27"/>
                  </a:lnTo>
                  <a:close/>
                </a:path>
              </a:pathLst>
            </a:custGeom>
            <a:solidFill>
              <a:srgbClr val="5B5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íšḷïḑè">
              <a:extLst>
                <a:ext uri="{FF2B5EF4-FFF2-40B4-BE49-F238E27FC236}">
                  <a16:creationId xmlns:a16="http://schemas.microsoft.com/office/drawing/2014/main" id="{767B44FF-6DEB-457D-957F-883AEC0AEEAB}"/>
                </a:ext>
              </a:extLst>
            </p:cNvPr>
            <p:cNvSpPr/>
            <p:nvPr/>
          </p:nvSpPr>
          <p:spPr bwMode="auto">
            <a:xfrm>
              <a:off x="6843713" y="3622676"/>
              <a:ext cx="379413" cy="1044575"/>
            </a:xfrm>
            <a:custGeom>
              <a:avLst/>
              <a:gdLst>
                <a:gd name="T0" fmla="*/ 239 w 239"/>
                <a:gd name="T1" fmla="*/ 636 h 658"/>
                <a:gd name="T2" fmla="*/ 82 w 239"/>
                <a:gd name="T3" fmla="*/ 658 h 658"/>
                <a:gd name="T4" fmla="*/ 0 w 239"/>
                <a:gd name="T5" fmla="*/ 17 h 658"/>
                <a:gd name="T6" fmla="*/ 152 w 239"/>
                <a:gd name="T7" fmla="*/ 0 h 658"/>
                <a:gd name="T8" fmla="*/ 239 w 239"/>
                <a:gd name="T9" fmla="*/ 636 h 658"/>
              </a:gdLst>
              <a:ahLst/>
              <a:cxnLst>
                <a:cxn ang="0">
                  <a:pos x="T0" y="T1"/>
                </a:cxn>
                <a:cxn ang="0">
                  <a:pos x="T2" y="T3"/>
                </a:cxn>
                <a:cxn ang="0">
                  <a:pos x="T4" y="T5"/>
                </a:cxn>
                <a:cxn ang="0">
                  <a:pos x="T6" y="T7"/>
                </a:cxn>
                <a:cxn ang="0">
                  <a:pos x="T8" y="T9"/>
                </a:cxn>
              </a:cxnLst>
              <a:rect l="0" t="0" r="r" b="b"/>
              <a:pathLst>
                <a:path w="239" h="658">
                  <a:moveTo>
                    <a:pt x="239" y="636"/>
                  </a:moveTo>
                  <a:lnTo>
                    <a:pt x="82" y="658"/>
                  </a:lnTo>
                  <a:lnTo>
                    <a:pt x="0" y="17"/>
                  </a:lnTo>
                  <a:lnTo>
                    <a:pt x="152" y="0"/>
                  </a:lnTo>
                  <a:lnTo>
                    <a:pt x="239" y="636"/>
                  </a:lnTo>
                  <a:close/>
                </a:path>
              </a:pathLst>
            </a:custGeom>
            <a:solidFill>
              <a:srgbClr val="CCE5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3998848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028762A-16A8-4B8B-9980-AD89D72221E9}"/>
              </a:ext>
            </a:extLst>
          </p:cNvPr>
          <p:cNvSpPr>
            <a:spLocks noGrp="1"/>
          </p:cNvSpPr>
          <p:nvPr>
            <p:ph type="title"/>
          </p:nvPr>
        </p:nvSpPr>
        <p:spPr/>
        <p:txBody>
          <a:bodyPr/>
          <a:lstStyle/>
          <a:p>
            <a:r>
              <a:rPr lang="en-US" altLang="zh-CN" dirty="0"/>
              <a:t>3.2</a:t>
            </a:r>
            <a:r>
              <a:rPr lang="zh-CN" altLang="en-US" dirty="0">
                <a:latin typeface="+mn-lt"/>
                <a:ea typeface="+mn-ea"/>
                <a:cs typeface="+mn-ea"/>
                <a:sym typeface="+mn-lt"/>
              </a:rPr>
              <a:t>自定义函数类型</a:t>
            </a:r>
            <a:endParaRPr lang="zh-CN" altLang="en-US" dirty="0"/>
          </a:p>
        </p:txBody>
      </p:sp>
      <p:sp>
        <p:nvSpPr>
          <p:cNvPr id="3" name="页脚占位符 2">
            <a:extLst>
              <a:ext uri="{FF2B5EF4-FFF2-40B4-BE49-F238E27FC236}">
                <a16:creationId xmlns:a16="http://schemas.microsoft.com/office/drawing/2014/main" id="{03A9E4C7-18F4-4387-82F6-736E61B11620}"/>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89B37627-2D9E-409D-98B2-6FE59E252EA5}"/>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a:p>
        </p:txBody>
      </p:sp>
      <p:grpSp>
        <p:nvGrpSpPr>
          <p:cNvPr id="5" name="#23476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D1DFA954-591B-4912-A19E-EEA976E4AE70}"/>
              </a:ext>
            </a:extLst>
          </p:cNvPr>
          <p:cNvGrpSpPr>
            <a:grpSpLocks noChangeAspect="1"/>
          </p:cNvGrpSpPr>
          <p:nvPr>
            <p:custDataLst>
              <p:tags r:id="rId2"/>
            </p:custDataLst>
          </p:nvPr>
        </p:nvGrpSpPr>
        <p:grpSpPr>
          <a:xfrm>
            <a:off x="855006" y="1940221"/>
            <a:ext cx="11336994" cy="3820133"/>
            <a:chOff x="855006" y="1940222"/>
            <a:chExt cx="11336994" cy="3820133"/>
          </a:xfrm>
        </p:grpSpPr>
        <p:grpSp>
          <p:nvGrpSpPr>
            <p:cNvPr id="6" name="is1ïḋ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FF780BD-3AEF-49DA-BCDF-438764CC7442}"/>
                </a:ext>
              </a:extLst>
            </p:cNvPr>
            <p:cNvGrpSpPr/>
            <p:nvPr/>
          </p:nvGrpSpPr>
          <p:grpSpPr>
            <a:xfrm>
              <a:off x="887322" y="1979618"/>
              <a:ext cx="1598688" cy="1973101"/>
              <a:chOff x="4139580" y="1176950"/>
              <a:chExt cx="3912841" cy="4829182"/>
            </a:xfrm>
          </p:grpSpPr>
          <p:sp>
            <p:nvSpPr>
              <p:cNvPr id="99" name="islîďe">
                <a:extLst>
                  <a:ext uri="{FF2B5EF4-FFF2-40B4-BE49-F238E27FC236}">
                    <a16:creationId xmlns:a16="http://schemas.microsoft.com/office/drawing/2014/main" id="{914D1216-7F05-4984-AFF4-4D249EAF58C3}"/>
                  </a:ext>
                </a:extLst>
              </p:cNvPr>
              <p:cNvSpPr/>
              <p:nvPr/>
            </p:nvSpPr>
            <p:spPr bwMode="auto">
              <a:xfrm>
                <a:off x="6794008" y="2868856"/>
                <a:ext cx="82560" cy="77557"/>
              </a:xfrm>
              <a:custGeom>
                <a:avLst/>
                <a:gdLst>
                  <a:gd name="T0" fmla="*/ 7 w 14"/>
                  <a:gd name="T1" fmla="*/ 0 h 13"/>
                  <a:gd name="T2" fmla="*/ 1 w 14"/>
                  <a:gd name="T3" fmla="*/ 4 h 13"/>
                  <a:gd name="T4" fmla="*/ 1 w 14"/>
                  <a:gd name="T5" fmla="*/ 5 h 13"/>
                  <a:gd name="T6" fmla="*/ 5 w 14"/>
                  <a:gd name="T7" fmla="*/ 13 h 13"/>
                  <a:gd name="T8" fmla="*/ 7 w 14"/>
                  <a:gd name="T9" fmla="*/ 13 h 13"/>
                  <a:gd name="T10" fmla="*/ 12 w 14"/>
                  <a:gd name="T11" fmla="*/ 10 h 13"/>
                  <a:gd name="T12" fmla="*/ 13 w 14"/>
                  <a:gd name="T13" fmla="*/ 9 h 13"/>
                  <a:gd name="T14" fmla="*/ 11 w 14"/>
                  <a:gd name="T15" fmla="*/ 2 h 13"/>
                  <a:gd name="T16" fmla="*/ 9 w 14"/>
                  <a:gd name="T17" fmla="*/ 1 h 13"/>
                  <a:gd name="T18" fmla="*/ 7 w 14"/>
                  <a:gd name="T19" fmla="*/ 0 h 13"/>
                  <a:gd name="T20" fmla="*/ 7 w 14"/>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3">
                    <a:moveTo>
                      <a:pt x="7" y="0"/>
                    </a:moveTo>
                    <a:cubicBezTo>
                      <a:pt x="4" y="0"/>
                      <a:pt x="2" y="2"/>
                      <a:pt x="1" y="4"/>
                    </a:cubicBezTo>
                    <a:cubicBezTo>
                      <a:pt x="1" y="5"/>
                      <a:pt x="1" y="5"/>
                      <a:pt x="1" y="5"/>
                    </a:cubicBezTo>
                    <a:cubicBezTo>
                      <a:pt x="0" y="8"/>
                      <a:pt x="2" y="11"/>
                      <a:pt x="5" y="13"/>
                    </a:cubicBezTo>
                    <a:cubicBezTo>
                      <a:pt x="5" y="13"/>
                      <a:pt x="6" y="13"/>
                      <a:pt x="7" y="13"/>
                    </a:cubicBezTo>
                    <a:cubicBezTo>
                      <a:pt x="9" y="13"/>
                      <a:pt x="11" y="12"/>
                      <a:pt x="12" y="10"/>
                    </a:cubicBezTo>
                    <a:cubicBezTo>
                      <a:pt x="12" y="10"/>
                      <a:pt x="13" y="9"/>
                      <a:pt x="13" y="9"/>
                    </a:cubicBezTo>
                    <a:cubicBezTo>
                      <a:pt x="14" y="6"/>
                      <a:pt x="13" y="3"/>
                      <a:pt x="11" y="2"/>
                    </a:cubicBezTo>
                    <a:cubicBezTo>
                      <a:pt x="10" y="1"/>
                      <a:pt x="10" y="1"/>
                      <a:pt x="9" y="1"/>
                    </a:cubicBezTo>
                    <a:cubicBezTo>
                      <a:pt x="8" y="1"/>
                      <a:pt x="8" y="0"/>
                      <a:pt x="7" y="0"/>
                    </a:cubicBezTo>
                    <a:cubicBezTo>
                      <a:pt x="7" y="0"/>
                      <a:pt x="7" y="0"/>
                      <a:pt x="7" y="0"/>
                    </a:cubicBezTo>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0" name="îṡḻîḍê">
                <a:extLst>
                  <a:ext uri="{FF2B5EF4-FFF2-40B4-BE49-F238E27FC236}">
                    <a16:creationId xmlns:a16="http://schemas.microsoft.com/office/drawing/2014/main" id="{99A9631E-6194-49D3-8086-2BE73BC8C290}"/>
                  </a:ext>
                </a:extLst>
              </p:cNvPr>
              <p:cNvSpPr/>
              <p:nvPr/>
            </p:nvSpPr>
            <p:spPr bwMode="auto">
              <a:xfrm>
                <a:off x="6919099" y="2491082"/>
                <a:ext cx="87565" cy="142604"/>
              </a:xfrm>
              <a:custGeom>
                <a:avLst/>
                <a:gdLst>
                  <a:gd name="T0" fmla="*/ 10 w 15"/>
                  <a:gd name="T1" fmla="*/ 0 h 24"/>
                  <a:gd name="T2" fmla="*/ 6 w 15"/>
                  <a:gd name="T3" fmla="*/ 3 h 24"/>
                  <a:gd name="T4" fmla="*/ 1 w 15"/>
                  <a:gd name="T5" fmla="*/ 19 h 24"/>
                  <a:gd name="T6" fmla="*/ 3 w 15"/>
                  <a:gd name="T7" fmla="*/ 24 h 24"/>
                  <a:gd name="T8" fmla="*/ 4 w 15"/>
                  <a:gd name="T9" fmla="*/ 24 h 24"/>
                  <a:gd name="T10" fmla="*/ 8 w 15"/>
                  <a:gd name="T11" fmla="*/ 22 h 24"/>
                  <a:gd name="T12" fmla="*/ 14 w 15"/>
                  <a:gd name="T13" fmla="*/ 6 h 24"/>
                  <a:gd name="T14" fmla="*/ 12 w 15"/>
                  <a:gd name="T15" fmla="*/ 0 h 24"/>
                  <a:gd name="T16" fmla="*/ 10 w 15"/>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4">
                    <a:moveTo>
                      <a:pt x="10" y="0"/>
                    </a:moveTo>
                    <a:cubicBezTo>
                      <a:pt x="9" y="0"/>
                      <a:pt x="7" y="1"/>
                      <a:pt x="6" y="3"/>
                    </a:cubicBezTo>
                    <a:cubicBezTo>
                      <a:pt x="1" y="19"/>
                      <a:pt x="1" y="19"/>
                      <a:pt x="1" y="19"/>
                    </a:cubicBezTo>
                    <a:cubicBezTo>
                      <a:pt x="0" y="21"/>
                      <a:pt x="1" y="23"/>
                      <a:pt x="3" y="24"/>
                    </a:cubicBezTo>
                    <a:cubicBezTo>
                      <a:pt x="3" y="24"/>
                      <a:pt x="4" y="24"/>
                      <a:pt x="4" y="24"/>
                    </a:cubicBezTo>
                    <a:cubicBezTo>
                      <a:pt x="6" y="24"/>
                      <a:pt x="8" y="23"/>
                      <a:pt x="8" y="22"/>
                    </a:cubicBezTo>
                    <a:cubicBezTo>
                      <a:pt x="14" y="6"/>
                      <a:pt x="14" y="6"/>
                      <a:pt x="14" y="6"/>
                    </a:cubicBezTo>
                    <a:cubicBezTo>
                      <a:pt x="15" y="4"/>
                      <a:pt x="14" y="1"/>
                      <a:pt x="12" y="0"/>
                    </a:cubicBezTo>
                    <a:cubicBezTo>
                      <a:pt x="11" y="0"/>
                      <a:pt x="11" y="0"/>
                      <a:pt x="10" y="0"/>
                    </a:cubicBezTo>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1" name="îşļiḍê">
                <a:extLst>
                  <a:ext uri="{FF2B5EF4-FFF2-40B4-BE49-F238E27FC236}">
                    <a16:creationId xmlns:a16="http://schemas.microsoft.com/office/drawing/2014/main" id="{0903CD2F-7B86-49EB-B08C-692ADE1E859D}"/>
                  </a:ext>
                </a:extLst>
              </p:cNvPr>
              <p:cNvSpPr/>
              <p:nvPr/>
            </p:nvSpPr>
            <p:spPr bwMode="auto">
              <a:xfrm>
                <a:off x="6656407" y="3189089"/>
                <a:ext cx="95069" cy="142604"/>
              </a:xfrm>
              <a:custGeom>
                <a:avLst/>
                <a:gdLst>
                  <a:gd name="T0" fmla="*/ 11 w 16"/>
                  <a:gd name="T1" fmla="*/ 0 h 24"/>
                  <a:gd name="T2" fmla="*/ 7 w 16"/>
                  <a:gd name="T3" fmla="*/ 2 h 24"/>
                  <a:gd name="T4" fmla="*/ 1 w 16"/>
                  <a:gd name="T5" fmla="*/ 18 h 24"/>
                  <a:gd name="T6" fmla="*/ 4 w 16"/>
                  <a:gd name="T7" fmla="*/ 24 h 24"/>
                  <a:gd name="T8" fmla="*/ 5 w 16"/>
                  <a:gd name="T9" fmla="*/ 24 h 24"/>
                  <a:gd name="T10" fmla="*/ 9 w 16"/>
                  <a:gd name="T11" fmla="*/ 21 h 24"/>
                  <a:gd name="T12" fmla="*/ 15 w 16"/>
                  <a:gd name="T13" fmla="*/ 5 h 24"/>
                  <a:gd name="T14" fmla="*/ 12 w 16"/>
                  <a:gd name="T15" fmla="*/ 0 h 24"/>
                  <a:gd name="T16" fmla="*/ 11 w 1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11" y="0"/>
                    </a:moveTo>
                    <a:cubicBezTo>
                      <a:pt x="9" y="0"/>
                      <a:pt x="8" y="1"/>
                      <a:pt x="7" y="2"/>
                    </a:cubicBezTo>
                    <a:cubicBezTo>
                      <a:pt x="1" y="18"/>
                      <a:pt x="1" y="18"/>
                      <a:pt x="1" y="18"/>
                    </a:cubicBezTo>
                    <a:cubicBezTo>
                      <a:pt x="0" y="20"/>
                      <a:pt x="1" y="23"/>
                      <a:pt x="4" y="24"/>
                    </a:cubicBezTo>
                    <a:cubicBezTo>
                      <a:pt x="4" y="24"/>
                      <a:pt x="5" y="24"/>
                      <a:pt x="5" y="24"/>
                    </a:cubicBezTo>
                    <a:cubicBezTo>
                      <a:pt x="7" y="24"/>
                      <a:pt x="8" y="23"/>
                      <a:pt x="9" y="21"/>
                    </a:cubicBezTo>
                    <a:cubicBezTo>
                      <a:pt x="15" y="5"/>
                      <a:pt x="15" y="5"/>
                      <a:pt x="15" y="5"/>
                    </a:cubicBezTo>
                    <a:cubicBezTo>
                      <a:pt x="16" y="3"/>
                      <a:pt x="14" y="1"/>
                      <a:pt x="12" y="0"/>
                    </a:cubicBezTo>
                    <a:cubicBezTo>
                      <a:pt x="12" y="0"/>
                      <a:pt x="11" y="0"/>
                      <a:pt x="11" y="0"/>
                    </a:cubicBezTo>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2" name="ïSľiḑè">
                <a:extLst>
                  <a:ext uri="{FF2B5EF4-FFF2-40B4-BE49-F238E27FC236}">
                    <a16:creationId xmlns:a16="http://schemas.microsoft.com/office/drawing/2014/main" id="{822C5948-E138-4D43-B693-AC8E727A9C3B}"/>
                  </a:ext>
                </a:extLst>
              </p:cNvPr>
              <p:cNvSpPr/>
              <p:nvPr/>
            </p:nvSpPr>
            <p:spPr bwMode="auto">
              <a:xfrm>
                <a:off x="6408729" y="2738762"/>
                <a:ext cx="155112" cy="82560"/>
              </a:xfrm>
              <a:custGeom>
                <a:avLst/>
                <a:gdLst>
                  <a:gd name="T0" fmla="*/ 5 w 26"/>
                  <a:gd name="T1" fmla="*/ 0 h 14"/>
                  <a:gd name="T2" fmla="*/ 1 w 26"/>
                  <a:gd name="T3" fmla="*/ 3 h 14"/>
                  <a:gd name="T4" fmla="*/ 4 w 26"/>
                  <a:gd name="T5" fmla="*/ 8 h 14"/>
                  <a:gd name="T6" fmla="*/ 20 w 26"/>
                  <a:gd name="T7" fmla="*/ 14 h 14"/>
                  <a:gd name="T8" fmla="*/ 21 w 26"/>
                  <a:gd name="T9" fmla="*/ 14 h 14"/>
                  <a:gd name="T10" fmla="*/ 25 w 26"/>
                  <a:gd name="T11" fmla="*/ 12 h 14"/>
                  <a:gd name="T12" fmla="*/ 22 w 26"/>
                  <a:gd name="T13" fmla="*/ 6 h 14"/>
                  <a:gd name="T14" fmla="*/ 6 w 26"/>
                  <a:gd name="T15" fmla="*/ 1 h 14"/>
                  <a:gd name="T16" fmla="*/ 5 w 26"/>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4">
                    <a:moveTo>
                      <a:pt x="5" y="0"/>
                    </a:moveTo>
                    <a:cubicBezTo>
                      <a:pt x="3" y="0"/>
                      <a:pt x="2" y="1"/>
                      <a:pt x="1" y="3"/>
                    </a:cubicBezTo>
                    <a:cubicBezTo>
                      <a:pt x="0" y="5"/>
                      <a:pt x="1" y="7"/>
                      <a:pt x="4" y="8"/>
                    </a:cubicBezTo>
                    <a:cubicBezTo>
                      <a:pt x="20" y="14"/>
                      <a:pt x="20" y="14"/>
                      <a:pt x="20" y="14"/>
                    </a:cubicBezTo>
                    <a:cubicBezTo>
                      <a:pt x="20" y="14"/>
                      <a:pt x="21" y="14"/>
                      <a:pt x="21" y="14"/>
                    </a:cubicBezTo>
                    <a:cubicBezTo>
                      <a:pt x="23" y="14"/>
                      <a:pt x="24" y="13"/>
                      <a:pt x="25" y="12"/>
                    </a:cubicBezTo>
                    <a:cubicBezTo>
                      <a:pt x="26" y="10"/>
                      <a:pt x="25" y="7"/>
                      <a:pt x="22" y="6"/>
                    </a:cubicBezTo>
                    <a:cubicBezTo>
                      <a:pt x="6" y="1"/>
                      <a:pt x="6" y="1"/>
                      <a:pt x="6" y="1"/>
                    </a:cubicBezTo>
                    <a:cubicBezTo>
                      <a:pt x="6" y="0"/>
                      <a:pt x="5" y="0"/>
                      <a:pt x="5" y="0"/>
                    </a:cubicBezTo>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3" name="îšľïḓè">
                <a:extLst>
                  <a:ext uri="{FF2B5EF4-FFF2-40B4-BE49-F238E27FC236}">
                    <a16:creationId xmlns:a16="http://schemas.microsoft.com/office/drawing/2014/main" id="{6F788A77-AF30-4C4B-971C-78FB159A4E10}"/>
                  </a:ext>
                </a:extLst>
              </p:cNvPr>
              <p:cNvSpPr/>
              <p:nvPr/>
            </p:nvSpPr>
            <p:spPr bwMode="auto">
              <a:xfrm>
                <a:off x="5322940" y="3366716"/>
                <a:ext cx="135098" cy="267695"/>
              </a:xfrm>
              <a:custGeom>
                <a:avLst/>
                <a:gdLst>
                  <a:gd name="T0" fmla="*/ 18 w 23"/>
                  <a:gd name="T1" fmla="*/ 0 h 45"/>
                  <a:gd name="T2" fmla="*/ 14 w 23"/>
                  <a:gd name="T3" fmla="*/ 2 h 45"/>
                  <a:gd name="T4" fmla="*/ 0 w 23"/>
                  <a:gd name="T5" fmla="*/ 42 h 45"/>
                  <a:gd name="T6" fmla="*/ 2 w 23"/>
                  <a:gd name="T7" fmla="*/ 42 h 45"/>
                  <a:gd name="T8" fmla="*/ 7 w 23"/>
                  <a:gd name="T9" fmla="*/ 44 h 45"/>
                  <a:gd name="T10" fmla="*/ 8 w 23"/>
                  <a:gd name="T11" fmla="*/ 45 h 45"/>
                  <a:gd name="T12" fmla="*/ 22 w 23"/>
                  <a:gd name="T13" fmla="*/ 5 h 45"/>
                  <a:gd name="T14" fmla="*/ 19 w 23"/>
                  <a:gd name="T15" fmla="*/ 0 h 45"/>
                  <a:gd name="T16" fmla="*/ 18 w 2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5">
                    <a:moveTo>
                      <a:pt x="18" y="0"/>
                    </a:moveTo>
                    <a:cubicBezTo>
                      <a:pt x="16" y="0"/>
                      <a:pt x="15" y="1"/>
                      <a:pt x="14" y="2"/>
                    </a:cubicBezTo>
                    <a:cubicBezTo>
                      <a:pt x="0" y="42"/>
                      <a:pt x="0" y="42"/>
                      <a:pt x="0" y="42"/>
                    </a:cubicBezTo>
                    <a:cubicBezTo>
                      <a:pt x="1" y="42"/>
                      <a:pt x="1" y="42"/>
                      <a:pt x="2" y="42"/>
                    </a:cubicBezTo>
                    <a:cubicBezTo>
                      <a:pt x="4" y="42"/>
                      <a:pt x="6" y="43"/>
                      <a:pt x="7" y="44"/>
                    </a:cubicBezTo>
                    <a:cubicBezTo>
                      <a:pt x="7" y="45"/>
                      <a:pt x="7" y="45"/>
                      <a:pt x="8" y="45"/>
                    </a:cubicBezTo>
                    <a:cubicBezTo>
                      <a:pt x="22" y="5"/>
                      <a:pt x="22" y="5"/>
                      <a:pt x="22" y="5"/>
                    </a:cubicBezTo>
                    <a:cubicBezTo>
                      <a:pt x="23" y="3"/>
                      <a:pt x="22" y="1"/>
                      <a:pt x="19" y="0"/>
                    </a:cubicBezTo>
                    <a:cubicBezTo>
                      <a:pt x="19" y="0"/>
                      <a:pt x="18" y="0"/>
                      <a:pt x="18" y="0"/>
                    </a:cubicBezTo>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4" name="ïṣļîḓè">
                <a:extLst>
                  <a:ext uri="{FF2B5EF4-FFF2-40B4-BE49-F238E27FC236}">
                    <a16:creationId xmlns:a16="http://schemas.microsoft.com/office/drawing/2014/main" id="{5F049BE1-9D40-403A-B48E-3C6E34E04EB8}"/>
                  </a:ext>
                </a:extLst>
              </p:cNvPr>
              <p:cNvSpPr/>
              <p:nvPr/>
            </p:nvSpPr>
            <p:spPr bwMode="auto">
              <a:xfrm>
                <a:off x="5292919" y="3616898"/>
                <a:ext cx="82560" cy="77557"/>
              </a:xfrm>
              <a:custGeom>
                <a:avLst/>
                <a:gdLst>
                  <a:gd name="T0" fmla="*/ 7 w 14"/>
                  <a:gd name="T1" fmla="*/ 0 h 13"/>
                  <a:gd name="T2" fmla="*/ 5 w 14"/>
                  <a:gd name="T3" fmla="*/ 0 h 13"/>
                  <a:gd name="T4" fmla="*/ 3 w 14"/>
                  <a:gd name="T5" fmla="*/ 1 h 13"/>
                  <a:gd name="T6" fmla="*/ 2 w 14"/>
                  <a:gd name="T7" fmla="*/ 3 h 13"/>
                  <a:gd name="T8" fmla="*/ 2 w 14"/>
                  <a:gd name="T9" fmla="*/ 10 h 13"/>
                  <a:gd name="T10" fmla="*/ 3 w 14"/>
                  <a:gd name="T11" fmla="*/ 11 h 13"/>
                  <a:gd name="T12" fmla="*/ 7 w 14"/>
                  <a:gd name="T13" fmla="*/ 13 h 13"/>
                  <a:gd name="T14" fmla="*/ 11 w 14"/>
                  <a:gd name="T15" fmla="*/ 11 h 13"/>
                  <a:gd name="T16" fmla="*/ 13 w 14"/>
                  <a:gd name="T17" fmla="*/ 3 h 13"/>
                  <a:gd name="T18" fmla="*/ 12 w 14"/>
                  <a:gd name="T19" fmla="*/ 2 h 13"/>
                  <a:gd name="T20" fmla="*/ 7 w 14"/>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3">
                    <a:moveTo>
                      <a:pt x="7" y="0"/>
                    </a:moveTo>
                    <a:cubicBezTo>
                      <a:pt x="6" y="0"/>
                      <a:pt x="6" y="0"/>
                      <a:pt x="5" y="0"/>
                    </a:cubicBezTo>
                    <a:cubicBezTo>
                      <a:pt x="4" y="1"/>
                      <a:pt x="4" y="1"/>
                      <a:pt x="3" y="1"/>
                    </a:cubicBezTo>
                    <a:cubicBezTo>
                      <a:pt x="3" y="2"/>
                      <a:pt x="2" y="2"/>
                      <a:pt x="2" y="3"/>
                    </a:cubicBezTo>
                    <a:cubicBezTo>
                      <a:pt x="0" y="5"/>
                      <a:pt x="0" y="8"/>
                      <a:pt x="2" y="10"/>
                    </a:cubicBezTo>
                    <a:cubicBezTo>
                      <a:pt x="2" y="11"/>
                      <a:pt x="3" y="11"/>
                      <a:pt x="3" y="11"/>
                    </a:cubicBezTo>
                    <a:cubicBezTo>
                      <a:pt x="4" y="12"/>
                      <a:pt x="6" y="13"/>
                      <a:pt x="7" y="13"/>
                    </a:cubicBezTo>
                    <a:cubicBezTo>
                      <a:pt x="9" y="13"/>
                      <a:pt x="10" y="12"/>
                      <a:pt x="11" y="11"/>
                    </a:cubicBezTo>
                    <a:cubicBezTo>
                      <a:pt x="14" y="9"/>
                      <a:pt x="14" y="6"/>
                      <a:pt x="13" y="3"/>
                    </a:cubicBezTo>
                    <a:cubicBezTo>
                      <a:pt x="12" y="3"/>
                      <a:pt x="12" y="3"/>
                      <a:pt x="12" y="2"/>
                    </a:cubicBezTo>
                    <a:cubicBezTo>
                      <a:pt x="11" y="1"/>
                      <a:pt x="9" y="0"/>
                      <a:pt x="7" y="0"/>
                    </a:cubicBezTo>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5" name="îṥ1îḓè">
                <a:extLst>
                  <a:ext uri="{FF2B5EF4-FFF2-40B4-BE49-F238E27FC236}">
                    <a16:creationId xmlns:a16="http://schemas.microsoft.com/office/drawing/2014/main" id="{6FA84F93-CE23-45A8-9859-70B1933D8F1D}"/>
                  </a:ext>
                </a:extLst>
              </p:cNvPr>
              <p:cNvSpPr/>
              <p:nvPr/>
            </p:nvSpPr>
            <p:spPr bwMode="auto">
              <a:xfrm>
                <a:off x="5553107" y="3361713"/>
                <a:ext cx="130095" cy="112582"/>
              </a:xfrm>
              <a:custGeom>
                <a:avLst/>
                <a:gdLst>
                  <a:gd name="T0" fmla="*/ 18 w 22"/>
                  <a:gd name="T1" fmla="*/ 0 h 19"/>
                  <a:gd name="T2" fmla="*/ 15 w 22"/>
                  <a:gd name="T3" fmla="*/ 1 h 19"/>
                  <a:gd name="T4" fmla="*/ 2 w 22"/>
                  <a:gd name="T5" fmla="*/ 12 h 19"/>
                  <a:gd name="T6" fmla="*/ 2 w 22"/>
                  <a:gd name="T7" fmla="*/ 17 h 19"/>
                  <a:gd name="T8" fmla="*/ 5 w 22"/>
                  <a:gd name="T9" fmla="*/ 19 h 19"/>
                  <a:gd name="T10" fmla="*/ 7 w 22"/>
                  <a:gd name="T11" fmla="*/ 18 h 19"/>
                  <a:gd name="T12" fmla="*/ 20 w 22"/>
                  <a:gd name="T13" fmla="*/ 7 h 19"/>
                  <a:gd name="T14" fmla="*/ 21 w 22"/>
                  <a:gd name="T15" fmla="*/ 1 h 19"/>
                  <a:gd name="T16" fmla="*/ 18 w 22"/>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9">
                    <a:moveTo>
                      <a:pt x="18" y="0"/>
                    </a:moveTo>
                    <a:cubicBezTo>
                      <a:pt x="17" y="0"/>
                      <a:pt x="16" y="0"/>
                      <a:pt x="15" y="1"/>
                    </a:cubicBezTo>
                    <a:cubicBezTo>
                      <a:pt x="2" y="12"/>
                      <a:pt x="2" y="12"/>
                      <a:pt x="2" y="12"/>
                    </a:cubicBezTo>
                    <a:cubicBezTo>
                      <a:pt x="0" y="13"/>
                      <a:pt x="0" y="16"/>
                      <a:pt x="2" y="17"/>
                    </a:cubicBezTo>
                    <a:cubicBezTo>
                      <a:pt x="2" y="18"/>
                      <a:pt x="3" y="19"/>
                      <a:pt x="5" y="19"/>
                    </a:cubicBezTo>
                    <a:cubicBezTo>
                      <a:pt x="6" y="19"/>
                      <a:pt x="7" y="19"/>
                      <a:pt x="7" y="18"/>
                    </a:cubicBezTo>
                    <a:cubicBezTo>
                      <a:pt x="20" y="7"/>
                      <a:pt x="20" y="7"/>
                      <a:pt x="20" y="7"/>
                    </a:cubicBezTo>
                    <a:cubicBezTo>
                      <a:pt x="22" y="5"/>
                      <a:pt x="22" y="3"/>
                      <a:pt x="21" y="1"/>
                    </a:cubicBezTo>
                    <a:cubicBezTo>
                      <a:pt x="20" y="0"/>
                      <a:pt x="19" y="0"/>
                      <a:pt x="18" y="0"/>
                    </a:cubicBezTo>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06" name="ïṡḻïḋê">
                <a:extLst>
                  <a:ext uri="{FF2B5EF4-FFF2-40B4-BE49-F238E27FC236}">
                    <a16:creationId xmlns:a16="http://schemas.microsoft.com/office/drawing/2014/main" id="{1EDF1459-7EA4-429F-B62D-DDEFE7947808}"/>
                  </a:ext>
                </a:extLst>
              </p:cNvPr>
              <p:cNvSpPr/>
              <p:nvPr/>
            </p:nvSpPr>
            <p:spPr bwMode="auto">
              <a:xfrm>
                <a:off x="5588133" y="3119038"/>
                <a:ext cx="980712" cy="835606"/>
              </a:xfrm>
              <a:custGeom>
                <a:avLst/>
                <a:gdLst>
                  <a:gd name="T0" fmla="*/ 165 w 165"/>
                  <a:gd name="T1" fmla="*/ 107 h 141"/>
                  <a:gd name="T2" fmla="*/ 131 w 165"/>
                  <a:gd name="T3" fmla="*/ 141 h 141"/>
                  <a:gd name="T4" fmla="*/ 34 w 165"/>
                  <a:gd name="T5" fmla="*/ 141 h 141"/>
                  <a:gd name="T6" fmla="*/ 0 w 165"/>
                  <a:gd name="T7" fmla="*/ 107 h 141"/>
                  <a:gd name="T8" fmla="*/ 0 w 165"/>
                  <a:gd name="T9" fmla="*/ 34 h 141"/>
                  <a:gd name="T10" fmla="*/ 34 w 165"/>
                  <a:gd name="T11" fmla="*/ 0 h 141"/>
                  <a:gd name="T12" fmla="*/ 131 w 165"/>
                  <a:gd name="T13" fmla="*/ 0 h 141"/>
                  <a:gd name="T14" fmla="*/ 165 w 165"/>
                  <a:gd name="T15" fmla="*/ 34 h 141"/>
                  <a:gd name="T16" fmla="*/ 165 w 165"/>
                  <a:gd name="T17" fmla="*/ 10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41">
                    <a:moveTo>
                      <a:pt x="165" y="107"/>
                    </a:moveTo>
                    <a:cubicBezTo>
                      <a:pt x="165" y="126"/>
                      <a:pt x="149" y="141"/>
                      <a:pt x="131" y="141"/>
                    </a:cubicBezTo>
                    <a:cubicBezTo>
                      <a:pt x="34" y="141"/>
                      <a:pt x="34" y="141"/>
                      <a:pt x="34" y="141"/>
                    </a:cubicBezTo>
                    <a:cubicBezTo>
                      <a:pt x="15" y="141"/>
                      <a:pt x="0" y="126"/>
                      <a:pt x="0" y="107"/>
                    </a:cubicBezTo>
                    <a:cubicBezTo>
                      <a:pt x="0" y="34"/>
                      <a:pt x="0" y="34"/>
                      <a:pt x="0" y="34"/>
                    </a:cubicBezTo>
                    <a:cubicBezTo>
                      <a:pt x="0" y="15"/>
                      <a:pt x="15" y="0"/>
                      <a:pt x="34" y="0"/>
                    </a:cubicBezTo>
                    <a:cubicBezTo>
                      <a:pt x="131" y="0"/>
                      <a:pt x="131" y="0"/>
                      <a:pt x="131" y="0"/>
                    </a:cubicBezTo>
                    <a:cubicBezTo>
                      <a:pt x="149" y="0"/>
                      <a:pt x="165" y="15"/>
                      <a:pt x="165" y="34"/>
                    </a:cubicBezTo>
                    <a:lnTo>
                      <a:pt x="165" y="107"/>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107" name="işḷiḋe">
                <a:extLst>
                  <a:ext uri="{FF2B5EF4-FFF2-40B4-BE49-F238E27FC236}">
                    <a16:creationId xmlns:a16="http://schemas.microsoft.com/office/drawing/2014/main" id="{3AA205DA-D2E0-48D4-A2A8-550C9EE1E9EE}"/>
                  </a:ext>
                </a:extLst>
              </p:cNvPr>
              <p:cNvSpPr/>
              <p:nvPr/>
            </p:nvSpPr>
            <p:spPr bwMode="auto">
              <a:xfrm>
                <a:off x="5453034" y="4552577"/>
                <a:ext cx="65047" cy="943185"/>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endParaRPr/>
              </a:p>
            </p:txBody>
          </p:sp>
          <p:sp>
            <p:nvSpPr>
              <p:cNvPr id="108" name="ïšľïďe">
                <a:extLst>
                  <a:ext uri="{FF2B5EF4-FFF2-40B4-BE49-F238E27FC236}">
                    <a16:creationId xmlns:a16="http://schemas.microsoft.com/office/drawing/2014/main" id="{FC2DC026-4A7B-49DB-8937-A083069CD386}"/>
                  </a:ext>
                </a:extLst>
              </p:cNvPr>
              <p:cNvSpPr/>
              <p:nvPr/>
            </p:nvSpPr>
            <p:spPr bwMode="auto">
              <a:xfrm>
                <a:off x="6668917" y="4552577"/>
                <a:ext cx="65047" cy="943185"/>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endParaRPr/>
              </a:p>
            </p:txBody>
          </p:sp>
          <p:sp>
            <p:nvSpPr>
              <p:cNvPr id="109" name="îṣļîḓê">
                <a:extLst>
                  <a:ext uri="{FF2B5EF4-FFF2-40B4-BE49-F238E27FC236}">
                    <a16:creationId xmlns:a16="http://schemas.microsoft.com/office/drawing/2014/main" id="{AFD7598B-1855-47B5-BF7C-AE2E6FF9C24F}"/>
                  </a:ext>
                </a:extLst>
              </p:cNvPr>
              <p:cNvSpPr/>
              <p:nvPr/>
            </p:nvSpPr>
            <p:spPr bwMode="auto">
              <a:xfrm>
                <a:off x="5387987" y="4660156"/>
                <a:ext cx="1383505" cy="125090"/>
              </a:xfrm>
              <a:custGeom>
                <a:avLst/>
                <a:gdLst>
                  <a:gd name="T0" fmla="*/ 233 w 233"/>
                  <a:gd name="T1" fmla="*/ 11 h 21"/>
                  <a:gd name="T2" fmla="*/ 223 w 233"/>
                  <a:gd name="T3" fmla="*/ 21 h 21"/>
                  <a:gd name="T4" fmla="*/ 10 w 233"/>
                  <a:gd name="T5" fmla="*/ 21 h 21"/>
                  <a:gd name="T6" fmla="*/ 0 w 233"/>
                  <a:gd name="T7" fmla="*/ 11 h 21"/>
                  <a:gd name="T8" fmla="*/ 10 w 233"/>
                  <a:gd name="T9" fmla="*/ 0 h 21"/>
                  <a:gd name="T10" fmla="*/ 223 w 233"/>
                  <a:gd name="T11" fmla="*/ 0 h 21"/>
                  <a:gd name="T12" fmla="*/ 233 w 233"/>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233" h="21">
                    <a:moveTo>
                      <a:pt x="233" y="11"/>
                    </a:moveTo>
                    <a:cubicBezTo>
                      <a:pt x="233" y="16"/>
                      <a:pt x="229" y="21"/>
                      <a:pt x="223" y="21"/>
                    </a:cubicBezTo>
                    <a:cubicBezTo>
                      <a:pt x="10" y="21"/>
                      <a:pt x="10" y="21"/>
                      <a:pt x="10" y="21"/>
                    </a:cubicBezTo>
                    <a:cubicBezTo>
                      <a:pt x="5" y="21"/>
                      <a:pt x="0" y="16"/>
                      <a:pt x="0" y="11"/>
                    </a:cubicBezTo>
                    <a:cubicBezTo>
                      <a:pt x="0" y="5"/>
                      <a:pt x="5" y="0"/>
                      <a:pt x="10" y="0"/>
                    </a:cubicBezTo>
                    <a:cubicBezTo>
                      <a:pt x="223" y="0"/>
                      <a:pt x="223" y="0"/>
                      <a:pt x="223" y="0"/>
                    </a:cubicBezTo>
                    <a:cubicBezTo>
                      <a:pt x="229" y="0"/>
                      <a:pt x="233" y="5"/>
                      <a:pt x="233" y="11"/>
                    </a:cubicBez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10" name="íšlíḍê">
                <a:extLst>
                  <a:ext uri="{FF2B5EF4-FFF2-40B4-BE49-F238E27FC236}">
                    <a16:creationId xmlns:a16="http://schemas.microsoft.com/office/drawing/2014/main" id="{B37E6C89-E5D5-4474-A691-77E46BE89604}"/>
                  </a:ext>
                </a:extLst>
              </p:cNvPr>
              <p:cNvSpPr/>
              <p:nvPr/>
            </p:nvSpPr>
            <p:spPr bwMode="auto">
              <a:xfrm>
                <a:off x="5570619" y="4274876"/>
                <a:ext cx="1020741" cy="432815"/>
              </a:xfrm>
              <a:custGeom>
                <a:avLst/>
                <a:gdLst>
                  <a:gd name="T0" fmla="*/ 172 w 172"/>
                  <a:gd name="T1" fmla="*/ 34 h 73"/>
                  <a:gd name="T2" fmla="*/ 138 w 172"/>
                  <a:gd name="T3" fmla="*/ 0 h 73"/>
                  <a:gd name="T4" fmla="*/ 33 w 172"/>
                  <a:gd name="T5" fmla="*/ 0 h 73"/>
                  <a:gd name="T6" fmla="*/ 0 w 172"/>
                  <a:gd name="T7" fmla="*/ 34 h 73"/>
                  <a:gd name="T8" fmla="*/ 0 w 172"/>
                  <a:gd name="T9" fmla="*/ 54 h 73"/>
                  <a:gd name="T10" fmla="*/ 33 w 172"/>
                  <a:gd name="T11" fmla="*/ 40 h 73"/>
                  <a:gd name="T12" fmla="*/ 138 w 172"/>
                  <a:gd name="T13" fmla="*/ 40 h 73"/>
                  <a:gd name="T14" fmla="*/ 172 w 172"/>
                  <a:gd name="T15" fmla="*/ 54 h 73"/>
                  <a:gd name="T16" fmla="*/ 172 w 172"/>
                  <a:gd name="T17"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73">
                    <a:moveTo>
                      <a:pt x="172" y="34"/>
                    </a:moveTo>
                    <a:cubicBezTo>
                      <a:pt x="172" y="15"/>
                      <a:pt x="157" y="0"/>
                      <a:pt x="138" y="0"/>
                    </a:cubicBezTo>
                    <a:cubicBezTo>
                      <a:pt x="33" y="0"/>
                      <a:pt x="33" y="0"/>
                      <a:pt x="33" y="0"/>
                    </a:cubicBezTo>
                    <a:cubicBezTo>
                      <a:pt x="15" y="0"/>
                      <a:pt x="0" y="15"/>
                      <a:pt x="0" y="34"/>
                    </a:cubicBezTo>
                    <a:cubicBezTo>
                      <a:pt x="0" y="54"/>
                      <a:pt x="0" y="54"/>
                      <a:pt x="0" y="54"/>
                    </a:cubicBezTo>
                    <a:cubicBezTo>
                      <a:pt x="0" y="73"/>
                      <a:pt x="15" y="40"/>
                      <a:pt x="33" y="40"/>
                    </a:cubicBezTo>
                    <a:cubicBezTo>
                      <a:pt x="138" y="40"/>
                      <a:pt x="138" y="40"/>
                      <a:pt x="138" y="40"/>
                    </a:cubicBezTo>
                    <a:cubicBezTo>
                      <a:pt x="157" y="40"/>
                      <a:pt x="172" y="73"/>
                      <a:pt x="172" y="54"/>
                    </a:cubicBezTo>
                    <a:lnTo>
                      <a:pt x="172" y="34"/>
                    </a:lnTo>
                    <a:close/>
                  </a:path>
                </a:pathLst>
              </a:custGeom>
              <a:solidFill>
                <a:srgbClr val="4FA4B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111" name="ï$liḋè">
                <a:extLst>
                  <a:ext uri="{FF2B5EF4-FFF2-40B4-BE49-F238E27FC236}">
                    <a16:creationId xmlns:a16="http://schemas.microsoft.com/office/drawing/2014/main" id="{E6DF308C-6995-4B7D-A80A-766E11160173}"/>
                  </a:ext>
                </a:extLst>
              </p:cNvPr>
              <p:cNvSpPr/>
              <p:nvPr/>
            </p:nvSpPr>
            <p:spPr bwMode="auto">
              <a:xfrm>
                <a:off x="6176059" y="4434992"/>
                <a:ext cx="415302" cy="1108305"/>
              </a:xfrm>
              <a:custGeom>
                <a:avLst/>
                <a:gdLst>
                  <a:gd name="T0" fmla="*/ 70 w 70"/>
                  <a:gd name="T1" fmla="*/ 187 h 187"/>
                  <a:gd name="T2" fmla="*/ 70 w 70"/>
                  <a:gd name="T3" fmla="*/ 138 h 187"/>
                  <a:gd name="T4" fmla="*/ 70 w 70"/>
                  <a:gd name="T5" fmla="*/ 0 h 187"/>
                  <a:gd name="T6" fmla="*/ 35 w 70"/>
                  <a:gd name="T7" fmla="*/ 13 h 187"/>
                  <a:gd name="T8" fmla="*/ 0 w 70"/>
                  <a:gd name="T9" fmla="*/ 0 h 187"/>
                  <a:gd name="T10" fmla="*/ 0 w 70"/>
                  <a:gd name="T11" fmla="*/ 138 h 187"/>
                  <a:gd name="T12" fmla="*/ 0 w 70"/>
                  <a:gd name="T13" fmla="*/ 187 h 187"/>
                  <a:gd name="T14" fmla="*/ 70 w 70"/>
                  <a:gd name="T15" fmla="*/ 187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87">
                    <a:moveTo>
                      <a:pt x="70" y="187"/>
                    </a:moveTo>
                    <a:cubicBezTo>
                      <a:pt x="70" y="185"/>
                      <a:pt x="70" y="187"/>
                      <a:pt x="70" y="138"/>
                    </a:cubicBezTo>
                    <a:cubicBezTo>
                      <a:pt x="70" y="0"/>
                      <a:pt x="70" y="0"/>
                      <a:pt x="70" y="0"/>
                    </a:cubicBezTo>
                    <a:cubicBezTo>
                      <a:pt x="70" y="28"/>
                      <a:pt x="55" y="13"/>
                      <a:pt x="35" y="13"/>
                    </a:cubicBezTo>
                    <a:cubicBezTo>
                      <a:pt x="16" y="13"/>
                      <a:pt x="0" y="28"/>
                      <a:pt x="0" y="0"/>
                    </a:cubicBezTo>
                    <a:cubicBezTo>
                      <a:pt x="0" y="138"/>
                      <a:pt x="0" y="138"/>
                      <a:pt x="0" y="138"/>
                    </a:cubicBezTo>
                    <a:cubicBezTo>
                      <a:pt x="0" y="187"/>
                      <a:pt x="0" y="185"/>
                      <a:pt x="0" y="187"/>
                    </a:cubicBezTo>
                    <a:cubicBezTo>
                      <a:pt x="70" y="187"/>
                      <a:pt x="70" y="187"/>
                      <a:pt x="70" y="187"/>
                    </a:cubicBezTo>
                  </a:path>
                </a:pathLst>
              </a:custGeom>
              <a:solidFill>
                <a:srgbClr val="055275"/>
              </a:solidFill>
              <a:ln>
                <a:noFill/>
              </a:ln>
            </p:spPr>
            <p:txBody>
              <a:bodyPr wrap="square" lIns="91440" tIns="45720" rIns="91440" bIns="45720" anchor="ctr">
                <a:normAutofit/>
              </a:bodyPr>
              <a:lstStyle/>
              <a:p>
                <a:pPr algn="ctr"/>
                <a:endParaRPr/>
              </a:p>
            </p:txBody>
          </p:sp>
          <p:sp>
            <p:nvSpPr>
              <p:cNvPr id="112" name="îṣļîḓê">
                <a:extLst>
                  <a:ext uri="{FF2B5EF4-FFF2-40B4-BE49-F238E27FC236}">
                    <a16:creationId xmlns:a16="http://schemas.microsoft.com/office/drawing/2014/main" id="{EF1EC0C2-70C5-4AF5-996E-FB42C6F59EB5}"/>
                  </a:ext>
                </a:extLst>
              </p:cNvPr>
              <p:cNvSpPr/>
              <p:nvPr/>
            </p:nvSpPr>
            <p:spPr bwMode="auto">
              <a:xfrm>
                <a:off x="6146037" y="5543295"/>
                <a:ext cx="482851" cy="315229"/>
              </a:xfrm>
              <a:custGeom>
                <a:avLst/>
                <a:gdLst>
                  <a:gd name="T0" fmla="*/ 81 w 81"/>
                  <a:gd name="T1" fmla="*/ 27 h 53"/>
                  <a:gd name="T2" fmla="*/ 55 w 81"/>
                  <a:gd name="T3" fmla="*/ 53 h 53"/>
                  <a:gd name="T4" fmla="*/ 25 w 81"/>
                  <a:gd name="T5" fmla="*/ 53 h 53"/>
                  <a:gd name="T6" fmla="*/ 0 w 81"/>
                  <a:gd name="T7" fmla="*/ 27 h 53"/>
                  <a:gd name="T8" fmla="*/ 11 w 81"/>
                  <a:gd name="T9" fmla="*/ 0 h 53"/>
                  <a:gd name="T10" fmla="*/ 66 w 81"/>
                  <a:gd name="T11" fmla="*/ 0 h 53"/>
                  <a:gd name="T12" fmla="*/ 81 w 81"/>
                  <a:gd name="T13" fmla="*/ 27 h 53"/>
                </a:gdLst>
                <a:ahLst/>
                <a:cxnLst>
                  <a:cxn ang="0">
                    <a:pos x="T0" y="T1"/>
                  </a:cxn>
                  <a:cxn ang="0">
                    <a:pos x="T2" y="T3"/>
                  </a:cxn>
                  <a:cxn ang="0">
                    <a:pos x="T4" y="T5"/>
                  </a:cxn>
                  <a:cxn ang="0">
                    <a:pos x="T6" y="T7"/>
                  </a:cxn>
                  <a:cxn ang="0">
                    <a:pos x="T8" y="T9"/>
                  </a:cxn>
                  <a:cxn ang="0">
                    <a:pos x="T10" y="T11"/>
                  </a:cxn>
                  <a:cxn ang="0">
                    <a:pos x="T12" y="T13"/>
                  </a:cxn>
                </a:cxnLst>
                <a:rect l="0" t="0" r="r" b="b"/>
                <a:pathLst>
                  <a:path w="81" h="53">
                    <a:moveTo>
                      <a:pt x="81" y="27"/>
                    </a:moveTo>
                    <a:cubicBezTo>
                      <a:pt x="81" y="42"/>
                      <a:pt x="69" y="53"/>
                      <a:pt x="55" y="53"/>
                    </a:cubicBezTo>
                    <a:cubicBezTo>
                      <a:pt x="25" y="53"/>
                      <a:pt x="25" y="53"/>
                      <a:pt x="25" y="53"/>
                    </a:cubicBezTo>
                    <a:cubicBezTo>
                      <a:pt x="11" y="53"/>
                      <a:pt x="0" y="42"/>
                      <a:pt x="0" y="27"/>
                    </a:cubicBezTo>
                    <a:cubicBezTo>
                      <a:pt x="0" y="13"/>
                      <a:pt x="7" y="9"/>
                      <a:pt x="11" y="0"/>
                    </a:cubicBezTo>
                    <a:cubicBezTo>
                      <a:pt x="66" y="0"/>
                      <a:pt x="66" y="0"/>
                      <a:pt x="66" y="0"/>
                    </a:cubicBezTo>
                    <a:cubicBezTo>
                      <a:pt x="75" y="11"/>
                      <a:pt x="81" y="13"/>
                      <a:pt x="81" y="27"/>
                    </a:cubicBezTo>
                  </a:path>
                </a:pathLst>
              </a:custGeom>
              <a:solidFill>
                <a:srgbClr val="7839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13" name="îṣľîďê">
                <a:extLst>
                  <a:ext uri="{FF2B5EF4-FFF2-40B4-BE49-F238E27FC236}">
                    <a16:creationId xmlns:a16="http://schemas.microsoft.com/office/drawing/2014/main" id="{B96FDB77-95FA-4C78-8C16-80E0BA0777C2}"/>
                  </a:ext>
                </a:extLst>
              </p:cNvPr>
              <p:cNvSpPr/>
              <p:nvPr/>
            </p:nvSpPr>
            <p:spPr bwMode="auto">
              <a:xfrm>
                <a:off x="6213587" y="5543295"/>
                <a:ext cx="330240" cy="5003"/>
              </a:xfrm>
              <a:custGeom>
                <a:avLst/>
                <a:gdLst>
                  <a:gd name="T0" fmla="*/ 0 w 56"/>
                  <a:gd name="T1" fmla="*/ 1 h 1"/>
                  <a:gd name="T2" fmla="*/ 0 w 56"/>
                  <a:gd name="T3" fmla="*/ 1 h 1"/>
                  <a:gd name="T4" fmla="*/ 0 w 56"/>
                  <a:gd name="T5" fmla="*/ 1 h 1"/>
                  <a:gd name="T6" fmla="*/ 0 w 56"/>
                  <a:gd name="T7" fmla="*/ 1 h 1"/>
                  <a:gd name="T8" fmla="*/ 0 w 56"/>
                  <a:gd name="T9" fmla="*/ 1 h 1"/>
                  <a:gd name="T10" fmla="*/ 0 w 56"/>
                  <a:gd name="T11" fmla="*/ 1 h 1"/>
                  <a:gd name="T12" fmla="*/ 0 w 56"/>
                  <a:gd name="T13" fmla="*/ 1 h 1"/>
                  <a:gd name="T14" fmla="*/ 0 w 56"/>
                  <a:gd name="T15" fmla="*/ 1 h 1"/>
                  <a:gd name="T16" fmla="*/ 0 w 56"/>
                  <a:gd name="T17" fmla="*/ 1 h 1"/>
                  <a:gd name="T18" fmla="*/ 0 w 56"/>
                  <a:gd name="T19" fmla="*/ 1 h 1"/>
                  <a:gd name="T20" fmla="*/ 0 w 56"/>
                  <a:gd name="T21" fmla="*/ 1 h 1"/>
                  <a:gd name="T22" fmla="*/ 0 w 56"/>
                  <a:gd name="T23" fmla="*/ 1 h 1"/>
                  <a:gd name="T24" fmla="*/ 0 w 56"/>
                  <a:gd name="T25" fmla="*/ 0 h 1"/>
                  <a:gd name="T26" fmla="*/ 0 w 56"/>
                  <a:gd name="T27" fmla="*/ 0 h 1"/>
                  <a:gd name="T28" fmla="*/ 0 w 56"/>
                  <a:gd name="T29" fmla="*/ 0 h 1"/>
                  <a:gd name="T30" fmla="*/ 0 w 56"/>
                  <a:gd name="T31" fmla="*/ 0 h 1"/>
                  <a:gd name="T32" fmla="*/ 0 w 56"/>
                  <a:gd name="T33" fmla="*/ 0 h 1"/>
                  <a:gd name="T34" fmla="*/ 0 w 56"/>
                  <a:gd name="T35" fmla="*/ 0 h 1"/>
                  <a:gd name="T36" fmla="*/ 0 w 56"/>
                  <a:gd name="T37" fmla="*/ 0 h 1"/>
                  <a:gd name="T38" fmla="*/ 0 w 56"/>
                  <a:gd name="T39" fmla="*/ 0 h 1"/>
                  <a:gd name="T40" fmla="*/ 0 w 56"/>
                  <a:gd name="T41" fmla="*/ 0 h 1"/>
                  <a:gd name="T42" fmla="*/ 0 w 56"/>
                  <a:gd name="T43" fmla="*/ 0 h 1"/>
                  <a:gd name="T44" fmla="*/ 55 w 56"/>
                  <a:gd name="T45" fmla="*/ 0 h 1"/>
                  <a:gd name="T46" fmla="*/ 55 w 56"/>
                  <a:gd name="T47" fmla="*/ 0 h 1"/>
                  <a:gd name="T48" fmla="*/ 56 w 56"/>
                  <a:gd name="T49" fmla="*/ 1 h 1"/>
                  <a:gd name="T50" fmla="*/ 55 w 56"/>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1">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moveTo>
                      <a:pt x="55" y="0"/>
                    </a:moveTo>
                    <a:cubicBezTo>
                      <a:pt x="55" y="0"/>
                      <a:pt x="55" y="0"/>
                      <a:pt x="55" y="0"/>
                    </a:cubicBezTo>
                    <a:cubicBezTo>
                      <a:pt x="55" y="0"/>
                      <a:pt x="55" y="1"/>
                      <a:pt x="56" y="1"/>
                    </a:cubicBezTo>
                    <a:cubicBezTo>
                      <a:pt x="55" y="1"/>
                      <a:pt x="55" y="0"/>
                      <a:pt x="5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14" name="ïšļïde">
                <a:extLst>
                  <a:ext uri="{FF2B5EF4-FFF2-40B4-BE49-F238E27FC236}">
                    <a16:creationId xmlns:a16="http://schemas.microsoft.com/office/drawing/2014/main" id="{0492E98A-7E6B-4FFF-A26F-07DCBAA5BBED}"/>
                  </a:ext>
                </a:extLst>
              </p:cNvPr>
              <p:cNvSpPr/>
              <p:nvPr/>
            </p:nvSpPr>
            <p:spPr bwMode="auto">
              <a:xfrm>
                <a:off x="6183565" y="5543295"/>
                <a:ext cx="402794" cy="52539"/>
              </a:xfrm>
              <a:custGeom>
                <a:avLst/>
                <a:gdLst>
                  <a:gd name="T0" fmla="*/ 60 w 68"/>
                  <a:gd name="T1" fmla="*/ 0 h 9"/>
                  <a:gd name="T2" fmla="*/ 5 w 68"/>
                  <a:gd name="T3" fmla="*/ 0 h 9"/>
                  <a:gd name="T4" fmla="*/ 5 w 68"/>
                  <a:gd name="T5" fmla="*/ 0 h 9"/>
                  <a:gd name="T6" fmla="*/ 5 w 68"/>
                  <a:gd name="T7" fmla="*/ 0 h 9"/>
                  <a:gd name="T8" fmla="*/ 5 w 68"/>
                  <a:gd name="T9" fmla="*/ 0 h 9"/>
                  <a:gd name="T10" fmla="*/ 5 w 68"/>
                  <a:gd name="T11" fmla="*/ 0 h 9"/>
                  <a:gd name="T12" fmla="*/ 5 w 68"/>
                  <a:gd name="T13" fmla="*/ 0 h 9"/>
                  <a:gd name="T14" fmla="*/ 5 w 68"/>
                  <a:gd name="T15" fmla="*/ 0 h 9"/>
                  <a:gd name="T16" fmla="*/ 5 w 68"/>
                  <a:gd name="T17" fmla="*/ 1 h 9"/>
                  <a:gd name="T18" fmla="*/ 5 w 68"/>
                  <a:gd name="T19" fmla="*/ 1 h 9"/>
                  <a:gd name="T20" fmla="*/ 5 w 68"/>
                  <a:gd name="T21" fmla="*/ 1 h 9"/>
                  <a:gd name="T22" fmla="*/ 5 w 68"/>
                  <a:gd name="T23" fmla="*/ 1 h 9"/>
                  <a:gd name="T24" fmla="*/ 5 w 68"/>
                  <a:gd name="T25" fmla="*/ 1 h 9"/>
                  <a:gd name="T26" fmla="*/ 5 w 68"/>
                  <a:gd name="T27" fmla="*/ 1 h 9"/>
                  <a:gd name="T28" fmla="*/ 5 w 68"/>
                  <a:gd name="T29" fmla="*/ 1 h 9"/>
                  <a:gd name="T30" fmla="*/ 5 w 68"/>
                  <a:gd name="T31" fmla="*/ 1 h 9"/>
                  <a:gd name="T32" fmla="*/ 0 w 68"/>
                  <a:gd name="T33" fmla="*/ 9 h 9"/>
                  <a:gd name="T34" fmla="*/ 68 w 68"/>
                  <a:gd name="T35" fmla="*/ 9 h 9"/>
                  <a:gd name="T36" fmla="*/ 61 w 68"/>
                  <a:gd name="T37" fmla="*/ 1 h 9"/>
                  <a:gd name="T38" fmla="*/ 60 w 68"/>
                  <a:gd name="T39" fmla="*/ 0 h 9"/>
                  <a:gd name="T40" fmla="*/ 60 w 68"/>
                  <a:gd name="T4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9">
                    <a:moveTo>
                      <a:pt x="60" y="0"/>
                    </a:move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0"/>
                      <a:pt x="5" y="0"/>
                      <a:pt x="5" y="0"/>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3" y="4"/>
                      <a:pt x="1" y="6"/>
                      <a:pt x="0" y="9"/>
                    </a:cubicBezTo>
                    <a:cubicBezTo>
                      <a:pt x="68" y="9"/>
                      <a:pt x="68" y="9"/>
                      <a:pt x="68" y="9"/>
                    </a:cubicBezTo>
                    <a:cubicBezTo>
                      <a:pt x="66" y="7"/>
                      <a:pt x="63" y="4"/>
                      <a:pt x="61" y="1"/>
                    </a:cubicBezTo>
                    <a:cubicBezTo>
                      <a:pt x="60" y="1"/>
                      <a:pt x="60" y="0"/>
                      <a:pt x="60" y="0"/>
                    </a:cubicBezTo>
                    <a:cubicBezTo>
                      <a:pt x="60" y="0"/>
                      <a:pt x="60" y="0"/>
                      <a:pt x="60" y="0"/>
                    </a:cubicBezTo>
                  </a:path>
                </a:pathLst>
              </a:custGeom>
              <a:solidFill>
                <a:srgbClr val="66313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15" name="îṡļiḓè">
                <a:extLst>
                  <a:ext uri="{FF2B5EF4-FFF2-40B4-BE49-F238E27FC236}">
                    <a16:creationId xmlns:a16="http://schemas.microsoft.com/office/drawing/2014/main" id="{28368DC0-5150-4521-867E-A7589CA116C3}"/>
                  </a:ext>
                </a:extLst>
              </p:cNvPr>
              <p:cNvSpPr/>
              <p:nvPr/>
            </p:nvSpPr>
            <p:spPr bwMode="auto">
              <a:xfrm>
                <a:off x="4389762" y="4607617"/>
                <a:ext cx="165120" cy="1398515"/>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endParaRPr/>
              </a:p>
            </p:txBody>
          </p:sp>
          <p:sp>
            <p:nvSpPr>
              <p:cNvPr id="116" name="îṧļïḋê">
                <a:extLst>
                  <a:ext uri="{FF2B5EF4-FFF2-40B4-BE49-F238E27FC236}">
                    <a16:creationId xmlns:a16="http://schemas.microsoft.com/office/drawing/2014/main" id="{2C3EE5D6-D72A-4041-A6E7-41EEA42603D5}"/>
                  </a:ext>
                </a:extLst>
              </p:cNvPr>
              <p:cNvSpPr/>
              <p:nvPr/>
            </p:nvSpPr>
            <p:spPr bwMode="auto">
              <a:xfrm>
                <a:off x="5570619" y="4434992"/>
                <a:ext cx="415302" cy="1108305"/>
              </a:xfrm>
              <a:custGeom>
                <a:avLst/>
                <a:gdLst>
                  <a:gd name="T0" fmla="*/ 69 w 70"/>
                  <a:gd name="T1" fmla="*/ 187 h 187"/>
                  <a:gd name="T2" fmla="*/ 70 w 70"/>
                  <a:gd name="T3" fmla="*/ 138 h 187"/>
                  <a:gd name="T4" fmla="*/ 70 w 70"/>
                  <a:gd name="T5" fmla="*/ 0 h 187"/>
                  <a:gd name="T6" fmla="*/ 35 w 70"/>
                  <a:gd name="T7" fmla="*/ 13 h 187"/>
                  <a:gd name="T8" fmla="*/ 0 w 70"/>
                  <a:gd name="T9" fmla="*/ 0 h 187"/>
                  <a:gd name="T10" fmla="*/ 0 w 70"/>
                  <a:gd name="T11" fmla="*/ 138 h 187"/>
                  <a:gd name="T12" fmla="*/ 0 w 70"/>
                  <a:gd name="T13" fmla="*/ 187 h 187"/>
                  <a:gd name="T14" fmla="*/ 69 w 70"/>
                  <a:gd name="T15" fmla="*/ 187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87">
                    <a:moveTo>
                      <a:pt x="69" y="187"/>
                    </a:moveTo>
                    <a:cubicBezTo>
                      <a:pt x="70" y="185"/>
                      <a:pt x="70" y="187"/>
                      <a:pt x="70" y="138"/>
                    </a:cubicBezTo>
                    <a:cubicBezTo>
                      <a:pt x="70" y="0"/>
                      <a:pt x="70" y="0"/>
                      <a:pt x="70" y="0"/>
                    </a:cubicBezTo>
                    <a:cubicBezTo>
                      <a:pt x="70" y="28"/>
                      <a:pt x="54" y="13"/>
                      <a:pt x="35" y="13"/>
                    </a:cubicBezTo>
                    <a:cubicBezTo>
                      <a:pt x="15" y="13"/>
                      <a:pt x="0" y="28"/>
                      <a:pt x="0" y="0"/>
                    </a:cubicBezTo>
                    <a:cubicBezTo>
                      <a:pt x="0" y="138"/>
                      <a:pt x="0" y="138"/>
                      <a:pt x="0" y="138"/>
                    </a:cubicBezTo>
                    <a:cubicBezTo>
                      <a:pt x="0" y="187"/>
                      <a:pt x="0" y="185"/>
                      <a:pt x="0" y="187"/>
                    </a:cubicBezTo>
                    <a:cubicBezTo>
                      <a:pt x="69" y="187"/>
                      <a:pt x="69" y="187"/>
                      <a:pt x="69" y="187"/>
                    </a:cubicBezTo>
                  </a:path>
                </a:pathLst>
              </a:custGeom>
              <a:solidFill>
                <a:srgbClr val="055275"/>
              </a:solidFill>
              <a:ln>
                <a:noFill/>
              </a:ln>
            </p:spPr>
            <p:txBody>
              <a:bodyPr wrap="square" lIns="91440" tIns="45720" rIns="91440" bIns="45720" anchor="ctr">
                <a:normAutofit/>
              </a:bodyPr>
              <a:lstStyle/>
              <a:p>
                <a:pPr algn="ctr"/>
                <a:endParaRPr/>
              </a:p>
            </p:txBody>
          </p:sp>
          <p:sp>
            <p:nvSpPr>
              <p:cNvPr id="117" name="ïṣļiḋè">
                <a:extLst>
                  <a:ext uri="{FF2B5EF4-FFF2-40B4-BE49-F238E27FC236}">
                    <a16:creationId xmlns:a16="http://schemas.microsoft.com/office/drawing/2014/main" id="{318A6E36-200F-4E4C-BBD6-1D9830CAA1E9}"/>
                  </a:ext>
                </a:extLst>
              </p:cNvPr>
              <p:cNvSpPr/>
              <p:nvPr/>
            </p:nvSpPr>
            <p:spPr bwMode="auto">
              <a:xfrm>
                <a:off x="7499520" y="4607617"/>
                <a:ext cx="167622" cy="1398515"/>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endParaRPr/>
              </a:p>
            </p:txBody>
          </p:sp>
          <p:sp>
            <p:nvSpPr>
              <p:cNvPr id="118" name="íşḷïde">
                <a:extLst>
                  <a:ext uri="{FF2B5EF4-FFF2-40B4-BE49-F238E27FC236}">
                    <a16:creationId xmlns:a16="http://schemas.microsoft.com/office/drawing/2014/main" id="{53612CA7-D34B-400F-9442-A32D4DF1411B}"/>
                  </a:ext>
                </a:extLst>
              </p:cNvPr>
              <p:cNvSpPr/>
              <p:nvPr/>
            </p:nvSpPr>
            <p:spPr bwMode="auto">
              <a:xfrm>
                <a:off x="5558111" y="3214106"/>
                <a:ext cx="1093295" cy="1350980"/>
              </a:xfrm>
              <a:custGeom>
                <a:avLst/>
                <a:gdLst>
                  <a:gd name="T0" fmla="*/ 20 w 184"/>
                  <a:gd name="T1" fmla="*/ 12 h 228"/>
                  <a:gd name="T2" fmla="*/ 15 w 184"/>
                  <a:gd name="T3" fmla="*/ 32 h 228"/>
                  <a:gd name="T4" fmla="*/ 0 w 184"/>
                  <a:gd name="T5" fmla="*/ 228 h 228"/>
                  <a:gd name="T6" fmla="*/ 184 w 184"/>
                  <a:gd name="T7" fmla="*/ 228 h 228"/>
                  <a:gd name="T8" fmla="*/ 159 w 184"/>
                  <a:gd name="T9" fmla="*/ 10 h 228"/>
                  <a:gd name="T10" fmla="*/ 20 w 184"/>
                  <a:gd name="T11" fmla="*/ 12 h 228"/>
                </a:gdLst>
                <a:ahLst/>
                <a:cxnLst>
                  <a:cxn ang="0">
                    <a:pos x="T0" y="T1"/>
                  </a:cxn>
                  <a:cxn ang="0">
                    <a:pos x="T2" y="T3"/>
                  </a:cxn>
                  <a:cxn ang="0">
                    <a:pos x="T4" y="T5"/>
                  </a:cxn>
                  <a:cxn ang="0">
                    <a:pos x="T6" y="T7"/>
                  </a:cxn>
                  <a:cxn ang="0">
                    <a:pos x="T8" y="T9"/>
                  </a:cxn>
                  <a:cxn ang="0">
                    <a:pos x="T10" y="T11"/>
                  </a:cxn>
                </a:cxnLst>
                <a:rect l="0" t="0" r="r" b="b"/>
                <a:pathLst>
                  <a:path w="184" h="228">
                    <a:moveTo>
                      <a:pt x="20" y="12"/>
                    </a:moveTo>
                    <a:cubicBezTo>
                      <a:pt x="14" y="13"/>
                      <a:pt x="19" y="28"/>
                      <a:pt x="15" y="32"/>
                    </a:cubicBezTo>
                    <a:cubicBezTo>
                      <a:pt x="0" y="228"/>
                      <a:pt x="0" y="228"/>
                      <a:pt x="0" y="228"/>
                    </a:cubicBezTo>
                    <a:cubicBezTo>
                      <a:pt x="184" y="228"/>
                      <a:pt x="184" y="228"/>
                      <a:pt x="184" y="228"/>
                    </a:cubicBezTo>
                    <a:cubicBezTo>
                      <a:pt x="159" y="10"/>
                      <a:pt x="159" y="10"/>
                      <a:pt x="159" y="10"/>
                    </a:cubicBezTo>
                    <a:cubicBezTo>
                      <a:pt x="159" y="10"/>
                      <a:pt x="101" y="0"/>
                      <a:pt x="20" y="12"/>
                    </a:cubicBezTo>
                    <a:close/>
                  </a:path>
                </a:pathLst>
              </a:custGeom>
              <a:solidFill>
                <a:srgbClr val="055275"/>
              </a:solidFill>
              <a:ln>
                <a:noFill/>
              </a:ln>
            </p:spPr>
            <p:txBody>
              <a:bodyPr wrap="square" lIns="91440" tIns="45720" rIns="91440" bIns="45720" anchor="ctr">
                <a:normAutofit/>
              </a:bodyPr>
              <a:lstStyle/>
              <a:p>
                <a:pPr algn="ctr"/>
                <a:endParaRPr/>
              </a:p>
            </p:txBody>
          </p:sp>
          <p:sp>
            <p:nvSpPr>
              <p:cNvPr id="119" name="íŝḻíḑè">
                <a:extLst>
                  <a:ext uri="{FF2B5EF4-FFF2-40B4-BE49-F238E27FC236}">
                    <a16:creationId xmlns:a16="http://schemas.microsoft.com/office/drawing/2014/main" id="{FD2A02A8-2DEA-47C9-86A3-217D324CD2B1}"/>
                  </a:ext>
                </a:extLst>
              </p:cNvPr>
              <p:cNvSpPr/>
              <p:nvPr/>
            </p:nvSpPr>
            <p:spPr bwMode="auto">
              <a:xfrm>
                <a:off x="5790779" y="3244128"/>
                <a:ext cx="630458" cy="835606"/>
              </a:xfrm>
              <a:custGeom>
                <a:avLst/>
                <a:gdLst>
                  <a:gd name="T0" fmla="*/ 2 w 106"/>
                  <a:gd name="T1" fmla="*/ 31 h 141"/>
                  <a:gd name="T2" fmla="*/ 53 w 106"/>
                  <a:gd name="T3" fmla="*/ 141 h 141"/>
                  <a:gd name="T4" fmla="*/ 104 w 106"/>
                  <a:gd name="T5" fmla="*/ 31 h 141"/>
                  <a:gd name="T6" fmla="*/ 99 w 106"/>
                  <a:gd name="T7" fmla="*/ 3 h 141"/>
                  <a:gd name="T8" fmla="*/ 52 w 106"/>
                  <a:gd name="T9" fmla="*/ 0 h 141"/>
                  <a:gd name="T10" fmla="*/ 1 w 106"/>
                  <a:gd name="T11" fmla="*/ 5 h 141"/>
                  <a:gd name="T12" fmla="*/ 2 w 106"/>
                  <a:gd name="T13" fmla="*/ 31 h 141"/>
                </a:gdLst>
                <a:ahLst/>
                <a:cxnLst>
                  <a:cxn ang="0">
                    <a:pos x="T0" y="T1"/>
                  </a:cxn>
                  <a:cxn ang="0">
                    <a:pos x="T2" y="T3"/>
                  </a:cxn>
                  <a:cxn ang="0">
                    <a:pos x="T4" y="T5"/>
                  </a:cxn>
                  <a:cxn ang="0">
                    <a:pos x="T6" y="T7"/>
                  </a:cxn>
                  <a:cxn ang="0">
                    <a:pos x="T8" y="T9"/>
                  </a:cxn>
                  <a:cxn ang="0">
                    <a:pos x="T10" y="T11"/>
                  </a:cxn>
                  <a:cxn ang="0">
                    <a:pos x="T12" y="T13"/>
                  </a:cxn>
                </a:cxnLst>
                <a:rect l="0" t="0" r="r" b="b"/>
                <a:pathLst>
                  <a:path w="106" h="141">
                    <a:moveTo>
                      <a:pt x="2" y="31"/>
                    </a:moveTo>
                    <a:cubicBezTo>
                      <a:pt x="7" y="61"/>
                      <a:pt x="53" y="141"/>
                      <a:pt x="53" y="141"/>
                    </a:cubicBezTo>
                    <a:cubicBezTo>
                      <a:pt x="53" y="141"/>
                      <a:pt x="98" y="60"/>
                      <a:pt x="104" y="31"/>
                    </a:cubicBezTo>
                    <a:cubicBezTo>
                      <a:pt x="106" y="24"/>
                      <a:pt x="99" y="3"/>
                      <a:pt x="99" y="3"/>
                    </a:cubicBezTo>
                    <a:cubicBezTo>
                      <a:pt x="99" y="3"/>
                      <a:pt x="65" y="0"/>
                      <a:pt x="52" y="0"/>
                    </a:cubicBezTo>
                    <a:cubicBezTo>
                      <a:pt x="39" y="0"/>
                      <a:pt x="1" y="5"/>
                      <a:pt x="1" y="5"/>
                    </a:cubicBezTo>
                    <a:cubicBezTo>
                      <a:pt x="1" y="5"/>
                      <a:pt x="0" y="15"/>
                      <a:pt x="2" y="31"/>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120" name="íšliḍê">
                <a:extLst>
                  <a:ext uri="{FF2B5EF4-FFF2-40B4-BE49-F238E27FC236}">
                    <a16:creationId xmlns:a16="http://schemas.microsoft.com/office/drawing/2014/main" id="{6E8AD609-4CCE-4278-853C-6E8855B3F2CF}"/>
                  </a:ext>
                </a:extLst>
              </p:cNvPr>
              <p:cNvSpPr/>
              <p:nvPr/>
            </p:nvSpPr>
            <p:spPr bwMode="auto">
              <a:xfrm>
                <a:off x="6050968" y="3231619"/>
                <a:ext cx="107579" cy="848116"/>
              </a:xfrm>
              <a:custGeom>
                <a:avLst/>
                <a:gdLst>
                  <a:gd name="T0" fmla="*/ 34 w 43"/>
                  <a:gd name="T1" fmla="*/ 0 h 339"/>
                  <a:gd name="T2" fmla="*/ 10 w 43"/>
                  <a:gd name="T3" fmla="*/ 0 h 339"/>
                  <a:gd name="T4" fmla="*/ 0 w 43"/>
                  <a:gd name="T5" fmla="*/ 291 h 339"/>
                  <a:gd name="T6" fmla="*/ 22 w 43"/>
                  <a:gd name="T7" fmla="*/ 339 h 339"/>
                  <a:gd name="T8" fmla="*/ 43 w 43"/>
                  <a:gd name="T9" fmla="*/ 291 h 339"/>
                  <a:gd name="T10" fmla="*/ 34 w 43"/>
                  <a:gd name="T11" fmla="*/ 0 h 339"/>
                </a:gdLst>
                <a:ahLst/>
                <a:cxnLst>
                  <a:cxn ang="0">
                    <a:pos x="T0" y="T1"/>
                  </a:cxn>
                  <a:cxn ang="0">
                    <a:pos x="T2" y="T3"/>
                  </a:cxn>
                  <a:cxn ang="0">
                    <a:pos x="T4" y="T5"/>
                  </a:cxn>
                  <a:cxn ang="0">
                    <a:pos x="T6" y="T7"/>
                  </a:cxn>
                  <a:cxn ang="0">
                    <a:pos x="T8" y="T9"/>
                  </a:cxn>
                  <a:cxn ang="0">
                    <a:pos x="T10" y="T11"/>
                  </a:cxn>
                </a:cxnLst>
                <a:rect l="0" t="0" r="r" b="b"/>
                <a:pathLst>
                  <a:path w="43" h="339">
                    <a:moveTo>
                      <a:pt x="34" y="0"/>
                    </a:moveTo>
                    <a:lnTo>
                      <a:pt x="10" y="0"/>
                    </a:lnTo>
                    <a:lnTo>
                      <a:pt x="0" y="291"/>
                    </a:lnTo>
                    <a:lnTo>
                      <a:pt x="22" y="339"/>
                    </a:lnTo>
                    <a:lnTo>
                      <a:pt x="43" y="291"/>
                    </a:lnTo>
                    <a:lnTo>
                      <a:pt x="34" y="0"/>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121" name="îṥḻídê">
                <a:extLst>
                  <a:ext uri="{FF2B5EF4-FFF2-40B4-BE49-F238E27FC236}">
                    <a16:creationId xmlns:a16="http://schemas.microsoft.com/office/drawing/2014/main" id="{1D4E4258-4988-44A0-9709-158386932162}"/>
                  </a:ext>
                </a:extLst>
              </p:cNvPr>
              <p:cNvSpPr/>
              <p:nvPr/>
            </p:nvSpPr>
            <p:spPr bwMode="auto">
              <a:xfrm>
                <a:off x="4139580" y="4007182"/>
                <a:ext cx="3912841" cy="652974"/>
              </a:xfrm>
              <a:custGeom>
                <a:avLst/>
                <a:gdLst>
                  <a:gd name="T0" fmla="*/ 648 w 659"/>
                  <a:gd name="T1" fmla="*/ 92 h 110"/>
                  <a:gd name="T2" fmla="*/ 636 w 659"/>
                  <a:gd name="T3" fmla="*/ 110 h 110"/>
                  <a:gd name="T4" fmla="*/ 24 w 659"/>
                  <a:gd name="T5" fmla="*/ 110 h 110"/>
                  <a:gd name="T6" fmla="*/ 12 w 659"/>
                  <a:gd name="T7" fmla="*/ 92 h 110"/>
                  <a:gd name="T8" fmla="*/ 111 w 659"/>
                  <a:gd name="T9" fmla="*/ 8 h 110"/>
                  <a:gd name="T10" fmla="*/ 142 w 659"/>
                  <a:gd name="T11" fmla="*/ 0 h 110"/>
                  <a:gd name="T12" fmla="*/ 518 w 659"/>
                  <a:gd name="T13" fmla="*/ 0 h 110"/>
                  <a:gd name="T14" fmla="*/ 548 w 659"/>
                  <a:gd name="T15" fmla="*/ 8 h 110"/>
                  <a:gd name="T16" fmla="*/ 648 w 659"/>
                  <a:gd name="T17" fmla="*/ 9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9" h="110">
                    <a:moveTo>
                      <a:pt x="648" y="92"/>
                    </a:moveTo>
                    <a:cubicBezTo>
                      <a:pt x="659" y="101"/>
                      <a:pt x="654" y="110"/>
                      <a:pt x="636" y="110"/>
                    </a:cubicBezTo>
                    <a:cubicBezTo>
                      <a:pt x="24" y="110"/>
                      <a:pt x="24" y="110"/>
                      <a:pt x="24" y="110"/>
                    </a:cubicBezTo>
                    <a:cubicBezTo>
                      <a:pt x="5" y="110"/>
                      <a:pt x="0" y="101"/>
                      <a:pt x="12" y="92"/>
                    </a:cubicBezTo>
                    <a:cubicBezTo>
                      <a:pt x="111" y="8"/>
                      <a:pt x="111" y="8"/>
                      <a:pt x="111" y="8"/>
                    </a:cubicBezTo>
                    <a:cubicBezTo>
                      <a:pt x="117" y="3"/>
                      <a:pt x="130" y="0"/>
                      <a:pt x="142" y="0"/>
                    </a:cubicBezTo>
                    <a:cubicBezTo>
                      <a:pt x="518" y="0"/>
                      <a:pt x="518" y="0"/>
                      <a:pt x="518" y="0"/>
                    </a:cubicBezTo>
                    <a:cubicBezTo>
                      <a:pt x="530" y="0"/>
                      <a:pt x="543" y="3"/>
                      <a:pt x="548" y="8"/>
                    </a:cubicBezTo>
                    <a:lnTo>
                      <a:pt x="648" y="92"/>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7500" lnSpcReduction="20000"/>
              </a:bodyPr>
              <a:lstStyle/>
              <a:p>
                <a:pPr algn="ctr"/>
                <a:endParaRPr/>
              </a:p>
            </p:txBody>
          </p:sp>
          <p:sp>
            <p:nvSpPr>
              <p:cNvPr id="122" name="iṣľíḓè">
                <a:extLst>
                  <a:ext uri="{FF2B5EF4-FFF2-40B4-BE49-F238E27FC236}">
                    <a16:creationId xmlns:a16="http://schemas.microsoft.com/office/drawing/2014/main" id="{9ECF28CD-6738-4CEA-BB30-4C8F622441BC}"/>
                  </a:ext>
                </a:extLst>
              </p:cNvPr>
              <p:cNvSpPr/>
              <p:nvPr/>
            </p:nvSpPr>
            <p:spPr bwMode="auto">
              <a:xfrm>
                <a:off x="4895128" y="4097247"/>
                <a:ext cx="783069" cy="437819"/>
              </a:xfrm>
              <a:custGeom>
                <a:avLst/>
                <a:gdLst>
                  <a:gd name="T0" fmla="*/ 0 w 313"/>
                  <a:gd name="T1" fmla="*/ 175 h 175"/>
                  <a:gd name="T2" fmla="*/ 204 w 313"/>
                  <a:gd name="T3" fmla="*/ 175 h 175"/>
                  <a:gd name="T4" fmla="*/ 313 w 313"/>
                  <a:gd name="T5" fmla="*/ 0 h 175"/>
                  <a:gd name="T6" fmla="*/ 135 w 313"/>
                  <a:gd name="T7" fmla="*/ 0 h 175"/>
                  <a:gd name="T8" fmla="*/ 0 w 313"/>
                  <a:gd name="T9" fmla="*/ 175 h 175"/>
                </a:gdLst>
                <a:ahLst/>
                <a:cxnLst>
                  <a:cxn ang="0">
                    <a:pos x="T0" y="T1"/>
                  </a:cxn>
                  <a:cxn ang="0">
                    <a:pos x="T2" y="T3"/>
                  </a:cxn>
                  <a:cxn ang="0">
                    <a:pos x="T4" y="T5"/>
                  </a:cxn>
                  <a:cxn ang="0">
                    <a:pos x="T6" y="T7"/>
                  </a:cxn>
                  <a:cxn ang="0">
                    <a:pos x="T8" y="T9"/>
                  </a:cxn>
                </a:cxnLst>
                <a:rect l="0" t="0" r="r" b="b"/>
                <a:pathLst>
                  <a:path w="313" h="175">
                    <a:moveTo>
                      <a:pt x="0" y="175"/>
                    </a:moveTo>
                    <a:lnTo>
                      <a:pt x="204" y="175"/>
                    </a:lnTo>
                    <a:lnTo>
                      <a:pt x="313" y="0"/>
                    </a:lnTo>
                    <a:lnTo>
                      <a:pt x="135" y="0"/>
                    </a:lnTo>
                    <a:lnTo>
                      <a:pt x="0" y="17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123" name="iṥḷíḑe">
                <a:extLst>
                  <a:ext uri="{FF2B5EF4-FFF2-40B4-BE49-F238E27FC236}">
                    <a16:creationId xmlns:a16="http://schemas.microsoft.com/office/drawing/2014/main" id="{3B0C069E-8159-4A85-A2EC-54A1664A177D}"/>
                  </a:ext>
                </a:extLst>
              </p:cNvPr>
              <p:cNvSpPr/>
              <p:nvPr/>
            </p:nvSpPr>
            <p:spPr bwMode="auto">
              <a:xfrm>
                <a:off x="5418009" y="4097247"/>
                <a:ext cx="592931" cy="420305"/>
              </a:xfrm>
              <a:custGeom>
                <a:avLst/>
                <a:gdLst>
                  <a:gd name="T0" fmla="*/ 173 w 237"/>
                  <a:gd name="T1" fmla="*/ 168 h 168"/>
                  <a:gd name="T2" fmla="*/ 0 w 237"/>
                  <a:gd name="T3" fmla="*/ 168 h 168"/>
                  <a:gd name="T4" fmla="*/ 90 w 237"/>
                  <a:gd name="T5" fmla="*/ 0 h 168"/>
                  <a:gd name="T6" fmla="*/ 237 w 237"/>
                  <a:gd name="T7" fmla="*/ 0 h 168"/>
                  <a:gd name="T8" fmla="*/ 173 w 237"/>
                  <a:gd name="T9" fmla="*/ 168 h 168"/>
                </a:gdLst>
                <a:ahLst/>
                <a:cxnLst>
                  <a:cxn ang="0">
                    <a:pos x="T0" y="T1"/>
                  </a:cxn>
                  <a:cxn ang="0">
                    <a:pos x="T2" y="T3"/>
                  </a:cxn>
                  <a:cxn ang="0">
                    <a:pos x="T4" y="T5"/>
                  </a:cxn>
                  <a:cxn ang="0">
                    <a:pos x="T6" y="T7"/>
                  </a:cxn>
                  <a:cxn ang="0">
                    <a:pos x="T8" y="T9"/>
                  </a:cxn>
                </a:cxnLst>
                <a:rect l="0" t="0" r="r" b="b"/>
                <a:pathLst>
                  <a:path w="237" h="168">
                    <a:moveTo>
                      <a:pt x="173" y="168"/>
                    </a:moveTo>
                    <a:lnTo>
                      <a:pt x="0" y="168"/>
                    </a:lnTo>
                    <a:lnTo>
                      <a:pt x="90" y="0"/>
                    </a:lnTo>
                    <a:lnTo>
                      <a:pt x="237" y="0"/>
                    </a:lnTo>
                    <a:lnTo>
                      <a:pt x="173" y="1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32500" lnSpcReduction="20000"/>
              </a:bodyPr>
              <a:lstStyle/>
              <a:p>
                <a:pPr algn="ctr"/>
                <a:endParaRPr/>
              </a:p>
            </p:txBody>
          </p:sp>
          <p:sp>
            <p:nvSpPr>
              <p:cNvPr id="124" name="íšlíḓê">
                <a:extLst>
                  <a:ext uri="{FF2B5EF4-FFF2-40B4-BE49-F238E27FC236}">
                    <a16:creationId xmlns:a16="http://schemas.microsoft.com/office/drawing/2014/main" id="{AE2EA564-9E31-4330-8D1C-17FB5E31A6E0}"/>
                  </a:ext>
                </a:extLst>
              </p:cNvPr>
              <p:cNvSpPr/>
              <p:nvPr/>
            </p:nvSpPr>
            <p:spPr bwMode="auto">
              <a:xfrm>
                <a:off x="5945892" y="2933904"/>
                <a:ext cx="320232" cy="462837"/>
              </a:xfrm>
              <a:custGeom>
                <a:avLst/>
                <a:gdLst>
                  <a:gd name="T0" fmla="*/ 54 w 54"/>
                  <a:gd name="T1" fmla="*/ 52 h 78"/>
                  <a:gd name="T2" fmla="*/ 27 w 54"/>
                  <a:gd name="T3" fmla="*/ 78 h 78"/>
                  <a:gd name="T4" fmla="*/ 0 w 54"/>
                  <a:gd name="T5" fmla="*/ 52 h 78"/>
                  <a:gd name="T6" fmla="*/ 0 w 54"/>
                  <a:gd name="T7" fmla="*/ 26 h 78"/>
                  <a:gd name="T8" fmla="*/ 27 w 54"/>
                  <a:gd name="T9" fmla="*/ 0 h 78"/>
                  <a:gd name="T10" fmla="*/ 54 w 54"/>
                  <a:gd name="T11" fmla="*/ 26 h 78"/>
                  <a:gd name="T12" fmla="*/ 54 w 54"/>
                  <a:gd name="T13" fmla="*/ 52 h 78"/>
                </a:gdLst>
                <a:ahLst/>
                <a:cxnLst>
                  <a:cxn ang="0">
                    <a:pos x="T0" y="T1"/>
                  </a:cxn>
                  <a:cxn ang="0">
                    <a:pos x="T2" y="T3"/>
                  </a:cxn>
                  <a:cxn ang="0">
                    <a:pos x="T4" y="T5"/>
                  </a:cxn>
                  <a:cxn ang="0">
                    <a:pos x="T6" y="T7"/>
                  </a:cxn>
                  <a:cxn ang="0">
                    <a:pos x="T8" y="T9"/>
                  </a:cxn>
                  <a:cxn ang="0">
                    <a:pos x="T10" y="T11"/>
                  </a:cxn>
                  <a:cxn ang="0">
                    <a:pos x="T12" y="T13"/>
                  </a:cxn>
                </a:cxnLst>
                <a:rect l="0" t="0" r="r" b="b"/>
                <a:pathLst>
                  <a:path w="54" h="78">
                    <a:moveTo>
                      <a:pt x="54" y="52"/>
                    </a:moveTo>
                    <a:cubicBezTo>
                      <a:pt x="54" y="66"/>
                      <a:pt x="42" y="78"/>
                      <a:pt x="27" y="78"/>
                    </a:cubicBezTo>
                    <a:cubicBezTo>
                      <a:pt x="12" y="78"/>
                      <a:pt x="0" y="66"/>
                      <a:pt x="0" y="52"/>
                    </a:cubicBezTo>
                    <a:cubicBezTo>
                      <a:pt x="0" y="26"/>
                      <a:pt x="0" y="26"/>
                      <a:pt x="0" y="26"/>
                    </a:cubicBezTo>
                    <a:cubicBezTo>
                      <a:pt x="0" y="12"/>
                      <a:pt x="12" y="0"/>
                      <a:pt x="27" y="0"/>
                    </a:cubicBezTo>
                    <a:cubicBezTo>
                      <a:pt x="42" y="0"/>
                      <a:pt x="54" y="12"/>
                      <a:pt x="54" y="26"/>
                    </a:cubicBezTo>
                    <a:lnTo>
                      <a:pt x="54" y="52"/>
                    </a:lnTo>
                    <a:close/>
                  </a:path>
                </a:pathLst>
              </a:custGeom>
              <a:solidFill>
                <a:srgbClr val="EDBDA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125" name="ísliḑè">
                <a:extLst>
                  <a:ext uri="{FF2B5EF4-FFF2-40B4-BE49-F238E27FC236}">
                    <a16:creationId xmlns:a16="http://schemas.microsoft.com/office/drawing/2014/main" id="{3F7BD625-2307-4A0B-B2C0-D8E17C7DF63F}"/>
                  </a:ext>
                </a:extLst>
              </p:cNvPr>
              <p:cNvSpPr/>
              <p:nvPr/>
            </p:nvSpPr>
            <p:spPr bwMode="auto">
              <a:xfrm>
                <a:off x="5500569" y="2431038"/>
                <a:ext cx="212655" cy="212655"/>
              </a:xfrm>
              <a:prstGeom prst="ellipse">
                <a:avLst/>
              </a:pr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26" name="ïŝlïḑé">
                <a:extLst>
                  <a:ext uri="{FF2B5EF4-FFF2-40B4-BE49-F238E27FC236}">
                    <a16:creationId xmlns:a16="http://schemas.microsoft.com/office/drawing/2014/main" id="{31AD81EE-1888-4356-BD2F-EE2230DBBC26}"/>
                  </a:ext>
                </a:extLst>
              </p:cNvPr>
              <p:cNvSpPr/>
              <p:nvPr/>
            </p:nvSpPr>
            <p:spPr bwMode="auto">
              <a:xfrm>
                <a:off x="6461266" y="2431038"/>
                <a:ext cx="215157" cy="212655"/>
              </a:xfrm>
              <a:prstGeom prst="ellipse">
                <a:avLst/>
              </a:pr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27" name="íSḻïḑè">
                <a:extLst>
                  <a:ext uri="{FF2B5EF4-FFF2-40B4-BE49-F238E27FC236}">
                    <a16:creationId xmlns:a16="http://schemas.microsoft.com/office/drawing/2014/main" id="{8D51C31D-3220-4D72-BA0F-2C8A4C925C71}"/>
                  </a:ext>
                </a:extLst>
              </p:cNvPr>
              <p:cNvSpPr/>
              <p:nvPr/>
            </p:nvSpPr>
            <p:spPr bwMode="auto">
              <a:xfrm>
                <a:off x="5605644" y="2015737"/>
                <a:ext cx="963200" cy="1173351"/>
              </a:xfrm>
              <a:custGeom>
                <a:avLst/>
                <a:gdLst>
                  <a:gd name="T0" fmla="*/ 158 w 162"/>
                  <a:gd name="T1" fmla="*/ 52 h 198"/>
                  <a:gd name="T2" fmla="*/ 137 w 162"/>
                  <a:gd name="T3" fmla="*/ 16 h 198"/>
                  <a:gd name="T4" fmla="*/ 117 w 162"/>
                  <a:gd name="T5" fmla="*/ 6 h 198"/>
                  <a:gd name="T6" fmla="*/ 96 w 162"/>
                  <a:gd name="T7" fmla="*/ 1 h 198"/>
                  <a:gd name="T8" fmla="*/ 92 w 162"/>
                  <a:gd name="T9" fmla="*/ 0 h 198"/>
                  <a:gd name="T10" fmla="*/ 92 w 162"/>
                  <a:gd name="T11" fmla="*/ 0 h 198"/>
                  <a:gd name="T12" fmla="*/ 57 w 162"/>
                  <a:gd name="T13" fmla="*/ 0 h 198"/>
                  <a:gd name="T14" fmla="*/ 48 w 162"/>
                  <a:gd name="T15" fmla="*/ 2 h 198"/>
                  <a:gd name="T16" fmla="*/ 38 w 162"/>
                  <a:gd name="T17" fmla="*/ 10 h 198"/>
                  <a:gd name="T18" fmla="*/ 11 w 162"/>
                  <a:gd name="T19" fmla="*/ 39 h 198"/>
                  <a:gd name="T20" fmla="*/ 0 w 162"/>
                  <a:gd name="T21" fmla="*/ 48 h 198"/>
                  <a:gd name="T22" fmla="*/ 0 w 162"/>
                  <a:gd name="T23" fmla="*/ 119 h 198"/>
                  <a:gd name="T24" fmla="*/ 78 w 162"/>
                  <a:gd name="T25" fmla="*/ 198 h 198"/>
                  <a:gd name="T26" fmla="*/ 84 w 162"/>
                  <a:gd name="T27" fmla="*/ 198 h 198"/>
                  <a:gd name="T28" fmla="*/ 162 w 162"/>
                  <a:gd name="T29" fmla="*/ 119 h 198"/>
                  <a:gd name="T30" fmla="*/ 162 w 162"/>
                  <a:gd name="T31" fmla="*/ 57 h 198"/>
                  <a:gd name="T32" fmla="*/ 158 w 162"/>
                  <a:gd name="T33" fmla="*/ 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98">
                    <a:moveTo>
                      <a:pt x="158" y="52"/>
                    </a:moveTo>
                    <a:cubicBezTo>
                      <a:pt x="151" y="41"/>
                      <a:pt x="146" y="25"/>
                      <a:pt x="137" y="16"/>
                    </a:cubicBezTo>
                    <a:cubicBezTo>
                      <a:pt x="131" y="10"/>
                      <a:pt x="128" y="8"/>
                      <a:pt x="117" y="6"/>
                    </a:cubicBezTo>
                    <a:cubicBezTo>
                      <a:pt x="110" y="4"/>
                      <a:pt x="103" y="2"/>
                      <a:pt x="96" y="1"/>
                    </a:cubicBezTo>
                    <a:cubicBezTo>
                      <a:pt x="94" y="1"/>
                      <a:pt x="93" y="1"/>
                      <a:pt x="92" y="0"/>
                    </a:cubicBezTo>
                    <a:cubicBezTo>
                      <a:pt x="92" y="0"/>
                      <a:pt x="92" y="0"/>
                      <a:pt x="92" y="0"/>
                    </a:cubicBezTo>
                    <a:cubicBezTo>
                      <a:pt x="57" y="0"/>
                      <a:pt x="57" y="0"/>
                      <a:pt x="57" y="0"/>
                    </a:cubicBezTo>
                    <a:cubicBezTo>
                      <a:pt x="53" y="2"/>
                      <a:pt x="44" y="4"/>
                      <a:pt x="48" y="2"/>
                    </a:cubicBezTo>
                    <a:cubicBezTo>
                      <a:pt x="41" y="6"/>
                      <a:pt x="41" y="5"/>
                      <a:pt x="38" y="10"/>
                    </a:cubicBezTo>
                    <a:cubicBezTo>
                      <a:pt x="29" y="20"/>
                      <a:pt x="21" y="30"/>
                      <a:pt x="11" y="39"/>
                    </a:cubicBezTo>
                    <a:cubicBezTo>
                      <a:pt x="7" y="42"/>
                      <a:pt x="3" y="45"/>
                      <a:pt x="0" y="48"/>
                    </a:cubicBezTo>
                    <a:cubicBezTo>
                      <a:pt x="0" y="119"/>
                      <a:pt x="0" y="119"/>
                      <a:pt x="0" y="119"/>
                    </a:cubicBezTo>
                    <a:cubicBezTo>
                      <a:pt x="0" y="162"/>
                      <a:pt x="35" y="198"/>
                      <a:pt x="78" y="198"/>
                    </a:cubicBezTo>
                    <a:cubicBezTo>
                      <a:pt x="84" y="198"/>
                      <a:pt x="84" y="198"/>
                      <a:pt x="84" y="198"/>
                    </a:cubicBezTo>
                    <a:cubicBezTo>
                      <a:pt x="127" y="198"/>
                      <a:pt x="162" y="162"/>
                      <a:pt x="162" y="119"/>
                    </a:cubicBezTo>
                    <a:cubicBezTo>
                      <a:pt x="162" y="57"/>
                      <a:pt x="162" y="57"/>
                      <a:pt x="162" y="57"/>
                    </a:cubicBezTo>
                    <a:cubicBezTo>
                      <a:pt x="161" y="55"/>
                      <a:pt x="159" y="54"/>
                      <a:pt x="158" y="52"/>
                    </a:cubicBezTo>
                    <a:close/>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128" name="îš1îḋe">
                <a:extLst>
                  <a:ext uri="{FF2B5EF4-FFF2-40B4-BE49-F238E27FC236}">
                    <a16:creationId xmlns:a16="http://schemas.microsoft.com/office/drawing/2014/main" id="{AAF6A0AD-D26D-4E1E-89B1-A4D32126CB45}"/>
                  </a:ext>
                </a:extLst>
              </p:cNvPr>
              <p:cNvSpPr/>
              <p:nvPr/>
            </p:nvSpPr>
            <p:spPr bwMode="auto">
              <a:xfrm>
                <a:off x="5250387" y="1795577"/>
                <a:ext cx="1436042" cy="778066"/>
              </a:xfrm>
              <a:custGeom>
                <a:avLst/>
                <a:gdLst>
                  <a:gd name="T0" fmla="*/ 188 w 242"/>
                  <a:gd name="T1" fmla="*/ 82 h 131"/>
                  <a:gd name="T2" fmla="*/ 222 w 242"/>
                  <a:gd name="T3" fmla="*/ 131 h 131"/>
                  <a:gd name="T4" fmla="*/ 159 w 242"/>
                  <a:gd name="T5" fmla="*/ 3 h 131"/>
                  <a:gd name="T6" fmla="*/ 97 w 242"/>
                  <a:gd name="T7" fmla="*/ 11 h 131"/>
                  <a:gd name="T8" fmla="*/ 23 w 242"/>
                  <a:gd name="T9" fmla="*/ 10 h 131"/>
                  <a:gd name="T10" fmla="*/ 56 w 242"/>
                  <a:gd name="T11" fmla="*/ 103 h 131"/>
                  <a:gd name="T12" fmla="*/ 110 w 242"/>
                  <a:gd name="T13" fmla="*/ 92 h 131"/>
                  <a:gd name="T14" fmla="*/ 188 w 242"/>
                  <a:gd name="T15" fmla="*/ 82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131">
                    <a:moveTo>
                      <a:pt x="188" y="82"/>
                    </a:moveTo>
                    <a:cubicBezTo>
                      <a:pt x="205" y="86"/>
                      <a:pt x="218" y="98"/>
                      <a:pt x="222" y="131"/>
                    </a:cubicBezTo>
                    <a:cubicBezTo>
                      <a:pt x="222" y="131"/>
                      <a:pt x="242" y="11"/>
                      <a:pt x="159" y="3"/>
                    </a:cubicBezTo>
                    <a:cubicBezTo>
                      <a:pt x="133" y="0"/>
                      <a:pt x="113" y="6"/>
                      <a:pt x="97" y="11"/>
                    </a:cubicBezTo>
                    <a:cubicBezTo>
                      <a:pt x="72" y="19"/>
                      <a:pt x="53" y="27"/>
                      <a:pt x="23" y="10"/>
                    </a:cubicBezTo>
                    <a:cubicBezTo>
                      <a:pt x="0" y="62"/>
                      <a:pt x="24" y="93"/>
                      <a:pt x="56" y="103"/>
                    </a:cubicBezTo>
                    <a:cubicBezTo>
                      <a:pt x="72" y="107"/>
                      <a:pt x="90" y="100"/>
                      <a:pt x="110" y="92"/>
                    </a:cubicBezTo>
                    <a:cubicBezTo>
                      <a:pt x="132" y="84"/>
                      <a:pt x="158" y="76"/>
                      <a:pt x="188" y="82"/>
                    </a:cubicBezTo>
                  </a:path>
                </a:pathLst>
              </a:custGeom>
              <a:solidFill>
                <a:schemeClr val="accent4">
                  <a:lumMod val="50000"/>
                </a:schemeClr>
              </a:solidFill>
              <a:ln>
                <a:noFill/>
              </a:ln>
            </p:spPr>
            <p:txBody>
              <a:bodyPr wrap="square" lIns="91440" tIns="45720" rIns="91440" bIns="45720" anchor="ctr">
                <a:normAutofit fontScale="92500" lnSpcReduction="20000"/>
              </a:bodyPr>
              <a:lstStyle/>
              <a:p>
                <a:pPr algn="ctr"/>
                <a:endParaRPr/>
              </a:p>
            </p:txBody>
          </p:sp>
          <p:sp>
            <p:nvSpPr>
              <p:cNvPr id="129" name="îşliḓé">
                <a:extLst>
                  <a:ext uri="{FF2B5EF4-FFF2-40B4-BE49-F238E27FC236}">
                    <a16:creationId xmlns:a16="http://schemas.microsoft.com/office/drawing/2014/main" id="{EEC800A1-63ED-4C46-B09D-E887252D1F50}"/>
                  </a:ext>
                </a:extLst>
              </p:cNvPr>
              <p:cNvSpPr/>
              <p:nvPr/>
            </p:nvSpPr>
            <p:spPr bwMode="auto">
              <a:xfrm>
                <a:off x="5975913" y="2496085"/>
                <a:ext cx="165120" cy="315229"/>
              </a:xfrm>
              <a:custGeom>
                <a:avLst/>
                <a:gdLst>
                  <a:gd name="T0" fmla="*/ 17 w 28"/>
                  <a:gd name="T1" fmla="*/ 0 h 53"/>
                  <a:gd name="T2" fmla="*/ 1 w 28"/>
                  <a:gd name="T3" fmla="*/ 46 h 53"/>
                  <a:gd name="T4" fmla="*/ 26 w 28"/>
                  <a:gd name="T5" fmla="*/ 46 h 53"/>
                  <a:gd name="T6" fmla="*/ 17 w 28"/>
                  <a:gd name="T7" fmla="*/ 0 h 53"/>
                </a:gdLst>
                <a:ahLst/>
                <a:cxnLst>
                  <a:cxn ang="0">
                    <a:pos x="T0" y="T1"/>
                  </a:cxn>
                  <a:cxn ang="0">
                    <a:pos x="T2" y="T3"/>
                  </a:cxn>
                  <a:cxn ang="0">
                    <a:pos x="T4" y="T5"/>
                  </a:cxn>
                  <a:cxn ang="0">
                    <a:pos x="T6" y="T7"/>
                  </a:cxn>
                </a:cxnLst>
                <a:rect l="0" t="0" r="r" b="b"/>
                <a:pathLst>
                  <a:path w="28" h="53">
                    <a:moveTo>
                      <a:pt x="17" y="0"/>
                    </a:moveTo>
                    <a:cubicBezTo>
                      <a:pt x="12" y="0"/>
                      <a:pt x="0" y="42"/>
                      <a:pt x="1" y="46"/>
                    </a:cubicBezTo>
                    <a:cubicBezTo>
                      <a:pt x="3" y="52"/>
                      <a:pt x="23" y="53"/>
                      <a:pt x="26" y="46"/>
                    </a:cubicBezTo>
                    <a:cubicBezTo>
                      <a:pt x="28" y="38"/>
                      <a:pt x="23" y="0"/>
                      <a:pt x="17" y="0"/>
                    </a:cubicBezTo>
                    <a:close/>
                  </a:path>
                </a:pathLst>
              </a:custGeom>
              <a:solidFill>
                <a:srgbClr val="E6A88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0" name="î$ḷiďê">
                <a:extLst>
                  <a:ext uri="{FF2B5EF4-FFF2-40B4-BE49-F238E27FC236}">
                    <a16:creationId xmlns:a16="http://schemas.microsoft.com/office/drawing/2014/main" id="{A993C787-31AD-4F23-898B-4769348063EF}"/>
                  </a:ext>
                </a:extLst>
              </p:cNvPr>
              <p:cNvSpPr/>
              <p:nvPr/>
            </p:nvSpPr>
            <p:spPr bwMode="auto">
              <a:xfrm>
                <a:off x="5768263" y="2453555"/>
                <a:ext cx="122590" cy="15010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1" name="ïş1iḑe">
                <a:extLst>
                  <a:ext uri="{FF2B5EF4-FFF2-40B4-BE49-F238E27FC236}">
                    <a16:creationId xmlns:a16="http://schemas.microsoft.com/office/drawing/2014/main" id="{305547DA-6325-4ECD-93F3-A05C671ED2D4}"/>
                  </a:ext>
                </a:extLst>
              </p:cNvPr>
              <p:cNvSpPr/>
              <p:nvPr/>
            </p:nvSpPr>
            <p:spPr bwMode="auto">
              <a:xfrm>
                <a:off x="5808293" y="2496085"/>
                <a:ext cx="35025" cy="42532"/>
              </a:xfrm>
              <a:prstGeom prst="ellipse">
                <a:avLst/>
              </a:prstGeom>
              <a:solidFill>
                <a:srgbClr val="7839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2" name="ïṩ1iďé">
                <a:extLst>
                  <a:ext uri="{FF2B5EF4-FFF2-40B4-BE49-F238E27FC236}">
                    <a16:creationId xmlns:a16="http://schemas.microsoft.com/office/drawing/2014/main" id="{CFB6D566-F230-4BF3-9C01-84E8334C5B9B}"/>
                  </a:ext>
                </a:extLst>
              </p:cNvPr>
              <p:cNvSpPr/>
              <p:nvPr/>
            </p:nvSpPr>
            <p:spPr bwMode="auto">
              <a:xfrm>
                <a:off x="6223594" y="2453555"/>
                <a:ext cx="125090" cy="15010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3" name="iṩlïḓê">
                <a:extLst>
                  <a:ext uri="{FF2B5EF4-FFF2-40B4-BE49-F238E27FC236}">
                    <a16:creationId xmlns:a16="http://schemas.microsoft.com/office/drawing/2014/main" id="{A5F82B9C-D0D9-4796-AAF4-FA4D4DD25B76}"/>
                  </a:ext>
                </a:extLst>
              </p:cNvPr>
              <p:cNvSpPr/>
              <p:nvPr/>
            </p:nvSpPr>
            <p:spPr bwMode="auto">
              <a:xfrm>
                <a:off x="6266124" y="2496085"/>
                <a:ext cx="40029" cy="42532"/>
              </a:xfrm>
              <a:prstGeom prst="ellipse">
                <a:avLst/>
              </a:prstGeom>
              <a:solidFill>
                <a:srgbClr val="7839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4" name="ïŝḻiḍé">
                <a:extLst>
                  <a:ext uri="{FF2B5EF4-FFF2-40B4-BE49-F238E27FC236}">
                    <a16:creationId xmlns:a16="http://schemas.microsoft.com/office/drawing/2014/main" id="{924B0D3D-A3B8-4511-AF63-BDBBC207F9C4}"/>
                  </a:ext>
                </a:extLst>
              </p:cNvPr>
              <p:cNvSpPr/>
              <p:nvPr/>
            </p:nvSpPr>
            <p:spPr bwMode="auto">
              <a:xfrm>
                <a:off x="6223594" y="2911386"/>
                <a:ext cx="82560" cy="95069"/>
              </a:xfrm>
              <a:custGeom>
                <a:avLst/>
                <a:gdLst>
                  <a:gd name="T0" fmla="*/ 13 w 14"/>
                  <a:gd name="T1" fmla="*/ 9 h 16"/>
                  <a:gd name="T2" fmla="*/ 6 w 14"/>
                  <a:gd name="T3" fmla="*/ 16 h 16"/>
                  <a:gd name="T4" fmla="*/ 0 w 14"/>
                  <a:gd name="T5" fmla="*/ 7 h 16"/>
                  <a:gd name="T6" fmla="*/ 8 w 14"/>
                  <a:gd name="T7" fmla="*/ 0 h 16"/>
                  <a:gd name="T8" fmla="*/ 13 w 14"/>
                  <a:gd name="T9" fmla="*/ 9 h 16"/>
                </a:gdLst>
                <a:ahLst/>
                <a:cxnLst>
                  <a:cxn ang="0">
                    <a:pos x="T0" y="T1"/>
                  </a:cxn>
                  <a:cxn ang="0">
                    <a:pos x="T2" y="T3"/>
                  </a:cxn>
                  <a:cxn ang="0">
                    <a:pos x="T4" y="T5"/>
                  </a:cxn>
                  <a:cxn ang="0">
                    <a:pos x="T6" y="T7"/>
                  </a:cxn>
                  <a:cxn ang="0">
                    <a:pos x="T8" y="T9"/>
                  </a:cxn>
                </a:cxnLst>
                <a:rect l="0" t="0" r="r" b="b"/>
                <a:pathLst>
                  <a:path w="14" h="16">
                    <a:moveTo>
                      <a:pt x="13" y="9"/>
                    </a:moveTo>
                    <a:cubicBezTo>
                      <a:pt x="13" y="13"/>
                      <a:pt x="10" y="16"/>
                      <a:pt x="6" y="16"/>
                    </a:cubicBezTo>
                    <a:cubicBezTo>
                      <a:pt x="2" y="15"/>
                      <a:pt x="0" y="12"/>
                      <a:pt x="0" y="7"/>
                    </a:cubicBezTo>
                    <a:cubicBezTo>
                      <a:pt x="1" y="3"/>
                      <a:pt x="4" y="0"/>
                      <a:pt x="8" y="0"/>
                    </a:cubicBezTo>
                    <a:cubicBezTo>
                      <a:pt x="11" y="0"/>
                      <a:pt x="14" y="4"/>
                      <a:pt x="13" y="9"/>
                    </a:cubicBezTo>
                    <a:close/>
                  </a:path>
                </a:pathLst>
              </a:custGeom>
              <a:solidFill>
                <a:srgbClr val="7839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5" name="iŝḻïḋè">
                <a:extLst>
                  <a:ext uri="{FF2B5EF4-FFF2-40B4-BE49-F238E27FC236}">
                    <a16:creationId xmlns:a16="http://schemas.microsoft.com/office/drawing/2014/main" id="{CF17D2F3-D450-4EC8-807B-E54259E9A227}"/>
                  </a:ext>
                </a:extLst>
              </p:cNvPr>
              <p:cNvSpPr/>
              <p:nvPr/>
            </p:nvSpPr>
            <p:spPr bwMode="auto">
              <a:xfrm>
                <a:off x="6236102" y="2396012"/>
                <a:ext cx="190138" cy="87564"/>
              </a:xfrm>
              <a:custGeom>
                <a:avLst/>
                <a:gdLst>
                  <a:gd name="T0" fmla="*/ 0 w 32"/>
                  <a:gd name="T1" fmla="*/ 0 h 15"/>
                  <a:gd name="T2" fmla="*/ 4 w 32"/>
                  <a:gd name="T3" fmla="*/ 4 h 15"/>
                  <a:gd name="T4" fmla="*/ 15 w 32"/>
                  <a:gd name="T5" fmla="*/ 9 h 15"/>
                  <a:gd name="T6" fmla="*/ 21 w 32"/>
                  <a:gd name="T7" fmla="*/ 11 h 15"/>
                  <a:gd name="T8" fmla="*/ 27 w 32"/>
                  <a:gd name="T9" fmla="*/ 12 h 15"/>
                  <a:gd name="T10" fmla="*/ 31 w 32"/>
                  <a:gd name="T11" fmla="*/ 13 h 15"/>
                  <a:gd name="T12" fmla="*/ 32 w 32"/>
                  <a:gd name="T13" fmla="*/ 13 h 15"/>
                  <a:gd name="T14" fmla="*/ 31 w 32"/>
                  <a:gd name="T15" fmla="*/ 14 h 15"/>
                  <a:gd name="T16" fmla="*/ 27 w 32"/>
                  <a:gd name="T17" fmla="*/ 14 h 15"/>
                  <a:gd name="T18" fmla="*/ 21 w 32"/>
                  <a:gd name="T19" fmla="*/ 14 h 15"/>
                  <a:gd name="T20" fmla="*/ 14 w 32"/>
                  <a:gd name="T21" fmla="*/ 12 h 15"/>
                  <a:gd name="T22" fmla="*/ 8 w 32"/>
                  <a:gd name="T23" fmla="*/ 9 h 15"/>
                  <a:gd name="T24" fmla="*/ 3 w 32"/>
                  <a:gd name="T25" fmla="*/ 5 h 15"/>
                  <a:gd name="T26" fmla="*/ 0 w 32"/>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5">
                    <a:moveTo>
                      <a:pt x="0" y="0"/>
                    </a:moveTo>
                    <a:cubicBezTo>
                      <a:pt x="0" y="0"/>
                      <a:pt x="2" y="2"/>
                      <a:pt x="4" y="4"/>
                    </a:cubicBezTo>
                    <a:cubicBezTo>
                      <a:pt x="7" y="6"/>
                      <a:pt x="11" y="8"/>
                      <a:pt x="15" y="9"/>
                    </a:cubicBezTo>
                    <a:cubicBezTo>
                      <a:pt x="17" y="10"/>
                      <a:pt x="19" y="11"/>
                      <a:pt x="21" y="11"/>
                    </a:cubicBezTo>
                    <a:cubicBezTo>
                      <a:pt x="23" y="12"/>
                      <a:pt x="25" y="12"/>
                      <a:pt x="27" y="12"/>
                    </a:cubicBezTo>
                    <a:cubicBezTo>
                      <a:pt x="28" y="13"/>
                      <a:pt x="30" y="13"/>
                      <a:pt x="31" y="13"/>
                    </a:cubicBezTo>
                    <a:cubicBezTo>
                      <a:pt x="32" y="13"/>
                      <a:pt x="32" y="13"/>
                      <a:pt x="32" y="13"/>
                    </a:cubicBezTo>
                    <a:cubicBezTo>
                      <a:pt x="32" y="13"/>
                      <a:pt x="32" y="13"/>
                      <a:pt x="31" y="14"/>
                    </a:cubicBezTo>
                    <a:cubicBezTo>
                      <a:pt x="30" y="14"/>
                      <a:pt x="28" y="14"/>
                      <a:pt x="27" y="14"/>
                    </a:cubicBezTo>
                    <a:cubicBezTo>
                      <a:pt x="25" y="15"/>
                      <a:pt x="23" y="14"/>
                      <a:pt x="21" y="14"/>
                    </a:cubicBezTo>
                    <a:cubicBezTo>
                      <a:pt x="18" y="14"/>
                      <a:pt x="16" y="13"/>
                      <a:pt x="14" y="12"/>
                    </a:cubicBezTo>
                    <a:cubicBezTo>
                      <a:pt x="12" y="12"/>
                      <a:pt x="9" y="11"/>
                      <a:pt x="8" y="9"/>
                    </a:cubicBezTo>
                    <a:cubicBezTo>
                      <a:pt x="6" y="8"/>
                      <a:pt x="4" y="6"/>
                      <a:pt x="3" y="5"/>
                    </a:cubicBezTo>
                    <a:cubicBezTo>
                      <a:pt x="1" y="2"/>
                      <a:pt x="0" y="0"/>
                      <a:pt x="0" y="0"/>
                    </a:cubicBezTo>
                    <a:close/>
                  </a:path>
                </a:pathLst>
              </a:custGeom>
              <a:solidFill>
                <a:srgbClr val="7839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6" name="ïś1ïdé">
                <a:extLst>
                  <a:ext uri="{FF2B5EF4-FFF2-40B4-BE49-F238E27FC236}">
                    <a16:creationId xmlns:a16="http://schemas.microsoft.com/office/drawing/2014/main" id="{D32C0D75-C003-4585-B299-4A63E46AB631}"/>
                  </a:ext>
                </a:extLst>
              </p:cNvPr>
              <p:cNvSpPr/>
              <p:nvPr/>
            </p:nvSpPr>
            <p:spPr bwMode="auto">
              <a:xfrm>
                <a:off x="5713224" y="2396012"/>
                <a:ext cx="190138" cy="87564"/>
              </a:xfrm>
              <a:custGeom>
                <a:avLst/>
                <a:gdLst>
                  <a:gd name="T0" fmla="*/ 32 w 32"/>
                  <a:gd name="T1" fmla="*/ 0 h 15"/>
                  <a:gd name="T2" fmla="*/ 29 w 32"/>
                  <a:gd name="T3" fmla="*/ 5 h 15"/>
                  <a:gd name="T4" fmla="*/ 25 w 32"/>
                  <a:gd name="T5" fmla="*/ 9 h 15"/>
                  <a:gd name="T6" fmla="*/ 19 w 32"/>
                  <a:gd name="T7" fmla="*/ 12 h 15"/>
                  <a:gd name="T8" fmla="*/ 12 w 32"/>
                  <a:gd name="T9" fmla="*/ 14 h 15"/>
                  <a:gd name="T10" fmla="*/ 6 w 32"/>
                  <a:gd name="T11" fmla="*/ 14 h 15"/>
                  <a:gd name="T12" fmla="*/ 1 w 32"/>
                  <a:gd name="T13" fmla="*/ 14 h 15"/>
                  <a:gd name="T14" fmla="*/ 0 w 32"/>
                  <a:gd name="T15" fmla="*/ 13 h 15"/>
                  <a:gd name="T16" fmla="*/ 1 w 32"/>
                  <a:gd name="T17" fmla="*/ 13 h 15"/>
                  <a:gd name="T18" fmla="*/ 6 w 32"/>
                  <a:gd name="T19" fmla="*/ 12 h 15"/>
                  <a:gd name="T20" fmla="*/ 11 w 32"/>
                  <a:gd name="T21" fmla="*/ 11 h 15"/>
                  <a:gd name="T22" fmla="*/ 17 w 32"/>
                  <a:gd name="T23" fmla="*/ 9 h 15"/>
                  <a:gd name="T24" fmla="*/ 28 w 32"/>
                  <a:gd name="T25" fmla="*/ 4 h 15"/>
                  <a:gd name="T26" fmla="*/ 32 w 32"/>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5">
                    <a:moveTo>
                      <a:pt x="32" y="0"/>
                    </a:moveTo>
                    <a:cubicBezTo>
                      <a:pt x="32" y="0"/>
                      <a:pt x="32" y="2"/>
                      <a:pt x="29" y="5"/>
                    </a:cubicBezTo>
                    <a:cubicBezTo>
                      <a:pt x="28" y="6"/>
                      <a:pt x="27" y="8"/>
                      <a:pt x="25" y="9"/>
                    </a:cubicBezTo>
                    <a:cubicBezTo>
                      <a:pt x="23" y="11"/>
                      <a:pt x="21" y="12"/>
                      <a:pt x="19" y="12"/>
                    </a:cubicBezTo>
                    <a:cubicBezTo>
                      <a:pt x="16" y="13"/>
                      <a:pt x="14" y="14"/>
                      <a:pt x="12" y="14"/>
                    </a:cubicBezTo>
                    <a:cubicBezTo>
                      <a:pt x="10" y="14"/>
                      <a:pt x="7" y="15"/>
                      <a:pt x="6" y="14"/>
                    </a:cubicBezTo>
                    <a:cubicBezTo>
                      <a:pt x="4" y="14"/>
                      <a:pt x="2" y="14"/>
                      <a:pt x="1" y="14"/>
                    </a:cubicBezTo>
                    <a:cubicBezTo>
                      <a:pt x="0" y="13"/>
                      <a:pt x="0" y="13"/>
                      <a:pt x="0" y="13"/>
                    </a:cubicBezTo>
                    <a:cubicBezTo>
                      <a:pt x="0" y="13"/>
                      <a:pt x="0" y="13"/>
                      <a:pt x="1" y="13"/>
                    </a:cubicBezTo>
                    <a:cubicBezTo>
                      <a:pt x="2" y="13"/>
                      <a:pt x="4" y="13"/>
                      <a:pt x="6" y="12"/>
                    </a:cubicBezTo>
                    <a:cubicBezTo>
                      <a:pt x="7" y="12"/>
                      <a:pt x="9" y="12"/>
                      <a:pt x="11" y="11"/>
                    </a:cubicBezTo>
                    <a:cubicBezTo>
                      <a:pt x="13" y="11"/>
                      <a:pt x="15" y="10"/>
                      <a:pt x="17" y="9"/>
                    </a:cubicBezTo>
                    <a:cubicBezTo>
                      <a:pt x="21" y="8"/>
                      <a:pt x="25" y="6"/>
                      <a:pt x="28" y="4"/>
                    </a:cubicBezTo>
                    <a:cubicBezTo>
                      <a:pt x="31" y="2"/>
                      <a:pt x="32" y="0"/>
                      <a:pt x="32" y="0"/>
                    </a:cubicBezTo>
                    <a:close/>
                  </a:path>
                </a:pathLst>
              </a:custGeom>
              <a:solidFill>
                <a:srgbClr val="7839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7" name="íŝliḓê">
                <a:extLst>
                  <a:ext uri="{FF2B5EF4-FFF2-40B4-BE49-F238E27FC236}">
                    <a16:creationId xmlns:a16="http://schemas.microsoft.com/office/drawing/2014/main" id="{A49B4CDA-0D2B-4E43-BE28-16ABDF121F26}"/>
                  </a:ext>
                </a:extLst>
              </p:cNvPr>
              <p:cNvSpPr/>
              <p:nvPr/>
            </p:nvSpPr>
            <p:spPr bwMode="auto">
              <a:xfrm>
                <a:off x="5588133" y="2318457"/>
                <a:ext cx="392786" cy="255185"/>
              </a:xfrm>
              <a:custGeom>
                <a:avLst/>
                <a:gdLst>
                  <a:gd name="T0" fmla="*/ 3 w 66"/>
                  <a:gd name="T1" fmla="*/ 10 h 43"/>
                  <a:gd name="T2" fmla="*/ 6 w 66"/>
                  <a:gd name="T3" fmla="*/ 43 h 43"/>
                  <a:gd name="T4" fmla="*/ 33 w 66"/>
                  <a:gd name="T5" fmla="*/ 4 h 43"/>
                  <a:gd name="T6" fmla="*/ 3 w 66"/>
                  <a:gd name="T7" fmla="*/ 10 h 43"/>
                </a:gdLst>
                <a:ahLst/>
                <a:cxnLst>
                  <a:cxn ang="0">
                    <a:pos x="T0" y="T1"/>
                  </a:cxn>
                  <a:cxn ang="0">
                    <a:pos x="T2" y="T3"/>
                  </a:cxn>
                  <a:cxn ang="0">
                    <a:pos x="T4" y="T5"/>
                  </a:cxn>
                  <a:cxn ang="0">
                    <a:pos x="T6" y="T7"/>
                  </a:cxn>
                </a:cxnLst>
                <a:rect l="0" t="0" r="r" b="b"/>
                <a:pathLst>
                  <a:path w="66" h="43">
                    <a:moveTo>
                      <a:pt x="3" y="10"/>
                    </a:moveTo>
                    <a:cubicBezTo>
                      <a:pt x="3" y="10"/>
                      <a:pt x="1" y="27"/>
                      <a:pt x="6" y="43"/>
                    </a:cubicBezTo>
                    <a:cubicBezTo>
                      <a:pt x="6" y="43"/>
                      <a:pt x="0" y="8"/>
                      <a:pt x="33" y="4"/>
                    </a:cubicBezTo>
                    <a:cubicBezTo>
                      <a:pt x="66" y="0"/>
                      <a:pt x="3" y="10"/>
                      <a:pt x="3" y="10"/>
                    </a:cubicBezTo>
                    <a:close/>
                  </a:path>
                </a:pathLst>
              </a:custGeom>
              <a:solidFill>
                <a:schemeClr val="accent4">
                  <a:lumMod val="50000"/>
                </a:schemeClr>
              </a:solidFill>
              <a:ln>
                <a:noFill/>
              </a:ln>
            </p:spPr>
            <p:txBody>
              <a:bodyPr wrap="square" lIns="91440" tIns="45720" rIns="91440" bIns="45720" anchor="ctr">
                <a:normAutofit fontScale="25000" lnSpcReduction="20000"/>
              </a:bodyPr>
              <a:lstStyle/>
              <a:p>
                <a:pPr algn="ctr"/>
                <a:endParaRPr/>
              </a:p>
            </p:txBody>
          </p:sp>
          <p:sp>
            <p:nvSpPr>
              <p:cNvPr id="138" name="iŝ1ïďè">
                <a:extLst>
                  <a:ext uri="{FF2B5EF4-FFF2-40B4-BE49-F238E27FC236}">
                    <a16:creationId xmlns:a16="http://schemas.microsoft.com/office/drawing/2014/main" id="{636253BB-49A5-4AC1-9312-78E5CF1BE41A}"/>
                  </a:ext>
                </a:extLst>
              </p:cNvPr>
              <p:cNvSpPr/>
              <p:nvPr/>
            </p:nvSpPr>
            <p:spPr bwMode="auto">
              <a:xfrm>
                <a:off x="5903361" y="3184085"/>
                <a:ext cx="155112" cy="255185"/>
              </a:xfrm>
              <a:custGeom>
                <a:avLst/>
                <a:gdLst>
                  <a:gd name="T0" fmla="*/ 62 w 62"/>
                  <a:gd name="T1" fmla="*/ 66 h 102"/>
                  <a:gd name="T2" fmla="*/ 43 w 62"/>
                  <a:gd name="T3" fmla="*/ 102 h 102"/>
                  <a:gd name="T4" fmla="*/ 0 w 62"/>
                  <a:gd name="T5" fmla="*/ 33 h 102"/>
                  <a:gd name="T6" fmla="*/ 12 w 62"/>
                  <a:gd name="T7" fmla="*/ 0 h 102"/>
                  <a:gd name="T8" fmla="*/ 62 w 62"/>
                  <a:gd name="T9" fmla="*/ 66 h 102"/>
                </a:gdLst>
                <a:ahLst/>
                <a:cxnLst>
                  <a:cxn ang="0">
                    <a:pos x="T0" y="T1"/>
                  </a:cxn>
                  <a:cxn ang="0">
                    <a:pos x="T2" y="T3"/>
                  </a:cxn>
                  <a:cxn ang="0">
                    <a:pos x="T4" y="T5"/>
                  </a:cxn>
                  <a:cxn ang="0">
                    <a:pos x="T6" y="T7"/>
                  </a:cxn>
                  <a:cxn ang="0">
                    <a:pos x="T8" y="T9"/>
                  </a:cxn>
                </a:cxnLst>
                <a:rect l="0" t="0" r="r" b="b"/>
                <a:pathLst>
                  <a:path w="62" h="102">
                    <a:moveTo>
                      <a:pt x="62" y="66"/>
                    </a:moveTo>
                    <a:lnTo>
                      <a:pt x="43" y="102"/>
                    </a:lnTo>
                    <a:lnTo>
                      <a:pt x="0" y="33"/>
                    </a:lnTo>
                    <a:lnTo>
                      <a:pt x="12" y="0"/>
                    </a:lnTo>
                    <a:lnTo>
                      <a:pt x="62" y="6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39" name="íṧľidè">
                <a:extLst>
                  <a:ext uri="{FF2B5EF4-FFF2-40B4-BE49-F238E27FC236}">
                    <a16:creationId xmlns:a16="http://schemas.microsoft.com/office/drawing/2014/main" id="{80E2F3C8-52F2-45BE-9CCA-78199C189C47}"/>
                  </a:ext>
                </a:extLst>
              </p:cNvPr>
              <p:cNvSpPr/>
              <p:nvPr/>
            </p:nvSpPr>
            <p:spPr bwMode="auto">
              <a:xfrm>
                <a:off x="6166052" y="3184085"/>
                <a:ext cx="160117" cy="255185"/>
              </a:xfrm>
              <a:custGeom>
                <a:avLst/>
                <a:gdLst>
                  <a:gd name="T0" fmla="*/ 0 w 64"/>
                  <a:gd name="T1" fmla="*/ 66 h 102"/>
                  <a:gd name="T2" fmla="*/ 19 w 64"/>
                  <a:gd name="T3" fmla="*/ 102 h 102"/>
                  <a:gd name="T4" fmla="*/ 64 w 64"/>
                  <a:gd name="T5" fmla="*/ 33 h 102"/>
                  <a:gd name="T6" fmla="*/ 52 w 64"/>
                  <a:gd name="T7" fmla="*/ 0 h 102"/>
                  <a:gd name="T8" fmla="*/ 0 w 64"/>
                  <a:gd name="T9" fmla="*/ 66 h 102"/>
                </a:gdLst>
                <a:ahLst/>
                <a:cxnLst>
                  <a:cxn ang="0">
                    <a:pos x="T0" y="T1"/>
                  </a:cxn>
                  <a:cxn ang="0">
                    <a:pos x="T2" y="T3"/>
                  </a:cxn>
                  <a:cxn ang="0">
                    <a:pos x="T4" y="T5"/>
                  </a:cxn>
                  <a:cxn ang="0">
                    <a:pos x="T6" y="T7"/>
                  </a:cxn>
                  <a:cxn ang="0">
                    <a:pos x="T8" y="T9"/>
                  </a:cxn>
                </a:cxnLst>
                <a:rect l="0" t="0" r="r" b="b"/>
                <a:pathLst>
                  <a:path w="64" h="102">
                    <a:moveTo>
                      <a:pt x="0" y="66"/>
                    </a:moveTo>
                    <a:lnTo>
                      <a:pt x="19" y="102"/>
                    </a:lnTo>
                    <a:lnTo>
                      <a:pt x="64" y="33"/>
                    </a:lnTo>
                    <a:lnTo>
                      <a:pt x="52" y="0"/>
                    </a:lnTo>
                    <a:lnTo>
                      <a:pt x="0" y="6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0" name="iŝļídê">
                <a:extLst>
                  <a:ext uri="{FF2B5EF4-FFF2-40B4-BE49-F238E27FC236}">
                    <a16:creationId xmlns:a16="http://schemas.microsoft.com/office/drawing/2014/main" id="{4A966F6A-1A38-4875-AAAF-F4BE546C51BB}"/>
                  </a:ext>
                </a:extLst>
              </p:cNvPr>
              <p:cNvSpPr/>
              <p:nvPr/>
            </p:nvSpPr>
            <p:spPr bwMode="auto">
              <a:xfrm>
                <a:off x="5428017" y="4102250"/>
                <a:ext cx="267695" cy="255185"/>
              </a:xfrm>
              <a:custGeom>
                <a:avLst/>
                <a:gdLst>
                  <a:gd name="T0" fmla="*/ 14 w 45"/>
                  <a:gd name="T1" fmla="*/ 2 h 43"/>
                  <a:gd name="T2" fmla="*/ 1 w 45"/>
                  <a:gd name="T3" fmla="*/ 19 h 43"/>
                  <a:gd name="T4" fmla="*/ 18 w 45"/>
                  <a:gd name="T5" fmla="*/ 39 h 43"/>
                  <a:gd name="T6" fmla="*/ 35 w 45"/>
                  <a:gd name="T7" fmla="*/ 16 h 43"/>
                  <a:gd name="T8" fmla="*/ 14 w 45"/>
                  <a:gd name="T9" fmla="*/ 2 h 43"/>
                </a:gdLst>
                <a:ahLst/>
                <a:cxnLst>
                  <a:cxn ang="0">
                    <a:pos x="T0" y="T1"/>
                  </a:cxn>
                  <a:cxn ang="0">
                    <a:pos x="T2" y="T3"/>
                  </a:cxn>
                  <a:cxn ang="0">
                    <a:pos x="T4" y="T5"/>
                  </a:cxn>
                  <a:cxn ang="0">
                    <a:pos x="T6" y="T7"/>
                  </a:cxn>
                  <a:cxn ang="0">
                    <a:pos x="T8" y="T9"/>
                  </a:cxn>
                </a:cxnLst>
                <a:rect l="0" t="0" r="r" b="b"/>
                <a:pathLst>
                  <a:path w="45" h="43">
                    <a:moveTo>
                      <a:pt x="14" y="2"/>
                    </a:moveTo>
                    <a:cubicBezTo>
                      <a:pt x="3" y="4"/>
                      <a:pt x="2" y="7"/>
                      <a:pt x="1" y="19"/>
                    </a:cubicBezTo>
                    <a:cubicBezTo>
                      <a:pt x="0" y="27"/>
                      <a:pt x="7" y="35"/>
                      <a:pt x="18" y="39"/>
                    </a:cubicBezTo>
                    <a:cubicBezTo>
                      <a:pt x="28" y="43"/>
                      <a:pt x="45" y="27"/>
                      <a:pt x="35" y="16"/>
                    </a:cubicBezTo>
                    <a:cubicBezTo>
                      <a:pt x="28" y="9"/>
                      <a:pt x="26" y="0"/>
                      <a:pt x="14" y="2"/>
                    </a:cubicBezTo>
                    <a:close/>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1" name="i$lîḋé">
                <a:extLst>
                  <a:ext uri="{FF2B5EF4-FFF2-40B4-BE49-F238E27FC236}">
                    <a16:creationId xmlns:a16="http://schemas.microsoft.com/office/drawing/2014/main" id="{8DF63D12-A7BE-42BD-A5F9-469EE7C28FCB}"/>
                  </a:ext>
                </a:extLst>
              </p:cNvPr>
              <p:cNvSpPr/>
              <p:nvPr/>
            </p:nvSpPr>
            <p:spPr bwMode="auto">
              <a:xfrm>
                <a:off x="5548104" y="4149785"/>
                <a:ext cx="200145" cy="125090"/>
              </a:xfrm>
              <a:custGeom>
                <a:avLst/>
                <a:gdLst>
                  <a:gd name="T0" fmla="*/ 7 w 34"/>
                  <a:gd name="T1" fmla="*/ 1 h 21"/>
                  <a:gd name="T2" fmla="*/ 2 w 34"/>
                  <a:gd name="T3" fmla="*/ 3 h 21"/>
                  <a:gd name="T4" fmla="*/ 2 w 34"/>
                  <a:gd name="T5" fmla="*/ 7 h 21"/>
                  <a:gd name="T6" fmla="*/ 28 w 34"/>
                  <a:gd name="T7" fmla="*/ 21 h 21"/>
                  <a:gd name="T8" fmla="*/ 33 w 34"/>
                  <a:gd name="T9" fmla="*/ 19 h 21"/>
                  <a:gd name="T10" fmla="*/ 32 w 34"/>
                  <a:gd name="T11" fmla="*/ 14 h 21"/>
                  <a:gd name="T12" fmla="*/ 7 w 34"/>
                  <a:gd name="T13" fmla="*/ 1 h 21"/>
                </a:gdLst>
                <a:ahLst/>
                <a:cxnLst>
                  <a:cxn ang="0">
                    <a:pos x="T0" y="T1"/>
                  </a:cxn>
                  <a:cxn ang="0">
                    <a:pos x="T2" y="T3"/>
                  </a:cxn>
                  <a:cxn ang="0">
                    <a:pos x="T4" y="T5"/>
                  </a:cxn>
                  <a:cxn ang="0">
                    <a:pos x="T6" y="T7"/>
                  </a:cxn>
                  <a:cxn ang="0">
                    <a:pos x="T8" y="T9"/>
                  </a:cxn>
                  <a:cxn ang="0">
                    <a:pos x="T10" y="T11"/>
                  </a:cxn>
                  <a:cxn ang="0">
                    <a:pos x="T12" y="T13"/>
                  </a:cxn>
                </a:cxnLst>
                <a:rect l="0" t="0" r="r" b="b"/>
                <a:pathLst>
                  <a:path w="34" h="21">
                    <a:moveTo>
                      <a:pt x="7" y="1"/>
                    </a:moveTo>
                    <a:cubicBezTo>
                      <a:pt x="5" y="0"/>
                      <a:pt x="3" y="1"/>
                      <a:pt x="2" y="3"/>
                    </a:cubicBezTo>
                    <a:cubicBezTo>
                      <a:pt x="0" y="4"/>
                      <a:pt x="1" y="7"/>
                      <a:pt x="2" y="7"/>
                    </a:cubicBezTo>
                    <a:cubicBezTo>
                      <a:pt x="28" y="21"/>
                      <a:pt x="28" y="21"/>
                      <a:pt x="28" y="21"/>
                    </a:cubicBezTo>
                    <a:cubicBezTo>
                      <a:pt x="29" y="21"/>
                      <a:pt x="32" y="21"/>
                      <a:pt x="33" y="19"/>
                    </a:cubicBezTo>
                    <a:cubicBezTo>
                      <a:pt x="34" y="17"/>
                      <a:pt x="34" y="15"/>
                      <a:pt x="32" y="14"/>
                    </a:cubicBezTo>
                    <a:lnTo>
                      <a:pt x="7" y="1"/>
                    </a:lnTo>
                    <a:close/>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2" name="íśľîḋe">
                <a:extLst>
                  <a:ext uri="{FF2B5EF4-FFF2-40B4-BE49-F238E27FC236}">
                    <a16:creationId xmlns:a16="http://schemas.microsoft.com/office/drawing/2014/main" id="{C80E6FD7-4E3C-48CC-A550-D5F4ACD5E208}"/>
                  </a:ext>
                </a:extLst>
              </p:cNvPr>
              <p:cNvSpPr/>
              <p:nvPr/>
            </p:nvSpPr>
            <p:spPr bwMode="auto">
              <a:xfrm>
                <a:off x="5553107" y="4197319"/>
                <a:ext cx="190138" cy="142604"/>
              </a:xfrm>
              <a:custGeom>
                <a:avLst/>
                <a:gdLst>
                  <a:gd name="T0" fmla="*/ 7 w 32"/>
                  <a:gd name="T1" fmla="*/ 1 h 24"/>
                  <a:gd name="T2" fmla="*/ 2 w 32"/>
                  <a:gd name="T3" fmla="*/ 2 h 24"/>
                  <a:gd name="T4" fmla="*/ 2 w 32"/>
                  <a:gd name="T5" fmla="*/ 7 h 24"/>
                  <a:gd name="T6" fmla="*/ 25 w 32"/>
                  <a:gd name="T7" fmla="*/ 23 h 24"/>
                  <a:gd name="T8" fmla="*/ 31 w 32"/>
                  <a:gd name="T9" fmla="*/ 21 h 24"/>
                  <a:gd name="T10" fmla="*/ 30 w 32"/>
                  <a:gd name="T11" fmla="*/ 16 h 24"/>
                  <a:gd name="T12" fmla="*/ 7 w 32"/>
                  <a:gd name="T13" fmla="*/ 1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7" y="1"/>
                    </a:moveTo>
                    <a:cubicBezTo>
                      <a:pt x="5" y="0"/>
                      <a:pt x="3" y="0"/>
                      <a:pt x="2" y="2"/>
                    </a:cubicBezTo>
                    <a:cubicBezTo>
                      <a:pt x="0" y="4"/>
                      <a:pt x="0" y="6"/>
                      <a:pt x="2" y="7"/>
                    </a:cubicBezTo>
                    <a:cubicBezTo>
                      <a:pt x="25" y="23"/>
                      <a:pt x="25" y="23"/>
                      <a:pt x="25" y="23"/>
                    </a:cubicBezTo>
                    <a:cubicBezTo>
                      <a:pt x="27" y="24"/>
                      <a:pt x="29" y="23"/>
                      <a:pt x="31" y="21"/>
                    </a:cubicBezTo>
                    <a:cubicBezTo>
                      <a:pt x="32" y="20"/>
                      <a:pt x="32" y="17"/>
                      <a:pt x="30" y="16"/>
                    </a:cubicBezTo>
                    <a:lnTo>
                      <a:pt x="7" y="1"/>
                    </a:lnTo>
                    <a:close/>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3" name="îšḻiďê">
                <a:extLst>
                  <a:ext uri="{FF2B5EF4-FFF2-40B4-BE49-F238E27FC236}">
                    <a16:creationId xmlns:a16="http://schemas.microsoft.com/office/drawing/2014/main" id="{9D5F1D27-F25E-4B1B-B735-9C362E94915C}"/>
                  </a:ext>
                </a:extLst>
              </p:cNvPr>
              <p:cNvSpPr/>
              <p:nvPr/>
            </p:nvSpPr>
            <p:spPr bwMode="auto">
              <a:xfrm>
                <a:off x="5513079" y="4232345"/>
                <a:ext cx="187637" cy="142604"/>
              </a:xfrm>
              <a:custGeom>
                <a:avLst/>
                <a:gdLst>
                  <a:gd name="T0" fmla="*/ 7 w 32"/>
                  <a:gd name="T1" fmla="*/ 1 h 24"/>
                  <a:gd name="T2" fmla="*/ 1 w 32"/>
                  <a:gd name="T3" fmla="*/ 2 h 24"/>
                  <a:gd name="T4" fmla="*/ 2 w 32"/>
                  <a:gd name="T5" fmla="*/ 7 h 24"/>
                  <a:gd name="T6" fmla="*/ 25 w 32"/>
                  <a:gd name="T7" fmla="*/ 23 h 24"/>
                  <a:gd name="T8" fmla="*/ 31 w 32"/>
                  <a:gd name="T9" fmla="*/ 21 h 24"/>
                  <a:gd name="T10" fmla="*/ 30 w 32"/>
                  <a:gd name="T11" fmla="*/ 16 h 24"/>
                  <a:gd name="T12" fmla="*/ 7 w 32"/>
                  <a:gd name="T13" fmla="*/ 1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7" y="1"/>
                    </a:moveTo>
                    <a:cubicBezTo>
                      <a:pt x="5" y="0"/>
                      <a:pt x="3" y="0"/>
                      <a:pt x="1" y="2"/>
                    </a:cubicBezTo>
                    <a:cubicBezTo>
                      <a:pt x="0" y="4"/>
                      <a:pt x="0" y="6"/>
                      <a:pt x="2" y="7"/>
                    </a:cubicBezTo>
                    <a:cubicBezTo>
                      <a:pt x="25" y="23"/>
                      <a:pt x="25" y="23"/>
                      <a:pt x="25" y="23"/>
                    </a:cubicBezTo>
                    <a:cubicBezTo>
                      <a:pt x="27" y="24"/>
                      <a:pt x="29" y="23"/>
                      <a:pt x="31" y="21"/>
                    </a:cubicBezTo>
                    <a:cubicBezTo>
                      <a:pt x="32" y="19"/>
                      <a:pt x="32" y="17"/>
                      <a:pt x="30" y="16"/>
                    </a:cubicBezTo>
                    <a:lnTo>
                      <a:pt x="7" y="1"/>
                    </a:lnTo>
                    <a:close/>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4" name="î$ḻîḍè">
                <a:extLst>
                  <a:ext uri="{FF2B5EF4-FFF2-40B4-BE49-F238E27FC236}">
                    <a16:creationId xmlns:a16="http://schemas.microsoft.com/office/drawing/2014/main" id="{F2D4D51E-4C82-4CF8-AD4E-6A759F2C2A96}"/>
                  </a:ext>
                </a:extLst>
              </p:cNvPr>
              <p:cNvSpPr/>
              <p:nvPr/>
            </p:nvSpPr>
            <p:spPr bwMode="auto">
              <a:xfrm>
                <a:off x="5445529" y="4249858"/>
                <a:ext cx="190138" cy="142604"/>
              </a:xfrm>
              <a:custGeom>
                <a:avLst/>
                <a:gdLst>
                  <a:gd name="T0" fmla="*/ 7 w 32"/>
                  <a:gd name="T1" fmla="*/ 1 h 24"/>
                  <a:gd name="T2" fmla="*/ 1 w 32"/>
                  <a:gd name="T3" fmla="*/ 2 h 24"/>
                  <a:gd name="T4" fmla="*/ 2 w 32"/>
                  <a:gd name="T5" fmla="*/ 7 h 24"/>
                  <a:gd name="T6" fmla="*/ 25 w 32"/>
                  <a:gd name="T7" fmla="*/ 23 h 24"/>
                  <a:gd name="T8" fmla="*/ 30 w 32"/>
                  <a:gd name="T9" fmla="*/ 21 h 24"/>
                  <a:gd name="T10" fmla="*/ 30 w 32"/>
                  <a:gd name="T11" fmla="*/ 16 h 24"/>
                  <a:gd name="T12" fmla="*/ 7 w 32"/>
                  <a:gd name="T13" fmla="*/ 1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7" y="1"/>
                    </a:moveTo>
                    <a:cubicBezTo>
                      <a:pt x="5" y="0"/>
                      <a:pt x="3" y="0"/>
                      <a:pt x="1" y="2"/>
                    </a:cubicBezTo>
                    <a:cubicBezTo>
                      <a:pt x="0" y="4"/>
                      <a:pt x="0" y="6"/>
                      <a:pt x="2" y="7"/>
                    </a:cubicBezTo>
                    <a:cubicBezTo>
                      <a:pt x="25" y="23"/>
                      <a:pt x="25" y="23"/>
                      <a:pt x="25" y="23"/>
                    </a:cubicBezTo>
                    <a:cubicBezTo>
                      <a:pt x="27" y="24"/>
                      <a:pt x="29" y="23"/>
                      <a:pt x="30" y="21"/>
                    </a:cubicBezTo>
                    <a:cubicBezTo>
                      <a:pt x="32" y="20"/>
                      <a:pt x="32" y="17"/>
                      <a:pt x="30" y="16"/>
                    </a:cubicBezTo>
                    <a:lnTo>
                      <a:pt x="7" y="1"/>
                    </a:lnTo>
                    <a:close/>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5" name="ïṧlïďè">
                <a:extLst>
                  <a:ext uri="{FF2B5EF4-FFF2-40B4-BE49-F238E27FC236}">
                    <a16:creationId xmlns:a16="http://schemas.microsoft.com/office/drawing/2014/main" id="{DFD45203-9ED6-47E3-835B-880287FEEF1B}"/>
                  </a:ext>
                </a:extLst>
              </p:cNvPr>
              <p:cNvSpPr/>
              <p:nvPr/>
            </p:nvSpPr>
            <p:spPr bwMode="auto">
              <a:xfrm>
                <a:off x="5513079" y="4102250"/>
                <a:ext cx="165120" cy="72553"/>
              </a:xfrm>
              <a:custGeom>
                <a:avLst/>
                <a:gdLst>
                  <a:gd name="T0" fmla="*/ 4 w 28"/>
                  <a:gd name="T1" fmla="*/ 2 h 12"/>
                  <a:gd name="T2" fmla="*/ 20 w 28"/>
                  <a:gd name="T3" fmla="*/ 0 h 12"/>
                  <a:gd name="T4" fmla="*/ 27 w 28"/>
                  <a:gd name="T5" fmla="*/ 5 h 12"/>
                  <a:gd name="T6" fmla="*/ 22 w 28"/>
                  <a:gd name="T7" fmla="*/ 10 h 12"/>
                  <a:gd name="T8" fmla="*/ 0 w 28"/>
                  <a:gd name="T9" fmla="*/ 12 h 12"/>
                  <a:gd name="T10" fmla="*/ 4 w 28"/>
                  <a:gd name="T11" fmla="*/ 2 h 12"/>
                </a:gdLst>
                <a:ahLst/>
                <a:cxnLst>
                  <a:cxn ang="0">
                    <a:pos x="T0" y="T1"/>
                  </a:cxn>
                  <a:cxn ang="0">
                    <a:pos x="T2" y="T3"/>
                  </a:cxn>
                  <a:cxn ang="0">
                    <a:pos x="T4" y="T5"/>
                  </a:cxn>
                  <a:cxn ang="0">
                    <a:pos x="T6" y="T7"/>
                  </a:cxn>
                  <a:cxn ang="0">
                    <a:pos x="T8" y="T9"/>
                  </a:cxn>
                  <a:cxn ang="0">
                    <a:pos x="T10" y="T11"/>
                  </a:cxn>
                </a:cxnLst>
                <a:rect l="0" t="0" r="r" b="b"/>
                <a:pathLst>
                  <a:path w="28" h="12">
                    <a:moveTo>
                      <a:pt x="4" y="2"/>
                    </a:moveTo>
                    <a:cubicBezTo>
                      <a:pt x="20" y="0"/>
                      <a:pt x="20" y="0"/>
                      <a:pt x="20" y="0"/>
                    </a:cubicBezTo>
                    <a:cubicBezTo>
                      <a:pt x="23" y="0"/>
                      <a:pt x="28" y="2"/>
                      <a:pt x="27" y="5"/>
                    </a:cubicBezTo>
                    <a:cubicBezTo>
                      <a:pt x="27" y="7"/>
                      <a:pt x="25" y="10"/>
                      <a:pt x="22" y="10"/>
                    </a:cubicBezTo>
                    <a:cubicBezTo>
                      <a:pt x="0" y="12"/>
                      <a:pt x="0" y="12"/>
                      <a:pt x="0" y="12"/>
                    </a:cubicBezTo>
                    <a:cubicBezTo>
                      <a:pt x="2" y="8"/>
                      <a:pt x="3" y="5"/>
                      <a:pt x="4" y="2"/>
                    </a:cubicBezTo>
                    <a:close/>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6" name="iSḷíďè">
                <a:extLst>
                  <a:ext uri="{FF2B5EF4-FFF2-40B4-BE49-F238E27FC236}">
                    <a16:creationId xmlns:a16="http://schemas.microsoft.com/office/drawing/2014/main" id="{D02B17F8-34AE-489A-825D-73FDC58B8830}"/>
                  </a:ext>
                </a:extLst>
              </p:cNvPr>
              <p:cNvSpPr/>
              <p:nvPr/>
            </p:nvSpPr>
            <p:spPr bwMode="auto">
              <a:xfrm>
                <a:off x="5095274" y="3284158"/>
                <a:ext cx="605439" cy="1020741"/>
              </a:xfrm>
              <a:custGeom>
                <a:avLst/>
                <a:gdLst>
                  <a:gd name="T0" fmla="*/ 49 w 102"/>
                  <a:gd name="T1" fmla="*/ 74 h 172"/>
                  <a:gd name="T2" fmla="*/ 102 w 102"/>
                  <a:gd name="T3" fmla="*/ 32 h 172"/>
                  <a:gd name="T4" fmla="*/ 100 w 102"/>
                  <a:gd name="T5" fmla="*/ 0 h 172"/>
                  <a:gd name="T6" fmla="*/ 14 w 102"/>
                  <a:gd name="T7" fmla="*/ 65 h 172"/>
                  <a:gd name="T8" fmla="*/ 63 w 102"/>
                  <a:gd name="T9" fmla="*/ 172 h 172"/>
                  <a:gd name="T10" fmla="*/ 73 w 102"/>
                  <a:gd name="T11" fmla="*/ 140 h 172"/>
                  <a:gd name="T12" fmla="*/ 49 w 102"/>
                  <a:gd name="T13" fmla="*/ 74 h 172"/>
                </a:gdLst>
                <a:ahLst/>
                <a:cxnLst>
                  <a:cxn ang="0">
                    <a:pos x="T0" y="T1"/>
                  </a:cxn>
                  <a:cxn ang="0">
                    <a:pos x="T2" y="T3"/>
                  </a:cxn>
                  <a:cxn ang="0">
                    <a:pos x="T4" y="T5"/>
                  </a:cxn>
                  <a:cxn ang="0">
                    <a:pos x="T6" y="T7"/>
                  </a:cxn>
                  <a:cxn ang="0">
                    <a:pos x="T8" y="T9"/>
                  </a:cxn>
                  <a:cxn ang="0">
                    <a:pos x="T10" y="T11"/>
                  </a:cxn>
                  <a:cxn ang="0">
                    <a:pos x="T12" y="T13"/>
                  </a:cxn>
                </a:cxnLst>
                <a:rect l="0" t="0" r="r" b="b"/>
                <a:pathLst>
                  <a:path w="102" h="172">
                    <a:moveTo>
                      <a:pt x="49" y="74"/>
                    </a:moveTo>
                    <a:cubicBezTo>
                      <a:pt x="57" y="53"/>
                      <a:pt x="78" y="37"/>
                      <a:pt x="102" y="32"/>
                    </a:cubicBezTo>
                    <a:cubicBezTo>
                      <a:pt x="100" y="0"/>
                      <a:pt x="100" y="0"/>
                      <a:pt x="100" y="0"/>
                    </a:cubicBezTo>
                    <a:cubicBezTo>
                      <a:pt x="59" y="6"/>
                      <a:pt x="26" y="30"/>
                      <a:pt x="14" y="65"/>
                    </a:cubicBezTo>
                    <a:cubicBezTo>
                      <a:pt x="0" y="106"/>
                      <a:pt x="21" y="149"/>
                      <a:pt x="63" y="172"/>
                    </a:cubicBezTo>
                    <a:cubicBezTo>
                      <a:pt x="73" y="140"/>
                      <a:pt x="73" y="140"/>
                      <a:pt x="73" y="140"/>
                    </a:cubicBezTo>
                    <a:cubicBezTo>
                      <a:pt x="51" y="123"/>
                      <a:pt x="41" y="99"/>
                      <a:pt x="49" y="74"/>
                    </a:cubicBezTo>
                    <a:close/>
                  </a:path>
                </a:pathLst>
              </a:custGeom>
              <a:solidFill>
                <a:srgbClr val="055275"/>
              </a:solidFill>
              <a:ln>
                <a:noFill/>
              </a:ln>
            </p:spPr>
            <p:txBody>
              <a:bodyPr wrap="square" lIns="91440" tIns="45720" rIns="91440" bIns="45720" anchor="ctr">
                <a:normAutofit/>
              </a:bodyPr>
              <a:lstStyle/>
              <a:p>
                <a:pPr algn="ctr"/>
                <a:endParaRPr/>
              </a:p>
            </p:txBody>
          </p:sp>
          <p:sp>
            <p:nvSpPr>
              <p:cNvPr id="147" name="îṡľíḍé">
                <a:extLst>
                  <a:ext uri="{FF2B5EF4-FFF2-40B4-BE49-F238E27FC236}">
                    <a16:creationId xmlns:a16="http://schemas.microsoft.com/office/drawing/2014/main" id="{1DA9AED6-86DE-4FED-94F5-D4BEE7ED803B}"/>
                  </a:ext>
                </a:extLst>
              </p:cNvPr>
              <p:cNvSpPr/>
              <p:nvPr/>
            </p:nvSpPr>
            <p:spPr bwMode="auto">
              <a:xfrm>
                <a:off x="6526314" y="2110805"/>
                <a:ext cx="285207" cy="325236"/>
              </a:xfrm>
              <a:custGeom>
                <a:avLst/>
                <a:gdLst>
                  <a:gd name="T0" fmla="*/ 41 w 48"/>
                  <a:gd name="T1" fmla="*/ 16 h 55"/>
                  <a:gd name="T2" fmla="*/ 33 w 48"/>
                  <a:gd name="T3" fmla="*/ 48 h 55"/>
                  <a:gd name="T4" fmla="*/ 9 w 48"/>
                  <a:gd name="T5" fmla="*/ 41 h 55"/>
                  <a:gd name="T6" fmla="*/ 12 w 48"/>
                  <a:gd name="T7" fmla="*/ 8 h 55"/>
                  <a:gd name="T8" fmla="*/ 41 w 48"/>
                  <a:gd name="T9" fmla="*/ 16 h 55"/>
                </a:gdLst>
                <a:ahLst/>
                <a:cxnLst>
                  <a:cxn ang="0">
                    <a:pos x="T0" y="T1"/>
                  </a:cxn>
                  <a:cxn ang="0">
                    <a:pos x="T2" y="T3"/>
                  </a:cxn>
                  <a:cxn ang="0">
                    <a:pos x="T4" y="T5"/>
                  </a:cxn>
                  <a:cxn ang="0">
                    <a:pos x="T6" y="T7"/>
                  </a:cxn>
                  <a:cxn ang="0">
                    <a:pos x="T8" y="T9"/>
                  </a:cxn>
                </a:cxnLst>
                <a:rect l="0" t="0" r="r" b="b"/>
                <a:pathLst>
                  <a:path w="48" h="55">
                    <a:moveTo>
                      <a:pt x="41" y="16"/>
                    </a:moveTo>
                    <a:cubicBezTo>
                      <a:pt x="48" y="27"/>
                      <a:pt x="42" y="38"/>
                      <a:pt x="33" y="48"/>
                    </a:cubicBezTo>
                    <a:cubicBezTo>
                      <a:pt x="28" y="55"/>
                      <a:pt x="20" y="46"/>
                      <a:pt x="9" y="41"/>
                    </a:cubicBezTo>
                    <a:cubicBezTo>
                      <a:pt x="0" y="36"/>
                      <a:pt x="4" y="15"/>
                      <a:pt x="12" y="8"/>
                    </a:cubicBezTo>
                    <a:cubicBezTo>
                      <a:pt x="20" y="0"/>
                      <a:pt x="35" y="6"/>
                      <a:pt x="41" y="16"/>
                    </a:cubicBezTo>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8" name="ïŝľíḍè">
                <a:extLst>
                  <a:ext uri="{FF2B5EF4-FFF2-40B4-BE49-F238E27FC236}">
                    <a16:creationId xmlns:a16="http://schemas.microsoft.com/office/drawing/2014/main" id="{B131299A-2CAA-4279-B76F-4D4D69D7466A}"/>
                  </a:ext>
                </a:extLst>
              </p:cNvPr>
              <p:cNvSpPr/>
              <p:nvPr/>
            </p:nvSpPr>
            <p:spPr bwMode="auto">
              <a:xfrm>
                <a:off x="6486284" y="2115810"/>
                <a:ext cx="217659" cy="120087"/>
              </a:xfrm>
              <a:custGeom>
                <a:avLst/>
                <a:gdLst>
                  <a:gd name="T0" fmla="*/ 34 w 37"/>
                  <a:gd name="T1" fmla="*/ 10 h 20"/>
                  <a:gd name="T2" fmla="*/ 36 w 37"/>
                  <a:gd name="T3" fmla="*/ 16 h 20"/>
                  <a:gd name="T4" fmla="*/ 32 w 37"/>
                  <a:gd name="T5" fmla="*/ 19 h 20"/>
                  <a:gd name="T6" fmla="*/ 3 w 37"/>
                  <a:gd name="T7" fmla="*/ 9 h 20"/>
                  <a:gd name="T8" fmla="*/ 1 w 37"/>
                  <a:gd name="T9" fmla="*/ 3 h 20"/>
                  <a:gd name="T10" fmla="*/ 5 w 37"/>
                  <a:gd name="T11" fmla="*/ 0 h 20"/>
                  <a:gd name="T12" fmla="*/ 34 w 37"/>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37" h="20">
                    <a:moveTo>
                      <a:pt x="34" y="10"/>
                    </a:moveTo>
                    <a:cubicBezTo>
                      <a:pt x="36" y="11"/>
                      <a:pt x="37" y="14"/>
                      <a:pt x="36" y="16"/>
                    </a:cubicBezTo>
                    <a:cubicBezTo>
                      <a:pt x="36" y="18"/>
                      <a:pt x="34" y="20"/>
                      <a:pt x="32" y="19"/>
                    </a:cubicBezTo>
                    <a:cubicBezTo>
                      <a:pt x="3" y="9"/>
                      <a:pt x="3" y="9"/>
                      <a:pt x="3" y="9"/>
                    </a:cubicBezTo>
                    <a:cubicBezTo>
                      <a:pt x="1" y="8"/>
                      <a:pt x="0" y="6"/>
                      <a:pt x="1" y="3"/>
                    </a:cubicBezTo>
                    <a:cubicBezTo>
                      <a:pt x="1" y="1"/>
                      <a:pt x="3" y="0"/>
                      <a:pt x="5" y="0"/>
                    </a:cubicBezTo>
                    <a:cubicBezTo>
                      <a:pt x="34" y="10"/>
                      <a:pt x="34" y="10"/>
                      <a:pt x="34" y="10"/>
                    </a:cubicBezTo>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49" name="ísḷïďê">
                <a:extLst>
                  <a:ext uri="{FF2B5EF4-FFF2-40B4-BE49-F238E27FC236}">
                    <a16:creationId xmlns:a16="http://schemas.microsoft.com/office/drawing/2014/main" id="{877B1A4A-E1AD-42DD-A6BF-E9782B042C81}"/>
                  </a:ext>
                </a:extLst>
              </p:cNvPr>
              <p:cNvSpPr/>
              <p:nvPr/>
            </p:nvSpPr>
            <p:spPr bwMode="auto">
              <a:xfrm>
                <a:off x="6443754" y="2163345"/>
                <a:ext cx="220160" cy="102575"/>
              </a:xfrm>
              <a:custGeom>
                <a:avLst/>
                <a:gdLst>
                  <a:gd name="T0" fmla="*/ 34 w 37"/>
                  <a:gd name="T1" fmla="*/ 8 h 17"/>
                  <a:gd name="T2" fmla="*/ 37 w 37"/>
                  <a:gd name="T3" fmla="*/ 13 h 17"/>
                  <a:gd name="T4" fmla="*/ 32 w 37"/>
                  <a:gd name="T5" fmla="*/ 16 h 17"/>
                  <a:gd name="T6" fmla="*/ 3 w 37"/>
                  <a:gd name="T7" fmla="*/ 9 h 17"/>
                  <a:gd name="T8" fmla="*/ 0 w 37"/>
                  <a:gd name="T9" fmla="*/ 4 h 17"/>
                  <a:gd name="T10" fmla="*/ 4 w 37"/>
                  <a:gd name="T11" fmla="*/ 1 h 17"/>
                  <a:gd name="T12" fmla="*/ 34 w 37"/>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37" h="17">
                    <a:moveTo>
                      <a:pt x="34" y="8"/>
                    </a:moveTo>
                    <a:cubicBezTo>
                      <a:pt x="36" y="8"/>
                      <a:pt x="37" y="10"/>
                      <a:pt x="37" y="13"/>
                    </a:cubicBezTo>
                    <a:cubicBezTo>
                      <a:pt x="36" y="15"/>
                      <a:pt x="34" y="17"/>
                      <a:pt x="32" y="16"/>
                    </a:cubicBezTo>
                    <a:cubicBezTo>
                      <a:pt x="3" y="9"/>
                      <a:pt x="3" y="9"/>
                      <a:pt x="3" y="9"/>
                    </a:cubicBezTo>
                    <a:cubicBezTo>
                      <a:pt x="1" y="9"/>
                      <a:pt x="0" y="6"/>
                      <a:pt x="0" y="4"/>
                    </a:cubicBezTo>
                    <a:cubicBezTo>
                      <a:pt x="1" y="2"/>
                      <a:pt x="3" y="0"/>
                      <a:pt x="4" y="1"/>
                    </a:cubicBezTo>
                    <a:cubicBezTo>
                      <a:pt x="34" y="8"/>
                      <a:pt x="34" y="8"/>
                      <a:pt x="34" y="8"/>
                    </a:cubicBezTo>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50" name="iṣḷïďè">
                <a:extLst>
                  <a:ext uri="{FF2B5EF4-FFF2-40B4-BE49-F238E27FC236}">
                    <a16:creationId xmlns:a16="http://schemas.microsoft.com/office/drawing/2014/main" id="{8058E1BE-520A-4A90-8427-845FF6F48E21}"/>
                  </a:ext>
                </a:extLst>
              </p:cNvPr>
              <p:cNvSpPr/>
              <p:nvPr/>
            </p:nvSpPr>
            <p:spPr bwMode="auto">
              <a:xfrm>
                <a:off x="6448757" y="2223388"/>
                <a:ext cx="220160" cy="100073"/>
              </a:xfrm>
              <a:custGeom>
                <a:avLst/>
                <a:gdLst>
                  <a:gd name="T0" fmla="*/ 34 w 37"/>
                  <a:gd name="T1" fmla="*/ 7 h 17"/>
                  <a:gd name="T2" fmla="*/ 36 w 37"/>
                  <a:gd name="T3" fmla="*/ 13 h 17"/>
                  <a:gd name="T4" fmla="*/ 32 w 37"/>
                  <a:gd name="T5" fmla="*/ 16 h 17"/>
                  <a:gd name="T6" fmla="*/ 3 w 37"/>
                  <a:gd name="T7" fmla="*/ 9 h 17"/>
                  <a:gd name="T8" fmla="*/ 0 w 37"/>
                  <a:gd name="T9" fmla="*/ 4 h 17"/>
                  <a:gd name="T10" fmla="*/ 4 w 37"/>
                  <a:gd name="T11" fmla="*/ 0 h 17"/>
                  <a:gd name="T12" fmla="*/ 34 w 37"/>
                  <a:gd name="T13" fmla="*/ 7 h 17"/>
                </a:gdLst>
                <a:ahLst/>
                <a:cxnLst>
                  <a:cxn ang="0">
                    <a:pos x="T0" y="T1"/>
                  </a:cxn>
                  <a:cxn ang="0">
                    <a:pos x="T2" y="T3"/>
                  </a:cxn>
                  <a:cxn ang="0">
                    <a:pos x="T4" y="T5"/>
                  </a:cxn>
                  <a:cxn ang="0">
                    <a:pos x="T6" y="T7"/>
                  </a:cxn>
                  <a:cxn ang="0">
                    <a:pos x="T8" y="T9"/>
                  </a:cxn>
                  <a:cxn ang="0">
                    <a:pos x="T10" y="T11"/>
                  </a:cxn>
                  <a:cxn ang="0">
                    <a:pos x="T12" y="T13"/>
                  </a:cxn>
                </a:cxnLst>
                <a:rect l="0" t="0" r="r" b="b"/>
                <a:pathLst>
                  <a:path w="37" h="17">
                    <a:moveTo>
                      <a:pt x="34" y="7"/>
                    </a:moveTo>
                    <a:cubicBezTo>
                      <a:pt x="35" y="8"/>
                      <a:pt x="37" y="10"/>
                      <a:pt x="36" y="13"/>
                    </a:cubicBezTo>
                    <a:cubicBezTo>
                      <a:pt x="36" y="15"/>
                      <a:pt x="34" y="17"/>
                      <a:pt x="32" y="16"/>
                    </a:cubicBezTo>
                    <a:cubicBezTo>
                      <a:pt x="3" y="9"/>
                      <a:pt x="3" y="9"/>
                      <a:pt x="3" y="9"/>
                    </a:cubicBezTo>
                    <a:cubicBezTo>
                      <a:pt x="1" y="9"/>
                      <a:pt x="0" y="6"/>
                      <a:pt x="0" y="4"/>
                    </a:cubicBezTo>
                    <a:cubicBezTo>
                      <a:pt x="0" y="1"/>
                      <a:pt x="2" y="0"/>
                      <a:pt x="4" y="0"/>
                    </a:cubicBezTo>
                    <a:lnTo>
                      <a:pt x="34" y="7"/>
                    </a:lnTo>
                    <a:close/>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51" name="íṥľiḍè">
                <a:extLst>
                  <a:ext uri="{FF2B5EF4-FFF2-40B4-BE49-F238E27FC236}">
                    <a16:creationId xmlns:a16="http://schemas.microsoft.com/office/drawing/2014/main" id="{D4E04A1C-F2B6-4FB8-94F7-6339489A23E2}"/>
                  </a:ext>
                </a:extLst>
              </p:cNvPr>
              <p:cNvSpPr/>
              <p:nvPr/>
            </p:nvSpPr>
            <p:spPr bwMode="auto">
              <a:xfrm>
                <a:off x="6478779" y="2288435"/>
                <a:ext cx="220160" cy="100073"/>
              </a:xfrm>
              <a:custGeom>
                <a:avLst/>
                <a:gdLst>
                  <a:gd name="T0" fmla="*/ 34 w 37"/>
                  <a:gd name="T1" fmla="*/ 7 h 17"/>
                  <a:gd name="T2" fmla="*/ 37 w 37"/>
                  <a:gd name="T3" fmla="*/ 13 h 17"/>
                  <a:gd name="T4" fmla="*/ 33 w 37"/>
                  <a:gd name="T5" fmla="*/ 16 h 17"/>
                  <a:gd name="T6" fmla="*/ 3 w 37"/>
                  <a:gd name="T7" fmla="*/ 9 h 17"/>
                  <a:gd name="T8" fmla="*/ 1 w 37"/>
                  <a:gd name="T9" fmla="*/ 4 h 17"/>
                  <a:gd name="T10" fmla="*/ 5 w 37"/>
                  <a:gd name="T11" fmla="*/ 0 h 17"/>
                  <a:gd name="T12" fmla="*/ 34 w 37"/>
                  <a:gd name="T13" fmla="*/ 7 h 17"/>
                </a:gdLst>
                <a:ahLst/>
                <a:cxnLst>
                  <a:cxn ang="0">
                    <a:pos x="T0" y="T1"/>
                  </a:cxn>
                  <a:cxn ang="0">
                    <a:pos x="T2" y="T3"/>
                  </a:cxn>
                  <a:cxn ang="0">
                    <a:pos x="T4" y="T5"/>
                  </a:cxn>
                  <a:cxn ang="0">
                    <a:pos x="T6" y="T7"/>
                  </a:cxn>
                  <a:cxn ang="0">
                    <a:pos x="T8" y="T9"/>
                  </a:cxn>
                  <a:cxn ang="0">
                    <a:pos x="T10" y="T11"/>
                  </a:cxn>
                  <a:cxn ang="0">
                    <a:pos x="T12" y="T13"/>
                  </a:cxn>
                </a:cxnLst>
                <a:rect l="0" t="0" r="r" b="b"/>
                <a:pathLst>
                  <a:path w="37" h="17">
                    <a:moveTo>
                      <a:pt x="34" y="7"/>
                    </a:moveTo>
                    <a:cubicBezTo>
                      <a:pt x="36" y="8"/>
                      <a:pt x="37" y="10"/>
                      <a:pt x="37" y="13"/>
                    </a:cubicBezTo>
                    <a:cubicBezTo>
                      <a:pt x="37" y="15"/>
                      <a:pt x="35" y="17"/>
                      <a:pt x="33" y="16"/>
                    </a:cubicBezTo>
                    <a:cubicBezTo>
                      <a:pt x="3" y="9"/>
                      <a:pt x="3" y="9"/>
                      <a:pt x="3" y="9"/>
                    </a:cubicBezTo>
                    <a:cubicBezTo>
                      <a:pt x="1" y="9"/>
                      <a:pt x="0" y="6"/>
                      <a:pt x="1" y="4"/>
                    </a:cubicBezTo>
                    <a:cubicBezTo>
                      <a:pt x="1" y="1"/>
                      <a:pt x="3" y="0"/>
                      <a:pt x="5" y="0"/>
                    </a:cubicBezTo>
                    <a:lnTo>
                      <a:pt x="34" y="7"/>
                    </a:lnTo>
                    <a:close/>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52" name="íśḻíḍé">
                <a:extLst>
                  <a:ext uri="{FF2B5EF4-FFF2-40B4-BE49-F238E27FC236}">
                    <a16:creationId xmlns:a16="http://schemas.microsoft.com/office/drawing/2014/main" id="{470B35A3-7802-4117-89EC-DA4A8ED90AF9}"/>
                  </a:ext>
                </a:extLst>
              </p:cNvPr>
              <p:cNvSpPr/>
              <p:nvPr/>
            </p:nvSpPr>
            <p:spPr bwMode="auto">
              <a:xfrm>
                <a:off x="6586357" y="2068275"/>
                <a:ext cx="137600" cy="155112"/>
              </a:xfrm>
              <a:custGeom>
                <a:avLst/>
                <a:gdLst>
                  <a:gd name="T0" fmla="*/ 23 w 23"/>
                  <a:gd name="T1" fmla="*/ 15 h 26"/>
                  <a:gd name="T2" fmla="*/ 10 w 23"/>
                  <a:gd name="T3" fmla="*/ 4 h 26"/>
                  <a:gd name="T4" fmla="*/ 2 w 23"/>
                  <a:gd name="T5" fmla="*/ 3 h 26"/>
                  <a:gd name="T6" fmla="*/ 3 w 23"/>
                  <a:gd name="T7" fmla="*/ 11 h 26"/>
                  <a:gd name="T8" fmla="*/ 20 w 23"/>
                  <a:gd name="T9" fmla="*/ 26 h 26"/>
                  <a:gd name="T10" fmla="*/ 23 w 23"/>
                  <a:gd name="T11" fmla="*/ 15 h 26"/>
                </a:gdLst>
                <a:ahLst/>
                <a:cxnLst>
                  <a:cxn ang="0">
                    <a:pos x="T0" y="T1"/>
                  </a:cxn>
                  <a:cxn ang="0">
                    <a:pos x="T2" y="T3"/>
                  </a:cxn>
                  <a:cxn ang="0">
                    <a:pos x="T4" y="T5"/>
                  </a:cxn>
                  <a:cxn ang="0">
                    <a:pos x="T6" y="T7"/>
                  </a:cxn>
                  <a:cxn ang="0">
                    <a:pos x="T8" y="T9"/>
                  </a:cxn>
                  <a:cxn ang="0">
                    <a:pos x="T10" y="T11"/>
                  </a:cxn>
                </a:cxnLst>
                <a:rect l="0" t="0" r="r" b="b"/>
                <a:pathLst>
                  <a:path w="23" h="26">
                    <a:moveTo>
                      <a:pt x="23" y="15"/>
                    </a:moveTo>
                    <a:cubicBezTo>
                      <a:pt x="10" y="4"/>
                      <a:pt x="10" y="4"/>
                      <a:pt x="10" y="4"/>
                    </a:cubicBezTo>
                    <a:cubicBezTo>
                      <a:pt x="8" y="2"/>
                      <a:pt x="3" y="0"/>
                      <a:pt x="2" y="3"/>
                    </a:cubicBezTo>
                    <a:cubicBezTo>
                      <a:pt x="0" y="5"/>
                      <a:pt x="1" y="9"/>
                      <a:pt x="3" y="11"/>
                    </a:cubicBezTo>
                    <a:cubicBezTo>
                      <a:pt x="20" y="26"/>
                      <a:pt x="20" y="26"/>
                      <a:pt x="20" y="26"/>
                    </a:cubicBezTo>
                    <a:cubicBezTo>
                      <a:pt x="21" y="22"/>
                      <a:pt x="22" y="19"/>
                      <a:pt x="23" y="15"/>
                    </a:cubicBezTo>
                    <a:close/>
                  </a:path>
                </a:pathLst>
              </a:custGeom>
              <a:solidFill>
                <a:srgbClr val="FFD3B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53" name="ísḷíḑê">
                <a:extLst>
                  <a:ext uri="{FF2B5EF4-FFF2-40B4-BE49-F238E27FC236}">
                    <a16:creationId xmlns:a16="http://schemas.microsoft.com/office/drawing/2014/main" id="{95595F37-BE15-44F9-A949-FDC908D49CCA}"/>
                  </a:ext>
                </a:extLst>
              </p:cNvPr>
              <p:cNvSpPr/>
              <p:nvPr/>
            </p:nvSpPr>
            <p:spPr bwMode="auto">
              <a:xfrm>
                <a:off x="6503797" y="2205875"/>
                <a:ext cx="592931" cy="1263418"/>
              </a:xfrm>
              <a:custGeom>
                <a:avLst/>
                <a:gdLst>
                  <a:gd name="T0" fmla="*/ 59 w 100"/>
                  <a:gd name="T1" fmla="*/ 112 h 213"/>
                  <a:gd name="T2" fmla="*/ 30 w 100"/>
                  <a:gd name="T3" fmla="*/ 34 h 213"/>
                  <a:gd name="T4" fmla="*/ 45 w 100"/>
                  <a:gd name="T5" fmla="*/ 0 h 213"/>
                  <a:gd name="T6" fmla="*/ 94 w 100"/>
                  <a:gd name="T7" fmla="*/ 122 h 213"/>
                  <a:gd name="T8" fmla="*/ 3 w 100"/>
                  <a:gd name="T9" fmla="*/ 213 h 213"/>
                  <a:gd name="T10" fmla="*/ 0 w 100"/>
                  <a:gd name="T11" fmla="*/ 180 h 213"/>
                  <a:gd name="T12" fmla="*/ 59 w 100"/>
                  <a:gd name="T13" fmla="*/ 112 h 213"/>
                </a:gdLst>
                <a:ahLst/>
                <a:cxnLst>
                  <a:cxn ang="0">
                    <a:pos x="T0" y="T1"/>
                  </a:cxn>
                  <a:cxn ang="0">
                    <a:pos x="T2" y="T3"/>
                  </a:cxn>
                  <a:cxn ang="0">
                    <a:pos x="T4" y="T5"/>
                  </a:cxn>
                  <a:cxn ang="0">
                    <a:pos x="T6" y="T7"/>
                  </a:cxn>
                  <a:cxn ang="0">
                    <a:pos x="T8" y="T9"/>
                  </a:cxn>
                  <a:cxn ang="0">
                    <a:pos x="T10" y="T11"/>
                  </a:cxn>
                  <a:cxn ang="0">
                    <a:pos x="T12" y="T13"/>
                  </a:cxn>
                </a:cxnLst>
                <a:rect l="0" t="0" r="r" b="b"/>
                <a:pathLst>
                  <a:path w="100" h="213">
                    <a:moveTo>
                      <a:pt x="59" y="112"/>
                    </a:moveTo>
                    <a:cubicBezTo>
                      <a:pt x="62" y="84"/>
                      <a:pt x="50" y="53"/>
                      <a:pt x="30" y="34"/>
                    </a:cubicBezTo>
                    <a:cubicBezTo>
                      <a:pt x="45" y="0"/>
                      <a:pt x="45" y="0"/>
                      <a:pt x="45" y="0"/>
                    </a:cubicBezTo>
                    <a:cubicBezTo>
                      <a:pt x="79" y="30"/>
                      <a:pt x="100" y="76"/>
                      <a:pt x="94" y="122"/>
                    </a:cubicBezTo>
                    <a:cubicBezTo>
                      <a:pt x="89" y="176"/>
                      <a:pt x="50" y="211"/>
                      <a:pt x="3" y="213"/>
                    </a:cubicBezTo>
                    <a:cubicBezTo>
                      <a:pt x="0" y="180"/>
                      <a:pt x="0" y="180"/>
                      <a:pt x="0" y="180"/>
                    </a:cubicBezTo>
                    <a:cubicBezTo>
                      <a:pt x="27" y="174"/>
                      <a:pt x="55" y="144"/>
                      <a:pt x="59" y="112"/>
                    </a:cubicBezTo>
                    <a:close/>
                  </a:path>
                </a:pathLst>
              </a:custGeom>
              <a:solidFill>
                <a:srgbClr val="055275"/>
              </a:solidFill>
              <a:ln>
                <a:noFill/>
              </a:ln>
            </p:spPr>
            <p:txBody>
              <a:bodyPr wrap="square" lIns="91440" tIns="45720" rIns="91440" bIns="45720" anchor="ctr">
                <a:normAutofit/>
              </a:bodyPr>
              <a:lstStyle/>
              <a:p>
                <a:pPr algn="ctr"/>
                <a:endParaRPr/>
              </a:p>
            </p:txBody>
          </p:sp>
          <p:sp>
            <p:nvSpPr>
              <p:cNvPr id="154" name="ïṡľïḑê">
                <a:extLst>
                  <a:ext uri="{FF2B5EF4-FFF2-40B4-BE49-F238E27FC236}">
                    <a16:creationId xmlns:a16="http://schemas.microsoft.com/office/drawing/2014/main" id="{3524C354-DD6A-41B5-BE60-3A649AA77BCD}"/>
                  </a:ext>
                </a:extLst>
              </p:cNvPr>
              <p:cNvSpPr/>
              <p:nvPr/>
            </p:nvSpPr>
            <p:spPr bwMode="auto">
              <a:xfrm>
                <a:off x="6563841" y="2188363"/>
                <a:ext cx="2503" cy="2503"/>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fontScale="25000" lnSpcReduction="20000"/>
              </a:bodyPr>
              <a:lstStyle/>
              <a:p>
                <a:pPr algn="ctr"/>
                <a:endParaRPr/>
              </a:p>
            </p:txBody>
          </p:sp>
          <p:sp>
            <p:nvSpPr>
              <p:cNvPr id="155" name="îś1ïḋè">
                <a:extLst>
                  <a:ext uri="{FF2B5EF4-FFF2-40B4-BE49-F238E27FC236}">
                    <a16:creationId xmlns:a16="http://schemas.microsoft.com/office/drawing/2014/main" id="{6B82986D-C0B5-4672-9413-B839DDDC2A6E}"/>
                  </a:ext>
                </a:extLst>
              </p:cNvPr>
              <p:cNvSpPr/>
              <p:nvPr/>
            </p:nvSpPr>
            <p:spPr bwMode="auto">
              <a:xfrm>
                <a:off x="6563841" y="2188363"/>
                <a:ext cx="2503" cy="2503"/>
              </a:xfrm>
              <a:prstGeom prst="ellipse">
                <a:avLst/>
              </a:prstGeom>
              <a:solidFill>
                <a:srgbClr val="6C333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56" name="ïṧľïdê">
                <a:extLst>
                  <a:ext uri="{FF2B5EF4-FFF2-40B4-BE49-F238E27FC236}">
                    <a16:creationId xmlns:a16="http://schemas.microsoft.com/office/drawing/2014/main" id="{52EF0612-1DC0-4EFF-8474-1C2361953FDC}"/>
                  </a:ext>
                </a:extLst>
              </p:cNvPr>
              <p:cNvSpPr/>
              <p:nvPr/>
            </p:nvSpPr>
            <p:spPr bwMode="auto">
              <a:xfrm>
                <a:off x="6563841" y="218836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5BDA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57" name="iŝlide">
                <a:extLst>
                  <a:ext uri="{FF2B5EF4-FFF2-40B4-BE49-F238E27FC236}">
                    <a16:creationId xmlns:a16="http://schemas.microsoft.com/office/drawing/2014/main" id="{9EAB49C6-02AF-4B1B-997F-F64794AA3AEC}"/>
                  </a:ext>
                </a:extLst>
              </p:cNvPr>
              <p:cNvSpPr/>
              <p:nvPr/>
            </p:nvSpPr>
            <p:spPr bwMode="auto">
              <a:xfrm>
                <a:off x="6563841" y="218836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58" name="íṧḷiḍê">
                <a:extLst>
                  <a:ext uri="{FF2B5EF4-FFF2-40B4-BE49-F238E27FC236}">
                    <a16:creationId xmlns:a16="http://schemas.microsoft.com/office/drawing/2014/main" id="{AEC33711-9E11-472F-9815-3ACCF8307D93}"/>
                  </a:ext>
                </a:extLst>
              </p:cNvPr>
              <p:cNvSpPr/>
              <p:nvPr/>
            </p:nvSpPr>
            <p:spPr bwMode="auto">
              <a:xfrm>
                <a:off x="5535594" y="5543295"/>
                <a:ext cx="480349" cy="315229"/>
              </a:xfrm>
              <a:custGeom>
                <a:avLst/>
                <a:gdLst>
                  <a:gd name="T0" fmla="*/ 81 w 81"/>
                  <a:gd name="T1" fmla="*/ 27 h 53"/>
                  <a:gd name="T2" fmla="*/ 55 w 81"/>
                  <a:gd name="T3" fmla="*/ 53 h 53"/>
                  <a:gd name="T4" fmla="*/ 26 w 81"/>
                  <a:gd name="T5" fmla="*/ 53 h 53"/>
                  <a:gd name="T6" fmla="*/ 0 w 81"/>
                  <a:gd name="T7" fmla="*/ 27 h 53"/>
                  <a:gd name="T8" fmla="*/ 12 w 81"/>
                  <a:gd name="T9" fmla="*/ 0 h 53"/>
                  <a:gd name="T10" fmla="*/ 66 w 81"/>
                  <a:gd name="T11" fmla="*/ 0 h 53"/>
                  <a:gd name="T12" fmla="*/ 81 w 81"/>
                  <a:gd name="T13" fmla="*/ 27 h 53"/>
                </a:gdLst>
                <a:ahLst/>
                <a:cxnLst>
                  <a:cxn ang="0">
                    <a:pos x="T0" y="T1"/>
                  </a:cxn>
                  <a:cxn ang="0">
                    <a:pos x="T2" y="T3"/>
                  </a:cxn>
                  <a:cxn ang="0">
                    <a:pos x="T4" y="T5"/>
                  </a:cxn>
                  <a:cxn ang="0">
                    <a:pos x="T6" y="T7"/>
                  </a:cxn>
                  <a:cxn ang="0">
                    <a:pos x="T8" y="T9"/>
                  </a:cxn>
                  <a:cxn ang="0">
                    <a:pos x="T10" y="T11"/>
                  </a:cxn>
                  <a:cxn ang="0">
                    <a:pos x="T12" y="T13"/>
                  </a:cxn>
                </a:cxnLst>
                <a:rect l="0" t="0" r="r" b="b"/>
                <a:pathLst>
                  <a:path w="81" h="53">
                    <a:moveTo>
                      <a:pt x="81" y="27"/>
                    </a:moveTo>
                    <a:cubicBezTo>
                      <a:pt x="81" y="42"/>
                      <a:pt x="70" y="53"/>
                      <a:pt x="55" y="53"/>
                    </a:cubicBezTo>
                    <a:cubicBezTo>
                      <a:pt x="26" y="53"/>
                      <a:pt x="26" y="53"/>
                      <a:pt x="26" y="53"/>
                    </a:cubicBezTo>
                    <a:cubicBezTo>
                      <a:pt x="12" y="53"/>
                      <a:pt x="0" y="42"/>
                      <a:pt x="0" y="27"/>
                    </a:cubicBezTo>
                    <a:cubicBezTo>
                      <a:pt x="0" y="13"/>
                      <a:pt x="8" y="9"/>
                      <a:pt x="12" y="0"/>
                    </a:cubicBezTo>
                    <a:cubicBezTo>
                      <a:pt x="66" y="0"/>
                      <a:pt x="66" y="0"/>
                      <a:pt x="66" y="0"/>
                    </a:cubicBezTo>
                    <a:cubicBezTo>
                      <a:pt x="76" y="11"/>
                      <a:pt x="81" y="13"/>
                      <a:pt x="81" y="27"/>
                    </a:cubicBezTo>
                  </a:path>
                </a:pathLst>
              </a:custGeom>
              <a:solidFill>
                <a:srgbClr val="7839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59" name="iṧḻïďé">
                <a:extLst>
                  <a:ext uri="{FF2B5EF4-FFF2-40B4-BE49-F238E27FC236}">
                    <a16:creationId xmlns:a16="http://schemas.microsoft.com/office/drawing/2014/main" id="{57321C73-FD88-43A6-B66E-A6B896BE7C3A}"/>
                  </a:ext>
                </a:extLst>
              </p:cNvPr>
              <p:cNvSpPr/>
              <p:nvPr/>
            </p:nvSpPr>
            <p:spPr bwMode="auto">
              <a:xfrm>
                <a:off x="5600641" y="5543295"/>
                <a:ext cx="332742" cy="12510"/>
              </a:xfrm>
              <a:custGeom>
                <a:avLst/>
                <a:gdLst>
                  <a:gd name="T0" fmla="*/ 0 w 56"/>
                  <a:gd name="T1" fmla="*/ 2 h 2"/>
                  <a:gd name="T2" fmla="*/ 0 w 56"/>
                  <a:gd name="T3" fmla="*/ 2 h 2"/>
                  <a:gd name="T4" fmla="*/ 0 w 56"/>
                  <a:gd name="T5" fmla="*/ 2 h 2"/>
                  <a:gd name="T6" fmla="*/ 56 w 56"/>
                  <a:gd name="T7" fmla="*/ 1 h 2"/>
                  <a:gd name="T8" fmla="*/ 56 w 56"/>
                  <a:gd name="T9" fmla="*/ 1 h 2"/>
                  <a:gd name="T10" fmla="*/ 56 w 56"/>
                  <a:gd name="T11" fmla="*/ 1 h 2"/>
                  <a:gd name="T12" fmla="*/ 1 w 56"/>
                  <a:gd name="T13" fmla="*/ 0 h 2"/>
                  <a:gd name="T14" fmla="*/ 1 w 56"/>
                  <a:gd name="T15" fmla="*/ 0 h 2"/>
                  <a:gd name="T16" fmla="*/ 0 w 56"/>
                  <a:gd name="T17" fmla="*/ 2 h 2"/>
                  <a:gd name="T18" fmla="*/ 1 w 56"/>
                  <a:gd name="T19" fmla="*/ 0 h 2"/>
                  <a:gd name="T20" fmla="*/ 55 w 56"/>
                  <a:gd name="T21" fmla="*/ 0 h 2"/>
                  <a:gd name="T22" fmla="*/ 55 w 56"/>
                  <a:gd name="T23" fmla="*/ 0 h 2"/>
                  <a:gd name="T24" fmla="*/ 56 w 56"/>
                  <a:gd name="T25" fmla="*/ 1 h 2"/>
                  <a:gd name="T26" fmla="*/ 55 w 56"/>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
                    <a:moveTo>
                      <a:pt x="0" y="2"/>
                    </a:moveTo>
                    <a:cubicBezTo>
                      <a:pt x="0" y="2"/>
                      <a:pt x="0" y="2"/>
                      <a:pt x="0" y="2"/>
                    </a:cubicBezTo>
                    <a:cubicBezTo>
                      <a:pt x="0" y="2"/>
                      <a:pt x="0" y="2"/>
                      <a:pt x="0" y="2"/>
                    </a:cubicBezTo>
                    <a:moveTo>
                      <a:pt x="56" y="1"/>
                    </a:moveTo>
                    <a:cubicBezTo>
                      <a:pt x="56" y="1"/>
                      <a:pt x="56" y="1"/>
                      <a:pt x="56" y="1"/>
                    </a:cubicBezTo>
                    <a:cubicBezTo>
                      <a:pt x="56" y="1"/>
                      <a:pt x="56" y="1"/>
                      <a:pt x="56" y="1"/>
                    </a:cubicBezTo>
                    <a:moveTo>
                      <a:pt x="1" y="0"/>
                    </a:moveTo>
                    <a:cubicBezTo>
                      <a:pt x="1" y="0"/>
                      <a:pt x="1" y="0"/>
                      <a:pt x="1" y="0"/>
                    </a:cubicBezTo>
                    <a:cubicBezTo>
                      <a:pt x="1" y="1"/>
                      <a:pt x="0" y="1"/>
                      <a:pt x="0" y="2"/>
                    </a:cubicBezTo>
                    <a:cubicBezTo>
                      <a:pt x="0" y="1"/>
                      <a:pt x="1" y="1"/>
                      <a:pt x="1" y="0"/>
                    </a:cubicBezTo>
                    <a:moveTo>
                      <a:pt x="55" y="0"/>
                    </a:moveTo>
                    <a:cubicBezTo>
                      <a:pt x="55" y="0"/>
                      <a:pt x="55" y="0"/>
                      <a:pt x="55" y="0"/>
                    </a:cubicBezTo>
                    <a:cubicBezTo>
                      <a:pt x="55" y="0"/>
                      <a:pt x="55" y="1"/>
                      <a:pt x="56" y="1"/>
                    </a:cubicBezTo>
                    <a:cubicBezTo>
                      <a:pt x="55" y="1"/>
                      <a:pt x="55" y="0"/>
                      <a:pt x="5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60" name="iṩḻîḑe">
                <a:extLst>
                  <a:ext uri="{FF2B5EF4-FFF2-40B4-BE49-F238E27FC236}">
                    <a16:creationId xmlns:a16="http://schemas.microsoft.com/office/drawing/2014/main" id="{677918F9-D9AB-4F62-9A98-07EAAF3403C7}"/>
                  </a:ext>
                </a:extLst>
              </p:cNvPr>
              <p:cNvSpPr/>
              <p:nvPr/>
            </p:nvSpPr>
            <p:spPr bwMode="auto">
              <a:xfrm>
                <a:off x="5570619" y="5543295"/>
                <a:ext cx="405294" cy="52539"/>
              </a:xfrm>
              <a:custGeom>
                <a:avLst/>
                <a:gdLst>
                  <a:gd name="T0" fmla="*/ 60 w 68"/>
                  <a:gd name="T1" fmla="*/ 0 h 9"/>
                  <a:gd name="T2" fmla="*/ 6 w 68"/>
                  <a:gd name="T3" fmla="*/ 0 h 9"/>
                  <a:gd name="T4" fmla="*/ 6 w 68"/>
                  <a:gd name="T5" fmla="*/ 0 h 9"/>
                  <a:gd name="T6" fmla="*/ 5 w 68"/>
                  <a:gd name="T7" fmla="*/ 2 h 9"/>
                  <a:gd name="T8" fmla="*/ 5 w 68"/>
                  <a:gd name="T9" fmla="*/ 2 h 9"/>
                  <a:gd name="T10" fmla="*/ 5 w 68"/>
                  <a:gd name="T11" fmla="*/ 2 h 9"/>
                  <a:gd name="T12" fmla="*/ 0 w 68"/>
                  <a:gd name="T13" fmla="*/ 9 h 9"/>
                  <a:gd name="T14" fmla="*/ 68 w 68"/>
                  <a:gd name="T15" fmla="*/ 9 h 9"/>
                  <a:gd name="T16" fmla="*/ 61 w 68"/>
                  <a:gd name="T17" fmla="*/ 1 h 9"/>
                  <a:gd name="T18" fmla="*/ 61 w 68"/>
                  <a:gd name="T19" fmla="*/ 1 h 9"/>
                  <a:gd name="T20" fmla="*/ 61 w 68"/>
                  <a:gd name="T21" fmla="*/ 1 h 9"/>
                  <a:gd name="T22" fmla="*/ 60 w 68"/>
                  <a:gd name="T23" fmla="*/ 0 h 9"/>
                  <a:gd name="T24" fmla="*/ 60 w 68"/>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9">
                    <a:moveTo>
                      <a:pt x="60" y="0"/>
                    </a:moveTo>
                    <a:cubicBezTo>
                      <a:pt x="6" y="0"/>
                      <a:pt x="6" y="0"/>
                      <a:pt x="6" y="0"/>
                    </a:cubicBezTo>
                    <a:cubicBezTo>
                      <a:pt x="6" y="0"/>
                      <a:pt x="6" y="0"/>
                      <a:pt x="6" y="0"/>
                    </a:cubicBezTo>
                    <a:cubicBezTo>
                      <a:pt x="6" y="1"/>
                      <a:pt x="5" y="1"/>
                      <a:pt x="5" y="2"/>
                    </a:cubicBezTo>
                    <a:cubicBezTo>
                      <a:pt x="5" y="2"/>
                      <a:pt x="5" y="2"/>
                      <a:pt x="5" y="2"/>
                    </a:cubicBezTo>
                    <a:cubicBezTo>
                      <a:pt x="5" y="2"/>
                      <a:pt x="5" y="2"/>
                      <a:pt x="5" y="2"/>
                    </a:cubicBezTo>
                    <a:cubicBezTo>
                      <a:pt x="3" y="4"/>
                      <a:pt x="2" y="7"/>
                      <a:pt x="0" y="9"/>
                    </a:cubicBezTo>
                    <a:cubicBezTo>
                      <a:pt x="68" y="9"/>
                      <a:pt x="68" y="9"/>
                      <a:pt x="68" y="9"/>
                    </a:cubicBezTo>
                    <a:cubicBezTo>
                      <a:pt x="66" y="7"/>
                      <a:pt x="64" y="4"/>
                      <a:pt x="61" y="1"/>
                    </a:cubicBezTo>
                    <a:cubicBezTo>
                      <a:pt x="61" y="1"/>
                      <a:pt x="61" y="1"/>
                      <a:pt x="61" y="1"/>
                    </a:cubicBezTo>
                    <a:cubicBezTo>
                      <a:pt x="61" y="1"/>
                      <a:pt x="61" y="1"/>
                      <a:pt x="61" y="1"/>
                    </a:cubicBezTo>
                    <a:cubicBezTo>
                      <a:pt x="60" y="1"/>
                      <a:pt x="60" y="0"/>
                      <a:pt x="60" y="0"/>
                    </a:cubicBezTo>
                    <a:cubicBezTo>
                      <a:pt x="60" y="0"/>
                      <a:pt x="60" y="0"/>
                      <a:pt x="60" y="0"/>
                    </a:cubicBezTo>
                  </a:path>
                </a:pathLst>
              </a:custGeom>
              <a:solidFill>
                <a:srgbClr val="66313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61" name="iṩ1îḓé">
                <a:extLst>
                  <a:ext uri="{FF2B5EF4-FFF2-40B4-BE49-F238E27FC236}">
                    <a16:creationId xmlns:a16="http://schemas.microsoft.com/office/drawing/2014/main" id="{D42CA2FD-D0E4-4DBB-82AF-B338FAE5DF74}"/>
                  </a:ext>
                </a:extLst>
              </p:cNvPr>
              <p:cNvSpPr/>
              <p:nvPr/>
            </p:nvSpPr>
            <p:spPr bwMode="auto">
              <a:xfrm>
                <a:off x="5993427" y="4072228"/>
                <a:ext cx="462837" cy="457832"/>
              </a:xfrm>
              <a:custGeom>
                <a:avLst/>
                <a:gdLst>
                  <a:gd name="T0" fmla="*/ 185 w 185"/>
                  <a:gd name="T1" fmla="*/ 183 h 183"/>
                  <a:gd name="T2" fmla="*/ 0 w 185"/>
                  <a:gd name="T3" fmla="*/ 183 h 183"/>
                  <a:gd name="T4" fmla="*/ 14 w 185"/>
                  <a:gd name="T5" fmla="*/ 0 h 183"/>
                  <a:gd name="T6" fmla="*/ 171 w 185"/>
                  <a:gd name="T7" fmla="*/ 0 h 183"/>
                  <a:gd name="T8" fmla="*/ 185 w 185"/>
                  <a:gd name="T9" fmla="*/ 183 h 183"/>
                </a:gdLst>
                <a:ahLst/>
                <a:cxnLst>
                  <a:cxn ang="0">
                    <a:pos x="T0" y="T1"/>
                  </a:cxn>
                  <a:cxn ang="0">
                    <a:pos x="T2" y="T3"/>
                  </a:cxn>
                  <a:cxn ang="0">
                    <a:pos x="T4" y="T5"/>
                  </a:cxn>
                  <a:cxn ang="0">
                    <a:pos x="T6" y="T7"/>
                  </a:cxn>
                  <a:cxn ang="0">
                    <a:pos x="T8" y="T9"/>
                  </a:cxn>
                </a:cxnLst>
                <a:rect l="0" t="0" r="r" b="b"/>
                <a:pathLst>
                  <a:path w="185" h="183">
                    <a:moveTo>
                      <a:pt x="185" y="183"/>
                    </a:moveTo>
                    <a:lnTo>
                      <a:pt x="0" y="183"/>
                    </a:lnTo>
                    <a:lnTo>
                      <a:pt x="14" y="0"/>
                    </a:lnTo>
                    <a:lnTo>
                      <a:pt x="171" y="0"/>
                    </a:lnTo>
                    <a:lnTo>
                      <a:pt x="185" y="183"/>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162" name="iṡ1ïdê">
                <a:extLst>
                  <a:ext uri="{FF2B5EF4-FFF2-40B4-BE49-F238E27FC236}">
                    <a16:creationId xmlns:a16="http://schemas.microsoft.com/office/drawing/2014/main" id="{214F6FF0-073D-46A4-8A55-1F223C98EDF9}"/>
                  </a:ext>
                </a:extLst>
              </p:cNvPr>
              <p:cNvSpPr/>
              <p:nvPr/>
            </p:nvSpPr>
            <p:spPr bwMode="auto">
              <a:xfrm>
                <a:off x="6461266" y="4044709"/>
                <a:ext cx="545396" cy="377775"/>
              </a:xfrm>
              <a:custGeom>
                <a:avLst/>
                <a:gdLst>
                  <a:gd name="T0" fmla="*/ 218 w 218"/>
                  <a:gd name="T1" fmla="*/ 151 h 151"/>
                  <a:gd name="T2" fmla="*/ 67 w 218"/>
                  <a:gd name="T3" fmla="*/ 151 h 151"/>
                  <a:gd name="T4" fmla="*/ 0 w 218"/>
                  <a:gd name="T5" fmla="*/ 0 h 151"/>
                  <a:gd name="T6" fmla="*/ 131 w 218"/>
                  <a:gd name="T7" fmla="*/ 0 h 151"/>
                  <a:gd name="T8" fmla="*/ 218 w 218"/>
                  <a:gd name="T9" fmla="*/ 151 h 151"/>
                </a:gdLst>
                <a:ahLst/>
                <a:cxnLst>
                  <a:cxn ang="0">
                    <a:pos x="T0" y="T1"/>
                  </a:cxn>
                  <a:cxn ang="0">
                    <a:pos x="T2" y="T3"/>
                  </a:cxn>
                  <a:cxn ang="0">
                    <a:pos x="T4" y="T5"/>
                  </a:cxn>
                  <a:cxn ang="0">
                    <a:pos x="T6" y="T7"/>
                  </a:cxn>
                  <a:cxn ang="0">
                    <a:pos x="T8" y="T9"/>
                  </a:cxn>
                </a:cxnLst>
                <a:rect l="0" t="0" r="r" b="b"/>
                <a:pathLst>
                  <a:path w="218" h="151">
                    <a:moveTo>
                      <a:pt x="218" y="151"/>
                    </a:moveTo>
                    <a:lnTo>
                      <a:pt x="67" y="151"/>
                    </a:lnTo>
                    <a:lnTo>
                      <a:pt x="0" y="0"/>
                    </a:lnTo>
                    <a:lnTo>
                      <a:pt x="131" y="0"/>
                    </a:lnTo>
                    <a:lnTo>
                      <a:pt x="218" y="15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63" name="íṧlíḑê">
                <a:extLst>
                  <a:ext uri="{FF2B5EF4-FFF2-40B4-BE49-F238E27FC236}">
                    <a16:creationId xmlns:a16="http://schemas.microsoft.com/office/drawing/2014/main" id="{7AB7235F-1BFA-4FC5-80C1-5FC2CC07C657}"/>
                  </a:ext>
                </a:extLst>
              </p:cNvPr>
              <p:cNvSpPr/>
              <p:nvPr/>
            </p:nvSpPr>
            <p:spPr bwMode="auto">
              <a:xfrm>
                <a:off x="6954124" y="3782018"/>
                <a:ext cx="713018" cy="748044"/>
              </a:xfrm>
              <a:custGeom>
                <a:avLst/>
                <a:gdLst>
                  <a:gd name="T0" fmla="*/ 285 w 285"/>
                  <a:gd name="T1" fmla="*/ 180 h 299"/>
                  <a:gd name="T2" fmla="*/ 157 w 285"/>
                  <a:gd name="T3" fmla="*/ 0 h 299"/>
                  <a:gd name="T4" fmla="*/ 0 w 285"/>
                  <a:gd name="T5" fmla="*/ 0 h 299"/>
                  <a:gd name="T6" fmla="*/ 0 w 285"/>
                  <a:gd name="T7" fmla="*/ 116 h 299"/>
                  <a:gd name="T8" fmla="*/ 102 w 285"/>
                  <a:gd name="T9" fmla="*/ 299 h 299"/>
                  <a:gd name="T10" fmla="*/ 285 w 285"/>
                  <a:gd name="T11" fmla="*/ 299 h 299"/>
                  <a:gd name="T12" fmla="*/ 285 w 285"/>
                  <a:gd name="T13" fmla="*/ 180 h 299"/>
                </a:gdLst>
                <a:ahLst/>
                <a:cxnLst>
                  <a:cxn ang="0">
                    <a:pos x="T0" y="T1"/>
                  </a:cxn>
                  <a:cxn ang="0">
                    <a:pos x="T2" y="T3"/>
                  </a:cxn>
                  <a:cxn ang="0">
                    <a:pos x="T4" y="T5"/>
                  </a:cxn>
                  <a:cxn ang="0">
                    <a:pos x="T6" y="T7"/>
                  </a:cxn>
                  <a:cxn ang="0">
                    <a:pos x="T8" y="T9"/>
                  </a:cxn>
                  <a:cxn ang="0">
                    <a:pos x="T10" y="T11"/>
                  </a:cxn>
                  <a:cxn ang="0">
                    <a:pos x="T12" y="T13"/>
                  </a:cxn>
                </a:cxnLst>
                <a:rect l="0" t="0" r="r" b="b"/>
                <a:pathLst>
                  <a:path w="285" h="299">
                    <a:moveTo>
                      <a:pt x="285" y="180"/>
                    </a:moveTo>
                    <a:lnTo>
                      <a:pt x="157" y="0"/>
                    </a:lnTo>
                    <a:lnTo>
                      <a:pt x="0" y="0"/>
                    </a:lnTo>
                    <a:lnTo>
                      <a:pt x="0" y="116"/>
                    </a:lnTo>
                    <a:lnTo>
                      <a:pt x="102" y="299"/>
                    </a:lnTo>
                    <a:lnTo>
                      <a:pt x="285" y="299"/>
                    </a:lnTo>
                    <a:lnTo>
                      <a:pt x="285" y="18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164" name="iṩḻíḓè">
                <a:extLst>
                  <a:ext uri="{FF2B5EF4-FFF2-40B4-BE49-F238E27FC236}">
                    <a16:creationId xmlns:a16="http://schemas.microsoft.com/office/drawing/2014/main" id="{05700020-DAEB-4C23-9322-A8D9F170C722}"/>
                  </a:ext>
                </a:extLst>
              </p:cNvPr>
              <p:cNvSpPr/>
              <p:nvPr/>
            </p:nvSpPr>
            <p:spPr bwMode="auto">
              <a:xfrm>
                <a:off x="6954124" y="3782018"/>
                <a:ext cx="255185" cy="748044"/>
              </a:xfrm>
              <a:custGeom>
                <a:avLst/>
                <a:gdLst>
                  <a:gd name="T0" fmla="*/ 102 w 102"/>
                  <a:gd name="T1" fmla="*/ 0 h 299"/>
                  <a:gd name="T2" fmla="*/ 0 w 102"/>
                  <a:gd name="T3" fmla="*/ 0 h 299"/>
                  <a:gd name="T4" fmla="*/ 0 w 102"/>
                  <a:gd name="T5" fmla="*/ 116 h 299"/>
                  <a:gd name="T6" fmla="*/ 102 w 102"/>
                  <a:gd name="T7" fmla="*/ 299 h 299"/>
                  <a:gd name="T8" fmla="*/ 102 w 102"/>
                  <a:gd name="T9" fmla="*/ 299 h 299"/>
                  <a:gd name="T10" fmla="*/ 102 w 102"/>
                  <a:gd name="T11" fmla="*/ 0 h 299"/>
                </a:gdLst>
                <a:ahLst/>
                <a:cxnLst>
                  <a:cxn ang="0">
                    <a:pos x="T0" y="T1"/>
                  </a:cxn>
                  <a:cxn ang="0">
                    <a:pos x="T2" y="T3"/>
                  </a:cxn>
                  <a:cxn ang="0">
                    <a:pos x="T4" y="T5"/>
                  </a:cxn>
                  <a:cxn ang="0">
                    <a:pos x="T6" y="T7"/>
                  </a:cxn>
                  <a:cxn ang="0">
                    <a:pos x="T8" y="T9"/>
                  </a:cxn>
                  <a:cxn ang="0">
                    <a:pos x="T10" y="T11"/>
                  </a:cxn>
                </a:cxnLst>
                <a:rect l="0" t="0" r="r" b="b"/>
                <a:pathLst>
                  <a:path w="102" h="299">
                    <a:moveTo>
                      <a:pt x="102" y="0"/>
                    </a:moveTo>
                    <a:lnTo>
                      <a:pt x="0" y="0"/>
                    </a:lnTo>
                    <a:lnTo>
                      <a:pt x="0" y="116"/>
                    </a:lnTo>
                    <a:lnTo>
                      <a:pt x="102" y="299"/>
                    </a:lnTo>
                    <a:lnTo>
                      <a:pt x="102" y="299"/>
                    </a:lnTo>
                    <a:lnTo>
                      <a:pt x="10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165" name="íṧḻïďé">
                <a:extLst>
                  <a:ext uri="{FF2B5EF4-FFF2-40B4-BE49-F238E27FC236}">
                    <a16:creationId xmlns:a16="http://schemas.microsoft.com/office/drawing/2014/main" id="{34FEB07A-564A-4D62-AD2B-1620948D09F1}"/>
                  </a:ext>
                </a:extLst>
              </p:cNvPr>
              <p:cNvSpPr/>
              <p:nvPr/>
            </p:nvSpPr>
            <p:spPr bwMode="auto">
              <a:xfrm>
                <a:off x="6954124" y="3782018"/>
                <a:ext cx="713018" cy="450327"/>
              </a:xfrm>
              <a:custGeom>
                <a:avLst/>
                <a:gdLst>
                  <a:gd name="T0" fmla="*/ 285 w 285"/>
                  <a:gd name="T1" fmla="*/ 180 h 180"/>
                  <a:gd name="T2" fmla="*/ 157 w 285"/>
                  <a:gd name="T3" fmla="*/ 0 h 180"/>
                  <a:gd name="T4" fmla="*/ 0 w 285"/>
                  <a:gd name="T5" fmla="*/ 0 h 180"/>
                  <a:gd name="T6" fmla="*/ 102 w 285"/>
                  <a:gd name="T7" fmla="*/ 180 h 180"/>
                  <a:gd name="T8" fmla="*/ 285 w 285"/>
                  <a:gd name="T9" fmla="*/ 180 h 180"/>
                </a:gdLst>
                <a:ahLst/>
                <a:cxnLst>
                  <a:cxn ang="0">
                    <a:pos x="T0" y="T1"/>
                  </a:cxn>
                  <a:cxn ang="0">
                    <a:pos x="T2" y="T3"/>
                  </a:cxn>
                  <a:cxn ang="0">
                    <a:pos x="T4" y="T5"/>
                  </a:cxn>
                  <a:cxn ang="0">
                    <a:pos x="T6" y="T7"/>
                  </a:cxn>
                  <a:cxn ang="0">
                    <a:pos x="T8" y="T9"/>
                  </a:cxn>
                </a:cxnLst>
                <a:rect l="0" t="0" r="r" b="b"/>
                <a:pathLst>
                  <a:path w="285" h="180">
                    <a:moveTo>
                      <a:pt x="285" y="180"/>
                    </a:moveTo>
                    <a:lnTo>
                      <a:pt x="157" y="0"/>
                    </a:lnTo>
                    <a:lnTo>
                      <a:pt x="0" y="0"/>
                    </a:lnTo>
                    <a:lnTo>
                      <a:pt x="102" y="180"/>
                    </a:lnTo>
                    <a:lnTo>
                      <a:pt x="285" y="18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166" name="ïṩ1idé">
                <a:extLst>
                  <a:ext uri="{FF2B5EF4-FFF2-40B4-BE49-F238E27FC236}">
                    <a16:creationId xmlns:a16="http://schemas.microsoft.com/office/drawing/2014/main" id="{C0316F47-071C-4EAB-A702-BEFFA17200D6}"/>
                  </a:ext>
                </a:extLst>
              </p:cNvPr>
              <p:cNvSpPr/>
              <p:nvPr/>
            </p:nvSpPr>
            <p:spPr bwMode="auto">
              <a:xfrm>
                <a:off x="4319711" y="3967152"/>
                <a:ext cx="813091" cy="602938"/>
              </a:xfrm>
              <a:custGeom>
                <a:avLst/>
                <a:gdLst>
                  <a:gd name="T0" fmla="*/ 9 w 325"/>
                  <a:gd name="T1" fmla="*/ 180 h 241"/>
                  <a:gd name="T2" fmla="*/ 168 w 325"/>
                  <a:gd name="T3" fmla="*/ 0 h 241"/>
                  <a:gd name="T4" fmla="*/ 325 w 325"/>
                  <a:gd name="T5" fmla="*/ 0 h 241"/>
                  <a:gd name="T6" fmla="*/ 315 w 325"/>
                  <a:gd name="T7" fmla="*/ 61 h 241"/>
                  <a:gd name="T8" fmla="*/ 182 w 325"/>
                  <a:gd name="T9" fmla="*/ 241 h 241"/>
                  <a:gd name="T10" fmla="*/ 0 w 325"/>
                  <a:gd name="T11" fmla="*/ 241 h 241"/>
                  <a:gd name="T12" fmla="*/ 9 w 325"/>
                  <a:gd name="T13" fmla="*/ 180 h 241"/>
                </a:gdLst>
                <a:ahLst/>
                <a:cxnLst>
                  <a:cxn ang="0">
                    <a:pos x="T0" y="T1"/>
                  </a:cxn>
                  <a:cxn ang="0">
                    <a:pos x="T2" y="T3"/>
                  </a:cxn>
                  <a:cxn ang="0">
                    <a:pos x="T4" y="T5"/>
                  </a:cxn>
                  <a:cxn ang="0">
                    <a:pos x="T6" y="T7"/>
                  </a:cxn>
                  <a:cxn ang="0">
                    <a:pos x="T8" y="T9"/>
                  </a:cxn>
                  <a:cxn ang="0">
                    <a:pos x="T10" y="T11"/>
                  </a:cxn>
                  <a:cxn ang="0">
                    <a:pos x="T12" y="T13"/>
                  </a:cxn>
                </a:cxnLst>
                <a:rect l="0" t="0" r="r" b="b"/>
                <a:pathLst>
                  <a:path w="325" h="241">
                    <a:moveTo>
                      <a:pt x="9" y="180"/>
                    </a:moveTo>
                    <a:lnTo>
                      <a:pt x="168" y="0"/>
                    </a:lnTo>
                    <a:lnTo>
                      <a:pt x="325" y="0"/>
                    </a:lnTo>
                    <a:lnTo>
                      <a:pt x="315" y="61"/>
                    </a:lnTo>
                    <a:lnTo>
                      <a:pt x="182" y="241"/>
                    </a:lnTo>
                    <a:lnTo>
                      <a:pt x="0" y="241"/>
                    </a:lnTo>
                    <a:lnTo>
                      <a:pt x="9" y="18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167" name="iṣ1iďe">
                <a:extLst>
                  <a:ext uri="{FF2B5EF4-FFF2-40B4-BE49-F238E27FC236}">
                    <a16:creationId xmlns:a16="http://schemas.microsoft.com/office/drawing/2014/main" id="{0400143C-8C94-4C4C-8CDE-1B7E9CD52254}"/>
                  </a:ext>
                </a:extLst>
              </p:cNvPr>
              <p:cNvSpPr/>
              <p:nvPr/>
            </p:nvSpPr>
            <p:spPr bwMode="auto">
              <a:xfrm>
                <a:off x="4775042" y="3967152"/>
                <a:ext cx="357761" cy="602938"/>
              </a:xfrm>
              <a:custGeom>
                <a:avLst/>
                <a:gdLst>
                  <a:gd name="T0" fmla="*/ 41 w 143"/>
                  <a:gd name="T1" fmla="*/ 0 h 241"/>
                  <a:gd name="T2" fmla="*/ 143 w 143"/>
                  <a:gd name="T3" fmla="*/ 0 h 241"/>
                  <a:gd name="T4" fmla="*/ 133 w 143"/>
                  <a:gd name="T5" fmla="*/ 61 h 241"/>
                  <a:gd name="T6" fmla="*/ 0 w 143"/>
                  <a:gd name="T7" fmla="*/ 241 h 241"/>
                  <a:gd name="T8" fmla="*/ 0 w 143"/>
                  <a:gd name="T9" fmla="*/ 241 h 241"/>
                  <a:gd name="T10" fmla="*/ 41 w 143"/>
                  <a:gd name="T11" fmla="*/ 0 h 241"/>
                </a:gdLst>
                <a:ahLst/>
                <a:cxnLst>
                  <a:cxn ang="0">
                    <a:pos x="T0" y="T1"/>
                  </a:cxn>
                  <a:cxn ang="0">
                    <a:pos x="T2" y="T3"/>
                  </a:cxn>
                  <a:cxn ang="0">
                    <a:pos x="T4" y="T5"/>
                  </a:cxn>
                  <a:cxn ang="0">
                    <a:pos x="T6" y="T7"/>
                  </a:cxn>
                  <a:cxn ang="0">
                    <a:pos x="T8" y="T9"/>
                  </a:cxn>
                  <a:cxn ang="0">
                    <a:pos x="T10" y="T11"/>
                  </a:cxn>
                </a:cxnLst>
                <a:rect l="0" t="0" r="r" b="b"/>
                <a:pathLst>
                  <a:path w="143" h="241">
                    <a:moveTo>
                      <a:pt x="41" y="0"/>
                    </a:moveTo>
                    <a:lnTo>
                      <a:pt x="143" y="0"/>
                    </a:lnTo>
                    <a:lnTo>
                      <a:pt x="133" y="61"/>
                    </a:lnTo>
                    <a:lnTo>
                      <a:pt x="0" y="241"/>
                    </a:lnTo>
                    <a:lnTo>
                      <a:pt x="0" y="241"/>
                    </a:lnTo>
                    <a:lnTo>
                      <a:pt x="4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168" name="îśḷiḍe">
                <a:extLst>
                  <a:ext uri="{FF2B5EF4-FFF2-40B4-BE49-F238E27FC236}">
                    <a16:creationId xmlns:a16="http://schemas.microsoft.com/office/drawing/2014/main" id="{55D29561-D4E4-4089-B84F-E6D3EA682CD6}"/>
                  </a:ext>
                </a:extLst>
              </p:cNvPr>
              <p:cNvSpPr/>
              <p:nvPr/>
            </p:nvSpPr>
            <p:spPr bwMode="auto">
              <a:xfrm>
                <a:off x="4342229" y="3967152"/>
                <a:ext cx="790574" cy="450327"/>
              </a:xfrm>
              <a:custGeom>
                <a:avLst/>
                <a:gdLst>
                  <a:gd name="T0" fmla="*/ 0 w 316"/>
                  <a:gd name="T1" fmla="*/ 180 h 180"/>
                  <a:gd name="T2" fmla="*/ 159 w 316"/>
                  <a:gd name="T3" fmla="*/ 0 h 180"/>
                  <a:gd name="T4" fmla="*/ 316 w 316"/>
                  <a:gd name="T5" fmla="*/ 0 h 180"/>
                  <a:gd name="T6" fmla="*/ 185 w 316"/>
                  <a:gd name="T7" fmla="*/ 180 h 180"/>
                  <a:gd name="T8" fmla="*/ 0 w 316"/>
                  <a:gd name="T9" fmla="*/ 180 h 180"/>
                </a:gdLst>
                <a:ahLst/>
                <a:cxnLst>
                  <a:cxn ang="0">
                    <a:pos x="T0" y="T1"/>
                  </a:cxn>
                  <a:cxn ang="0">
                    <a:pos x="T2" y="T3"/>
                  </a:cxn>
                  <a:cxn ang="0">
                    <a:pos x="T4" y="T5"/>
                  </a:cxn>
                  <a:cxn ang="0">
                    <a:pos x="T6" y="T7"/>
                  </a:cxn>
                  <a:cxn ang="0">
                    <a:pos x="T8" y="T9"/>
                  </a:cxn>
                </a:cxnLst>
                <a:rect l="0" t="0" r="r" b="b"/>
                <a:pathLst>
                  <a:path w="316" h="180">
                    <a:moveTo>
                      <a:pt x="0" y="180"/>
                    </a:moveTo>
                    <a:lnTo>
                      <a:pt x="159" y="0"/>
                    </a:lnTo>
                    <a:lnTo>
                      <a:pt x="316" y="0"/>
                    </a:lnTo>
                    <a:lnTo>
                      <a:pt x="185" y="180"/>
                    </a:lnTo>
                    <a:lnTo>
                      <a:pt x="0" y="18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grpSp>
            <p:nvGrpSpPr>
              <p:cNvPr id="169" name="ïSlïḋê" descr="IQQAAB+LCAAAAAAABADFUj1PwzAQ/S8GtgilWYBspagoQ2mlVDCgDqa+Jka2EzkOalXlv3N280laJCacJT6/d/fe3R3JtTnkQEISS6rNE6eJpjIyIIlHIkZCVQrhkUeuGFfJs87KvCDh+7Gl9V/euElnmcj0KxUl2ASKG07F6RqOSAPsSnNUcHCxS1iEjXItdzu+hXUKEhrMmiszVSxOKUOEf+ujAc2T1Cgoijqw/PiErenRwnuLKosUc17N8cz8YG6TuTJ+VXkkhm2m2L+KDH6ItGco8lKzmz4vuOKylDXMlVnQfS808U9BzpiAPixSBvRXO86Jjbn/2GgsMM+0pAYLHv3qpmvCA3Ktrkgx2COrEUsG069F2sU7u1/2oV0vt2wdaUVxZQG1nXE95nVoj0xVIhAc3Dl/TRPbxDibHF4QbSXVVm2IbIYmGj2YGpQZ26u8i7rWsDd/c2IZfQ/nmv+rBVeyc1ArGGivZW/w+wbsxTpHIQQAAA==">
                <a:extLst>
                  <a:ext uri="{FF2B5EF4-FFF2-40B4-BE49-F238E27FC236}">
                    <a16:creationId xmlns:a16="http://schemas.microsoft.com/office/drawing/2014/main" id="{E9C68FCA-5A4B-4468-90E7-3D4150A0AD40}"/>
                  </a:ext>
                </a:extLst>
              </p:cNvPr>
              <p:cNvGrpSpPr>
                <a:grpSpLocks noChangeAspect="1"/>
              </p:cNvGrpSpPr>
              <p:nvPr/>
            </p:nvGrpSpPr>
            <p:grpSpPr>
              <a:xfrm>
                <a:off x="5234761" y="1176950"/>
                <a:ext cx="1671437" cy="1137841"/>
                <a:chOff x="2533650" y="3441662"/>
                <a:chExt cx="3009900" cy="2049006"/>
              </a:xfrm>
            </p:grpSpPr>
            <p:sp>
              <p:nvSpPr>
                <p:cNvPr id="170" name="íṧḷiḑe">
                  <a:extLst>
                    <a:ext uri="{FF2B5EF4-FFF2-40B4-BE49-F238E27FC236}">
                      <a16:creationId xmlns:a16="http://schemas.microsoft.com/office/drawing/2014/main" id="{F4975C37-0D1D-4644-BC30-AA3EDCD76FB1}"/>
                    </a:ext>
                  </a:extLst>
                </p:cNvPr>
                <p:cNvSpPr/>
                <p:nvPr/>
              </p:nvSpPr>
              <p:spPr>
                <a:xfrm>
                  <a:off x="2639226" y="3500669"/>
                  <a:ext cx="2798754" cy="1930999"/>
                </a:xfrm>
                <a:custGeom>
                  <a:avLst/>
                  <a:gdLst>
                    <a:gd name="connsiteX0" fmla="*/ 919617 w 2918007"/>
                    <a:gd name="connsiteY0" fmla="*/ 1842840 h 2013279"/>
                    <a:gd name="connsiteX1" fmla="*/ 946395 w 2918007"/>
                    <a:gd name="connsiteY1" fmla="*/ 1843537 h 2013279"/>
                    <a:gd name="connsiteX2" fmla="*/ 974689 w 2918007"/>
                    <a:gd name="connsiteY2" fmla="*/ 1855048 h 2013279"/>
                    <a:gd name="connsiteX3" fmla="*/ 1080710 w 2918007"/>
                    <a:gd name="connsiteY3" fmla="*/ 1890450 h 2013279"/>
                    <a:gd name="connsiteX4" fmla="*/ 1080710 w 2918007"/>
                    <a:gd name="connsiteY4" fmla="*/ 1890450 h 2013279"/>
                    <a:gd name="connsiteX5" fmla="*/ 1030185 w 2918007"/>
                    <a:gd name="connsiteY5" fmla="*/ 1882561 h 2013279"/>
                    <a:gd name="connsiteX6" fmla="*/ 974690 w 2918007"/>
                    <a:gd name="connsiteY6" fmla="*/ 1855048 h 2013279"/>
                    <a:gd name="connsiteX7" fmla="*/ 919617 w 2918007"/>
                    <a:gd name="connsiteY7" fmla="*/ 1842840 h 2013279"/>
                    <a:gd name="connsiteX8" fmla="*/ 1312420 w 2918007"/>
                    <a:gd name="connsiteY8" fmla="*/ 1839964 h 2013279"/>
                    <a:gd name="connsiteX9" fmla="*/ 1352544 w 2918007"/>
                    <a:gd name="connsiteY9" fmla="*/ 1841503 h 2013279"/>
                    <a:gd name="connsiteX10" fmla="*/ 1352544 w 2918007"/>
                    <a:gd name="connsiteY10" fmla="*/ 1841503 h 2013279"/>
                    <a:gd name="connsiteX11" fmla="*/ 1312421 w 2918007"/>
                    <a:gd name="connsiteY11" fmla="*/ 1839964 h 2013279"/>
                    <a:gd name="connsiteX12" fmla="*/ 1403032 w 2918007"/>
                    <a:gd name="connsiteY12" fmla="*/ 1782012 h 2013279"/>
                    <a:gd name="connsiteX13" fmla="*/ 1403034 w 2918007"/>
                    <a:gd name="connsiteY13" fmla="*/ 1782014 h 2013279"/>
                    <a:gd name="connsiteX14" fmla="*/ 1411936 w 2918007"/>
                    <a:gd name="connsiteY14" fmla="*/ 1798116 h 2013279"/>
                    <a:gd name="connsiteX15" fmla="*/ 1413421 w 2918007"/>
                    <a:gd name="connsiteY15" fmla="*/ 1803975 h 2013279"/>
                    <a:gd name="connsiteX16" fmla="*/ 1416034 w 2918007"/>
                    <a:gd name="connsiteY16" fmla="*/ 1835335 h 2013279"/>
                    <a:gd name="connsiteX17" fmla="*/ 1416034 w 2918007"/>
                    <a:gd name="connsiteY17" fmla="*/ 1835346 h 2013279"/>
                    <a:gd name="connsiteX18" fmla="*/ 1259467 w 2918007"/>
                    <a:gd name="connsiteY18" fmla="*/ 1890757 h 2013279"/>
                    <a:gd name="connsiteX19" fmla="*/ 1210155 w 2918007"/>
                    <a:gd name="connsiteY19" fmla="*/ 1942475 h 2013279"/>
                    <a:gd name="connsiteX20" fmla="*/ 1224246 w 2918007"/>
                    <a:gd name="connsiteY20" fmla="*/ 1953933 h 2013279"/>
                    <a:gd name="connsiteX21" fmla="*/ 1224246 w 2918007"/>
                    <a:gd name="connsiteY21" fmla="*/ 1953933 h 2013279"/>
                    <a:gd name="connsiteX22" fmla="*/ 1228713 w 2918007"/>
                    <a:gd name="connsiteY22" fmla="*/ 1954871 h 2013279"/>
                    <a:gd name="connsiteX23" fmla="*/ 1252148 w 2918007"/>
                    <a:gd name="connsiteY23" fmla="*/ 1959791 h 2013279"/>
                    <a:gd name="connsiteX24" fmla="*/ 1252148 w 2918007"/>
                    <a:gd name="connsiteY24" fmla="*/ 1959791 h 2013279"/>
                    <a:gd name="connsiteX25" fmla="*/ 1228713 w 2918007"/>
                    <a:gd name="connsiteY25" fmla="*/ 1954871 h 2013279"/>
                    <a:gd name="connsiteX26" fmla="*/ 1224246 w 2918007"/>
                    <a:gd name="connsiteY26" fmla="*/ 1953933 h 2013279"/>
                    <a:gd name="connsiteX27" fmla="*/ 1224246 w 2918007"/>
                    <a:gd name="connsiteY27" fmla="*/ 1953933 h 2013279"/>
                    <a:gd name="connsiteX28" fmla="*/ 1210156 w 2918007"/>
                    <a:gd name="connsiteY28" fmla="*/ 1942475 h 2013279"/>
                    <a:gd name="connsiteX29" fmla="*/ 1259468 w 2918007"/>
                    <a:gd name="connsiteY29" fmla="*/ 1890757 h 2013279"/>
                    <a:gd name="connsiteX30" fmla="*/ 1416035 w 2918007"/>
                    <a:gd name="connsiteY30" fmla="*/ 1835346 h 2013279"/>
                    <a:gd name="connsiteX31" fmla="*/ 1416034 w 2918007"/>
                    <a:gd name="connsiteY31" fmla="*/ 1835335 h 2013279"/>
                    <a:gd name="connsiteX32" fmla="*/ 1415090 w 2918007"/>
                    <a:gd name="connsiteY32" fmla="*/ 1810565 h 2013279"/>
                    <a:gd name="connsiteX33" fmla="*/ 1413421 w 2918007"/>
                    <a:gd name="connsiteY33" fmla="*/ 1803975 h 2013279"/>
                    <a:gd name="connsiteX34" fmla="*/ 1413109 w 2918007"/>
                    <a:gd name="connsiteY34" fmla="*/ 1800238 h 2013279"/>
                    <a:gd name="connsiteX35" fmla="*/ 1411936 w 2918007"/>
                    <a:gd name="connsiteY35" fmla="*/ 1798116 h 2013279"/>
                    <a:gd name="connsiteX36" fmla="*/ 1410332 w 2918007"/>
                    <a:gd name="connsiteY36" fmla="*/ 1791786 h 2013279"/>
                    <a:gd name="connsiteX37" fmla="*/ 1403034 w 2918007"/>
                    <a:gd name="connsiteY37" fmla="*/ 1782014 h 2013279"/>
                    <a:gd name="connsiteX38" fmla="*/ 1403033 w 2918007"/>
                    <a:gd name="connsiteY38" fmla="*/ 1782012 h 2013279"/>
                    <a:gd name="connsiteX39" fmla="*/ 1499248 w 2918007"/>
                    <a:gd name="connsiteY39" fmla="*/ 1696816 h 2013279"/>
                    <a:gd name="connsiteX40" fmla="*/ 1417806 w 2918007"/>
                    <a:gd name="connsiteY40" fmla="*/ 1712132 h 2013279"/>
                    <a:gd name="connsiteX41" fmla="*/ 1405848 w 2918007"/>
                    <a:gd name="connsiteY41" fmla="*/ 1719670 h 2013279"/>
                    <a:gd name="connsiteX42" fmla="*/ 1402485 w 2918007"/>
                    <a:gd name="connsiteY42" fmla="*/ 1721101 h 2013279"/>
                    <a:gd name="connsiteX43" fmla="*/ 1347578 w 2918007"/>
                    <a:gd name="connsiteY43" fmla="*/ 1757996 h 2013279"/>
                    <a:gd name="connsiteX44" fmla="*/ 1346997 w 2918007"/>
                    <a:gd name="connsiteY44" fmla="*/ 1758385 h 2013279"/>
                    <a:gd name="connsiteX45" fmla="*/ 1312122 w 2918007"/>
                    <a:gd name="connsiteY45" fmla="*/ 1775875 h 2013279"/>
                    <a:gd name="connsiteX46" fmla="*/ 1312122 w 2918007"/>
                    <a:gd name="connsiteY46" fmla="*/ 1775875 h 2013279"/>
                    <a:gd name="connsiteX47" fmla="*/ 1297300 w 2918007"/>
                    <a:gd name="connsiteY47" fmla="*/ 1775932 h 2013279"/>
                    <a:gd name="connsiteX48" fmla="*/ 1312122 w 2918007"/>
                    <a:gd name="connsiteY48" fmla="*/ 1775875 h 2013279"/>
                    <a:gd name="connsiteX49" fmla="*/ 1312122 w 2918007"/>
                    <a:gd name="connsiteY49" fmla="*/ 1775875 h 2013279"/>
                    <a:gd name="connsiteX50" fmla="*/ 1346998 w 2918007"/>
                    <a:gd name="connsiteY50" fmla="*/ 1758385 h 2013279"/>
                    <a:gd name="connsiteX51" fmla="*/ 1347578 w 2918007"/>
                    <a:gd name="connsiteY51" fmla="*/ 1757996 h 2013279"/>
                    <a:gd name="connsiteX52" fmla="*/ 1386476 w 2918007"/>
                    <a:gd name="connsiteY52" fmla="*/ 1731882 h 2013279"/>
                    <a:gd name="connsiteX53" fmla="*/ 1405848 w 2918007"/>
                    <a:gd name="connsiteY53" fmla="*/ 1719670 h 2013279"/>
                    <a:gd name="connsiteX54" fmla="*/ 1451796 w 2918007"/>
                    <a:gd name="connsiteY54" fmla="*/ 1700116 h 2013279"/>
                    <a:gd name="connsiteX55" fmla="*/ 1499248 w 2918007"/>
                    <a:gd name="connsiteY55" fmla="*/ 1696816 h 2013279"/>
                    <a:gd name="connsiteX56" fmla="*/ 2079592 w 2918007"/>
                    <a:gd name="connsiteY56" fmla="*/ 1655104 h 2013279"/>
                    <a:gd name="connsiteX57" fmla="*/ 2089127 w 2918007"/>
                    <a:gd name="connsiteY57" fmla="*/ 1660087 h 2013279"/>
                    <a:gd name="connsiteX58" fmla="*/ 2093461 w 2918007"/>
                    <a:gd name="connsiteY58" fmla="*/ 1663569 h 2013279"/>
                    <a:gd name="connsiteX59" fmla="*/ 2093466 w 2918007"/>
                    <a:gd name="connsiteY59" fmla="*/ 1663573 h 2013279"/>
                    <a:gd name="connsiteX60" fmla="*/ 2115252 w 2918007"/>
                    <a:gd name="connsiteY60" fmla="*/ 1687244 h 2013279"/>
                    <a:gd name="connsiteX61" fmla="*/ 2116852 w 2918007"/>
                    <a:gd name="connsiteY61" fmla="*/ 1690459 h 2013279"/>
                    <a:gd name="connsiteX62" fmla="*/ 2116752 w 2918007"/>
                    <a:gd name="connsiteY62" fmla="*/ 1701539 h 2013279"/>
                    <a:gd name="connsiteX63" fmla="*/ 2114804 w 2918007"/>
                    <a:gd name="connsiteY63" fmla="*/ 1717519 h 2013279"/>
                    <a:gd name="connsiteX64" fmla="*/ 2114752 w 2918007"/>
                    <a:gd name="connsiteY64" fmla="*/ 1717783 h 2013279"/>
                    <a:gd name="connsiteX65" fmla="*/ 2111000 w 2918007"/>
                    <a:gd name="connsiteY65" fmla="*/ 1729487 h 2013279"/>
                    <a:gd name="connsiteX66" fmla="*/ 2112139 w 2918007"/>
                    <a:gd name="connsiteY66" fmla="*/ 1731085 h 2013279"/>
                    <a:gd name="connsiteX67" fmla="*/ 2111404 w 2918007"/>
                    <a:gd name="connsiteY67" fmla="*/ 1734825 h 2013279"/>
                    <a:gd name="connsiteX68" fmla="*/ 2134760 w 2918007"/>
                    <a:gd name="connsiteY68" fmla="*/ 1740530 h 2013279"/>
                    <a:gd name="connsiteX69" fmla="*/ 2134760 w 2918007"/>
                    <a:gd name="connsiteY69" fmla="*/ 1740530 h 2013279"/>
                    <a:gd name="connsiteX70" fmla="*/ 2118045 w 2918007"/>
                    <a:gd name="connsiteY70" fmla="*/ 1739370 h 2013279"/>
                    <a:gd name="connsiteX71" fmla="*/ 2112139 w 2918007"/>
                    <a:gd name="connsiteY71" fmla="*/ 1731085 h 2013279"/>
                    <a:gd name="connsiteX72" fmla="*/ 2114752 w 2918007"/>
                    <a:gd name="connsiteY72" fmla="*/ 1717783 h 2013279"/>
                    <a:gd name="connsiteX73" fmla="*/ 2116659 w 2918007"/>
                    <a:gd name="connsiteY73" fmla="*/ 1711833 h 2013279"/>
                    <a:gd name="connsiteX74" fmla="*/ 2116752 w 2918007"/>
                    <a:gd name="connsiteY74" fmla="*/ 1701539 h 2013279"/>
                    <a:gd name="connsiteX75" fmla="*/ 2117857 w 2918007"/>
                    <a:gd name="connsiteY75" fmla="*/ 1692478 h 2013279"/>
                    <a:gd name="connsiteX76" fmla="*/ 2116852 w 2918007"/>
                    <a:gd name="connsiteY76" fmla="*/ 1690459 h 2013279"/>
                    <a:gd name="connsiteX77" fmla="*/ 2116865 w 2918007"/>
                    <a:gd name="connsiteY77" fmla="*/ 1688996 h 2013279"/>
                    <a:gd name="connsiteX78" fmla="*/ 2115252 w 2918007"/>
                    <a:gd name="connsiteY78" fmla="*/ 1687244 h 2013279"/>
                    <a:gd name="connsiteX79" fmla="*/ 2110784 w 2918007"/>
                    <a:gd name="connsiteY79" fmla="*/ 1678265 h 2013279"/>
                    <a:gd name="connsiteX80" fmla="*/ 2093466 w 2918007"/>
                    <a:gd name="connsiteY80" fmla="*/ 1663573 h 2013279"/>
                    <a:gd name="connsiteX81" fmla="*/ 2093462 w 2918007"/>
                    <a:gd name="connsiteY81" fmla="*/ 1663569 h 2013279"/>
                    <a:gd name="connsiteX82" fmla="*/ 2079593 w 2918007"/>
                    <a:gd name="connsiteY82" fmla="*/ 1655104 h 2013279"/>
                    <a:gd name="connsiteX83" fmla="*/ 289776 w 2918007"/>
                    <a:gd name="connsiteY83" fmla="*/ 1591004 h 2013279"/>
                    <a:gd name="connsiteX84" fmla="*/ 392773 w 2918007"/>
                    <a:gd name="connsiteY84" fmla="*/ 1601644 h 2013279"/>
                    <a:gd name="connsiteX85" fmla="*/ 392773 w 2918007"/>
                    <a:gd name="connsiteY85" fmla="*/ 1601644 h 2013279"/>
                    <a:gd name="connsiteX86" fmla="*/ 331393 w 2918007"/>
                    <a:gd name="connsiteY86" fmla="*/ 1600999 h 2013279"/>
                    <a:gd name="connsiteX87" fmla="*/ 289776 w 2918007"/>
                    <a:gd name="connsiteY87" fmla="*/ 1591004 h 2013279"/>
                    <a:gd name="connsiteX88" fmla="*/ 2232084 w 2918007"/>
                    <a:gd name="connsiteY88" fmla="*/ 1584289 h 2013279"/>
                    <a:gd name="connsiteX89" fmla="*/ 2232081 w 2918007"/>
                    <a:gd name="connsiteY89" fmla="*/ 1584290 h 2013279"/>
                    <a:gd name="connsiteX90" fmla="*/ 2172593 w 2918007"/>
                    <a:gd name="connsiteY90" fmla="*/ 1592226 h 2013279"/>
                    <a:gd name="connsiteX91" fmla="*/ 2147248 w 2918007"/>
                    <a:gd name="connsiteY91" fmla="*/ 1597613 h 2013279"/>
                    <a:gd name="connsiteX92" fmla="*/ 2142293 w 2918007"/>
                    <a:gd name="connsiteY92" fmla="*/ 1598391 h 2013279"/>
                    <a:gd name="connsiteX93" fmla="*/ 2061408 w 2918007"/>
                    <a:gd name="connsiteY93" fmla="*/ 1615545 h 2013279"/>
                    <a:gd name="connsiteX94" fmla="*/ 1980659 w 2918007"/>
                    <a:gd name="connsiteY94" fmla="*/ 1706667 h 2013279"/>
                    <a:gd name="connsiteX95" fmla="*/ 1978131 w 2918007"/>
                    <a:gd name="connsiteY95" fmla="*/ 1739592 h 2013279"/>
                    <a:gd name="connsiteX96" fmla="*/ 1976523 w 2918007"/>
                    <a:gd name="connsiteY96" fmla="*/ 1746054 h 2013279"/>
                    <a:gd name="connsiteX97" fmla="*/ 1971531 w 2918007"/>
                    <a:gd name="connsiteY97" fmla="*/ 1757635 h 2013279"/>
                    <a:gd name="connsiteX98" fmla="*/ 1969185 w 2918007"/>
                    <a:gd name="connsiteY98" fmla="*/ 1760677 h 2013279"/>
                    <a:gd name="connsiteX99" fmla="*/ 1959596 w 2918007"/>
                    <a:gd name="connsiteY99" fmla="*/ 1764157 h 2013279"/>
                    <a:gd name="connsiteX100" fmla="*/ 1959597 w 2918007"/>
                    <a:gd name="connsiteY100" fmla="*/ 1764157 h 2013279"/>
                    <a:gd name="connsiteX101" fmla="*/ 1967971 w 2918007"/>
                    <a:gd name="connsiteY101" fmla="*/ 1762252 h 2013279"/>
                    <a:gd name="connsiteX102" fmla="*/ 1969185 w 2918007"/>
                    <a:gd name="connsiteY102" fmla="*/ 1760677 h 2013279"/>
                    <a:gd name="connsiteX103" fmla="*/ 1970411 w 2918007"/>
                    <a:gd name="connsiteY103" fmla="*/ 1760232 h 2013279"/>
                    <a:gd name="connsiteX104" fmla="*/ 1971531 w 2918007"/>
                    <a:gd name="connsiteY104" fmla="*/ 1757635 h 2013279"/>
                    <a:gd name="connsiteX105" fmla="*/ 1974647 w 2918007"/>
                    <a:gd name="connsiteY105" fmla="*/ 1753594 h 2013279"/>
                    <a:gd name="connsiteX106" fmla="*/ 1976523 w 2918007"/>
                    <a:gd name="connsiteY106" fmla="*/ 1746054 h 2013279"/>
                    <a:gd name="connsiteX107" fmla="*/ 1977876 w 2918007"/>
                    <a:gd name="connsiteY107" fmla="*/ 1742916 h 2013279"/>
                    <a:gd name="connsiteX108" fmla="*/ 1978131 w 2918007"/>
                    <a:gd name="connsiteY108" fmla="*/ 1739592 h 2013279"/>
                    <a:gd name="connsiteX109" fmla="*/ 1979063 w 2918007"/>
                    <a:gd name="connsiteY109" fmla="*/ 1735845 h 2013279"/>
                    <a:gd name="connsiteX110" fmla="*/ 1980660 w 2918007"/>
                    <a:gd name="connsiteY110" fmla="*/ 1706667 h 2013279"/>
                    <a:gd name="connsiteX111" fmla="*/ 2061409 w 2918007"/>
                    <a:gd name="connsiteY111" fmla="*/ 1615545 h 2013279"/>
                    <a:gd name="connsiteX112" fmla="*/ 2112985 w 2918007"/>
                    <a:gd name="connsiteY112" fmla="*/ 1604895 h 2013279"/>
                    <a:gd name="connsiteX113" fmla="*/ 2147248 w 2918007"/>
                    <a:gd name="connsiteY113" fmla="*/ 1597613 h 2013279"/>
                    <a:gd name="connsiteX114" fmla="*/ 2232081 w 2918007"/>
                    <a:gd name="connsiteY114" fmla="*/ 1584290 h 2013279"/>
                    <a:gd name="connsiteX115" fmla="*/ 2232085 w 2918007"/>
                    <a:gd name="connsiteY115" fmla="*/ 1584289 h 2013279"/>
                    <a:gd name="connsiteX116" fmla="*/ 1522672 w 2918007"/>
                    <a:gd name="connsiteY116" fmla="*/ 1576141 h 2013279"/>
                    <a:gd name="connsiteX117" fmla="*/ 1522671 w 2918007"/>
                    <a:gd name="connsiteY117" fmla="*/ 1576141 h 2013279"/>
                    <a:gd name="connsiteX118" fmla="*/ 1541086 w 2918007"/>
                    <a:gd name="connsiteY118" fmla="*/ 1594140 h 2013279"/>
                    <a:gd name="connsiteX119" fmla="*/ 1566281 w 2918007"/>
                    <a:gd name="connsiteY119" fmla="*/ 1629863 h 2013279"/>
                    <a:gd name="connsiteX120" fmla="*/ 1573075 w 2918007"/>
                    <a:gd name="connsiteY120" fmla="*/ 1640544 h 2013279"/>
                    <a:gd name="connsiteX121" fmla="*/ 1576192 w 2918007"/>
                    <a:gd name="connsiteY121" fmla="*/ 1645623 h 2013279"/>
                    <a:gd name="connsiteX122" fmla="*/ 1580518 w 2918007"/>
                    <a:gd name="connsiteY122" fmla="*/ 1652941 h 2013279"/>
                    <a:gd name="connsiteX123" fmla="*/ 1580613 w 2918007"/>
                    <a:gd name="connsiteY123" fmla="*/ 1653102 h 2013279"/>
                    <a:gd name="connsiteX124" fmla="*/ 1580665 w 2918007"/>
                    <a:gd name="connsiteY124" fmla="*/ 1653155 h 2013279"/>
                    <a:gd name="connsiteX125" fmla="*/ 1617078 w 2918007"/>
                    <a:gd name="connsiteY125" fmla="*/ 1690618 h 2013279"/>
                    <a:gd name="connsiteX126" fmla="*/ 1624194 w 2918007"/>
                    <a:gd name="connsiteY126" fmla="*/ 1697080 h 2013279"/>
                    <a:gd name="connsiteX127" fmla="*/ 1628623 w 2918007"/>
                    <a:gd name="connsiteY127" fmla="*/ 1701549 h 2013279"/>
                    <a:gd name="connsiteX128" fmla="*/ 1636422 w 2918007"/>
                    <a:gd name="connsiteY128" fmla="*/ 1708185 h 2013279"/>
                    <a:gd name="connsiteX129" fmla="*/ 1650764 w 2918007"/>
                    <a:gd name="connsiteY129" fmla="*/ 1721209 h 2013279"/>
                    <a:gd name="connsiteX130" fmla="*/ 1658267 w 2918007"/>
                    <a:gd name="connsiteY130" fmla="*/ 1726770 h 2013279"/>
                    <a:gd name="connsiteX131" fmla="*/ 1671590 w 2918007"/>
                    <a:gd name="connsiteY131" fmla="*/ 1738106 h 2013279"/>
                    <a:gd name="connsiteX132" fmla="*/ 1740724 w 2918007"/>
                    <a:gd name="connsiteY132" fmla="*/ 1782243 h 2013279"/>
                    <a:gd name="connsiteX133" fmla="*/ 1746978 w 2918007"/>
                    <a:gd name="connsiteY133" fmla="*/ 1784615 h 2013279"/>
                    <a:gd name="connsiteX134" fmla="*/ 1754203 w 2918007"/>
                    <a:gd name="connsiteY134" fmla="*/ 1788461 h 2013279"/>
                    <a:gd name="connsiteX135" fmla="*/ 1784658 w 2918007"/>
                    <a:gd name="connsiteY135" fmla="*/ 1798903 h 2013279"/>
                    <a:gd name="connsiteX136" fmla="*/ 1784662 w 2918007"/>
                    <a:gd name="connsiteY136" fmla="*/ 1798905 h 2013279"/>
                    <a:gd name="connsiteX137" fmla="*/ 1784663 w 2918007"/>
                    <a:gd name="connsiteY137" fmla="*/ 1798905 h 2013279"/>
                    <a:gd name="connsiteX138" fmla="*/ 1785936 w 2918007"/>
                    <a:gd name="connsiteY138" fmla="*/ 1799118 h 2013279"/>
                    <a:gd name="connsiteX139" fmla="*/ 1800053 w 2918007"/>
                    <a:gd name="connsiteY139" fmla="*/ 1801483 h 2013279"/>
                    <a:gd name="connsiteX140" fmla="*/ 1800054 w 2918007"/>
                    <a:gd name="connsiteY140" fmla="*/ 1801483 h 2013279"/>
                    <a:gd name="connsiteX141" fmla="*/ 1785936 w 2918007"/>
                    <a:gd name="connsiteY141" fmla="*/ 1799118 h 2013279"/>
                    <a:gd name="connsiteX142" fmla="*/ 1784663 w 2918007"/>
                    <a:gd name="connsiteY142" fmla="*/ 1798905 h 2013279"/>
                    <a:gd name="connsiteX143" fmla="*/ 1784663 w 2918007"/>
                    <a:gd name="connsiteY143" fmla="*/ 1798905 h 2013279"/>
                    <a:gd name="connsiteX144" fmla="*/ 1784658 w 2918007"/>
                    <a:gd name="connsiteY144" fmla="*/ 1798903 h 2013279"/>
                    <a:gd name="connsiteX145" fmla="*/ 1746978 w 2918007"/>
                    <a:gd name="connsiteY145" fmla="*/ 1784615 h 2013279"/>
                    <a:gd name="connsiteX146" fmla="*/ 1709098 w 2918007"/>
                    <a:gd name="connsiteY146" fmla="*/ 1764446 h 2013279"/>
                    <a:gd name="connsiteX147" fmla="*/ 1658267 w 2918007"/>
                    <a:gd name="connsiteY147" fmla="*/ 1726770 h 2013279"/>
                    <a:gd name="connsiteX148" fmla="*/ 1636422 w 2918007"/>
                    <a:gd name="connsiteY148" fmla="*/ 1708185 h 2013279"/>
                    <a:gd name="connsiteX149" fmla="*/ 1624194 w 2918007"/>
                    <a:gd name="connsiteY149" fmla="*/ 1697080 h 2013279"/>
                    <a:gd name="connsiteX150" fmla="*/ 1580665 w 2918007"/>
                    <a:gd name="connsiteY150" fmla="*/ 1653155 h 2013279"/>
                    <a:gd name="connsiteX151" fmla="*/ 1580614 w 2918007"/>
                    <a:gd name="connsiteY151" fmla="*/ 1653102 h 2013279"/>
                    <a:gd name="connsiteX152" fmla="*/ 1580518 w 2918007"/>
                    <a:gd name="connsiteY152" fmla="*/ 1652941 h 2013279"/>
                    <a:gd name="connsiteX153" fmla="*/ 1577167 w 2918007"/>
                    <a:gd name="connsiteY153" fmla="*/ 1647213 h 2013279"/>
                    <a:gd name="connsiteX154" fmla="*/ 1576192 w 2918007"/>
                    <a:gd name="connsiteY154" fmla="*/ 1645623 h 2013279"/>
                    <a:gd name="connsiteX155" fmla="*/ 1574681 w 2918007"/>
                    <a:gd name="connsiteY155" fmla="*/ 1643068 h 2013279"/>
                    <a:gd name="connsiteX156" fmla="*/ 1573075 w 2918007"/>
                    <a:gd name="connsiteY156" fmla="*/ 1640544 h 2013279"/>
                    <a:gd name="connsiteX157" fmla="*/ 1568131 w 2918007"/>
                    <a:gd name="connsiteY157" fmla="*/ 1632485 h 2013279"/>
                    <a:gd name="connsiteX158" fmla="*/ 1566281 w 2918007"/>
                    <a:gd name="connsiteY158" fmla="*/ 1629863 h 2013279"/>
                    <a:gd name="connsiteX159" fmla="*/ 1559965 w 2918007"/>
                    <a:gd name="connsiteY159" fmla="*/ 1619932 h 2013279"/>
                    <a:gd name="connsiteX160" fmla="*/ 1522672 w 2918007"/>
                    <a:gd name="connsiteY160" fmla="*/ 1576141 h 2013279"/>
                    <a:gd name="connsiteX161" fmla="*/ 506760 w 2918007"/>
                    <a:gd name="connsiteY161" fmla="*/ 1570139 h 2013279"/>
                    <a:gd name="connsiteX162" fmla="*/ 506760 w 2918007"/>
                    <a:gd name="connsiteY162" fmla="*/ 1570139 h 2013279"/>
                    <a:gd name="connsiteX163" fmla="*/ 520992 w 2918007"/>
                    <a:gd name="connsiteY163" fmla="*/ 1573342 h 2013279"/>
                    <a:gd name="connsiteX164" fmla="*/ 543822 w 2918007"/>
                    <a:gd name="connsiteY164" fmla="*/ 1629706 h 2013279"/>
                    <a:gd name="connsiteX165" fmla="*/ 510054 w 2918007"/>
                    <a:gd name="connsiteY165" fmla="*/ 1671688 h 2013279"/>
                    <a:gd name="connsiteX166" fmla="*/ 475062 w 2918007"/>
                    <a:gd name="connsiteY166" fmla="*/ 1674902 h 2013279"/>
                    <a:gd name="connsiteX167" fmla="*/ 475062 w 2918007"/>
                    <a:gd name="connsiteY167" fmla="*/ 1674902 h 2013279"/>
                    <a:gd name="connsiteX168" fmla="*/ 543822 w 2918007"/>
                    <a:gd name="connsiteY168" fmla="*/ 1629706 h 2013279"/>
                    <a:gd name="connsiteX169" fmla="*/ 506760 w 2918007"/>
                    <a:gd name="connsiteY169" fmla="*/ 1570139 h 2013279"/>
                    <a:gd name="connsiteX170" fmla="*/ 2203394 w 2918007"/>
                    <a:gd name="connsiteY170" fmla="*/ 1547435 h 2013279"/>
                    <a:gd name="connsiteX171" fmla="*/ 2253726 w 2918007"/>
                    <a:gd name="connsiteY171" fmla="*/ 1548436 h 2013279"/>
                    <a:gd name="connsiteX172" fmla="*/ 2253734 w 2918007"/>
                    <a:gd name="connsiteY172" fmla="*/ 1548438 h 2013279"/>
                    <a:gd name="connsiteX173" fmla="*/ 2283955 w 2918007"/>
                    <a:gd name="connsiteY173" fmla="*/ 1559558 h 2013279"/>
                    <a:gd name="connsiteX174" fmla="*/ 2288138 w 2918007"/>
                    <a:gd name="connsiteY174" fmla="*/ 1563215 h 2013279"/>
                    <a:gd name="connsiteX175" fmla="*/ 2291836 w 2918007"/>
                    <a:gd name="connsiteY175" fmla="*/ 1569999 h 2013279"/>
                    <a:gd name="connsiteX176" fmla="*/ 2288138 w 2918007"/>
                    <a:gd name="connsiteY176" fmla="*/ 1583674 h 2013279"/>
                    <a:gd name="connsiteX177" fmla="*/ 2283313 w 2918007"/>
                    <a:gd name="connsiteY177" fmla="*/ 1587840 h 2013279"/>
                    <a:gd name="connsiteX178" fmla="*/ 2283314 w 2918007"/>
                    <a:gd name="connsiteY178" fmla="*/ 1587840 h 2013279"/>
                    <a:gd name="connsiteX179" fmla="*/ 2293716 w 2918007"/>
                    <a:gd name="connsiteY179" fmla="*/ 1573448 h 2013279"/>
                    <a:gd name="connsiteX180" fmla="*/ 2291836 w 2918007"/>
                    <a:gd name="connsiteY180" fmla="*/ 1569999 h 2013279"/>
                    <a:gd name="connsiteX181" fmla="*/ 2292614 w 2918007"/>
                    <a:gd name="connsiteY181" fmla="*/ 1567126 h 2013279"/>
                    <a:gd name="connsiteX182" fmla="*/ 2288138 w 2918007"/>
                    <a:gd name="connsiteY182" fmla="*/ 1563215 h 2013279"/>
                    <a:gd name="connsiteX183" fmla="*/ 2286695 w 2918007"/>
                    <a:gd name="connsiteY183" fmla="*/ 1560566 h 2013279"/>
                    <a:gd name="connsiteX184" fmla="*/ 2283955 w 2918007"/>
                    <a:gd name="connsiteY184" fmla="*/ 1559558 h 2013279"/>
                    <a:gd name="connsiteX185" fmla="*/ 2281406 w 2918007"/>
                    <a:gd name="connsiteY185" fmla="*/ 1557330 h 2013279"/>
                    <a:gd name="connsiteX186" fmla="*/ 2253734 w 2918007"/>
                    <a:gd name="connsiteY186" fmla="*/ 1548438 h 2013279"/>
                    <a:gd name="connsiteX187" fmla="*/ 2253727 w 2918007"/>
                    <a:gd name="connsiteY187" fmla="*/ 1548436 h 2013279"/>
                    <a:gd name="connsiteX188" fmla="*/ 2203394 w 2918007"/>
                    <a:gd name="connsiteY188" fmla="*/ 1547435 h 2013279"/>
                    <a:gd name="connsiteX189" fmla="*/ 989426 w 2918007"/>
                    <a:gd name="connsiteY189" fmla="*/ 1534746 h 2013279"/>
                    <a:gd name="connsiteX190" fmla="*/ 994414 w 2918007"/>
                    <a:gd name="connsiteY190" fmla="*/ 1534890 h 2013279"/>
                    <a:gd name="connsiteX191" fmla="*/ 1021357 w 2918007"/>
                    <a:gd name="connsiteY191" fmla="*/ 1548766 h 2013279"/>
                    <a:gd name="connsiteX192" fmla="*/ 1027313 w 2918007"/>
                    <a:gd name="connsiteY192" fmla="*/ 1560173 h 2013279"/>
                    <a:gd name="connsiteX193" fmla="*/ 1034865 w 2918007"/>
                    <a:gd name="connsiteY193" fmla="*/ 1577065 h 2013279"/>
                    <a:gd name="connsiteX194" fmla="*/ 1036500 w 2918007"/>
                    <a:gd name="connsiteY194" fmla="*/ 1580109 h 2013279"/>
                    <a:gd name="connsiteX195" fmla="*/ 1042287 w 2918007"/>
                    <a:gd name="connsiteY195" fmla="*/ 1594415 h 2013279"/>
                    <a:gd name="connsiteX196" fmla="*/ 1045707 w 2918007"/>
                    <a:gd name="connsiteY196" fmla="*/ 1597251 h 2013279"/>
                    <a:gd name="connsiteX197" fmla="*/ 1048763 w 2918007"/>
                    <a:gd name="connsiteY197" fmla="*/ 1602943 h 2013279"/>
                    <a:gd name="connsiteX198" fmla="*/ 1061639 w 2918007"/>
                    <a:gd name="connsiteY198" fmla="*/ 1610464 h 2013279"/>
                    <a:gd name="connsiteX199" fmla="*/ 1061640 w 2918007"/>
                    <a:gd name="connsiteY199" fmla="*/ 1610464 h 2013279"/>
                    <a:gd name="connsiteX200" fmla="*/ 1079977 w 2918007"/>
                    <a:gd name="connsiteY200" fmla="*/ 1611756 h 2013279"/>
                    <a:gd name="connsiteX201" fmla="*/ 1081327 w 2918007"/>
                    <a:gd name="connsiteY201" fmla="*/ 1611851 h 2013279"/>
                    <a:gd name="connsiteX202" fmla="*/ 1081327 w 2918007"/>
                    <a:gd name="connsiteY202" fmla="*/ 1611851 h 2013279"/>
                    <a:gd name="connsiteX203" fmla="*/ 1079977 w 2918007"/>
                    <a:gd name="connsiteY203" fmla="*/ 1611756 h 2013279"/>
                    <a:gd name="connsiteX204" fmla="*/ 1061640 w 2918007"/>
                    <a:gd name="connsiteY204" fmla="*/ 1610464 h 2013279"/>
                    <a:gd name="connsiteX205" fmla="*/ 1061640 w 2918007"/>
                    <a:gd name="connsiteY205" fmla="*/ 1610464 h 2013279"/>
                    <a:gd name="connsiteX206" fmla="*/ 1045707 w 2918007"/>
                    <a:gd name="connsiteY206" fmla="*/ 1597251 h 2013279"/>
                    <a:gd name="connsiteX207" fmla="*/ 1036500 w 2918007"/>
                    <a:gd name="connsiteY207" fmla="*/ 1580109 h 2013279"/>
                    <a:gd name="connsiteX208" fmla="*/ 1032297 w 2918007"/>
                    <a:gd name="connsiteY208" fmla="*/ 1569716 h 2013279"/>
                    <a:gd name="connsiteX209" fmla="*/ 1027313 w 2918007"/>
                    <a:gd name="connsiteY209" fmla="*/ 1560173 h 2013279"/>
                    <a:gd name="connsiteX210" fmla="*/ 1022470 w 2918007"/>
                    <a:gd name="connsiteY210" fmla="*/ 1549340 h 2013279"/>
                    <a:gd name="connsiteX211" fmla="*/ 1021357 w 2918007"/>
                    <a:gd name="connsiteY211" fmla="*/ 1548766 h 2013279"/>
                    <a:gd name="connsiteX212" fmla="*/ 1020172 w 2918007"/>
                    <a:gd name="connsiteY212" fmla="*/ 1546497 h 2013279"/>
                    <a:gd name="connsiteX213" fmla="*/ 994415 w 2918007"/>
                    <a:gd name="connsiteY213" fmla="*/ 1534890 h 2013279"/>
                    <a:gd name="connsiteX214" fmla="*/ 989426 w 2918007"/>
                    <a:gd name="connsiteY214" fmla="*/ 1534746 h 2013279"/>
                    <a:gd name="connsiteX215" fmla="*/ 1798204 w 2918007"/>
                    <a:gd name="connsiteY215" fmla="*/ 1483173 h 2013279"/>
                    <a:gd name="connsiteX216" fmla="*/ 1750510 w 2918007"/>
                    <a:gd name="connsiteY216" fmla="*/ 1483740 h 2013279"/>
                    <a:gd name="connsiteX217" fmla="*/ 1750511 w 2918007"/>
                    <a:gd name="connsiteY217" fmla="*/ 1483740 h 2013279"/>
                    <a:gd name="connsiteX218" fmla="*/ 1566975 w 2918007"/>
                    <a:gd name="connsiteY218" fmla="*/ 1449156 h 2013279"/>
                    <a:gd name="connsiteX219" fmla="*/ 1529034 w 2918007"/>
                    <a:gd name="connsiteY219" fmla="*/ 1450063 h 2013279"/>
                    <a:gd name="connsiteX220" fmla="*/ 1521929 w 2918007"/>
                    <a:gd name="connsiteY220" fmla="*/ 1450233 h 2013279"/>
                    <a:gd name="connsiteX221" fmla="*/ 1516975 w 2918007"/>
                    <a:gd name="connsiteY221" fmla="*/ 1450767 h 2013279"/>
                    <a:gd name="connsiteX222" fmla="*/ 1473359 w 2918007"/>
                    <a:gd name="connsiteY222" fmla="*/ 1455467 h 2013279"/>
                    <a:gd name="connsiteX223" fmla="*/ 1301383 w 2918007"/>
                    <a:gd name="connsiteY223" fmla="*/ 1534890 h 2013279"/>
                    <a:gd name="connsiteX224" fmla="*/ 1148515 w 2918007"/>
                    <a:gd name="connsiteY224" fmla="*/ 1598306 h 2013279"/>
                    <a:gd name="connsiteX225" fmla="*/ 952498 w 2918007"/>
                    <a:gd name="connsiteY225" fmla="*/ 1716518 h 2013279"/>
                    <a:gd name="connsiteX226" fmla="*/ 909764 w 2918007"/>
                    <a:gd name="connsiteY226" fmla="*/ 1718058 h 2013279"/>
                    <a:gd name="connsiteX227" fmla="*/ 952499 w 2918007"/>
                    <a:gd name="connsiteY227" fmla="*/ 1716518 h 2013279"/>
                    <a:gd name="connsiteX228" fmla="*/ 1148516 w 2918007"/>
                    <a:gd name="connsiteY228" fmla="*/ 1598306 h 2013279"/>
                    <a:gd name="connsiteX229" fmla="*/ 1301384 w 2918007"/>
                    <a:gd name="connsiteY229" fmla="*/ 1534890 h 2013279"/>
                    <a:gd name="connsiteX230" fmla="*/ 1473360 w 2918007"/>
                    <a:gd name="connsiteY230" fmla="*/ 1455467 h 2013279"/>
                    <a:gd name="connsiteX231" fmla="*/ 1516975 w 2918007"/>
                    <a:gd name="connsiteY231" fmla="*/ 1450767 h 2013279"/>
                    <a:gd name="connsiteX232" fmla="*/ 1521930 w 2918007"/>
                    <a:gd name="connsiteY232" fmla="*/ 1450233 h 2013279"/>
                    <a:gd name="connsiteX233" fmla="*/ 1529034 w 2918007"/>
                    <a:gd name="connsiteY233" fmla="*/ 1450063 h 2013279"/>
                    <a:gd name="connsiteX234" fmla="*/ 1566975 w 2918007"/>
                    <a:gd name="connsiteY234" fmla="*/ 1449156 h 2013279"/>
                    <a:gd name="connsiteX235" fmla="*/ 786454 w 2918007"/>
                    <a:gd name="connsiteY235" fmla="*/ 1421835 h 2013279"/>
                    <a:gd name="connsiteX236" fmla="*/ 755248 w 2918007"/>
                    <a:gd name="connsiteY236" fmla="*/ 1426530 h 2013279"/>
                    <a:gd name="connsiteX237" fmla="*/ 736786 w 2918007"/>
                    <a:gd name="connsiteY237" fmla="*/ 1426943 h 2013279"/>
                    <a:gd name="connsiteX238" fmla="*/ 736786 w 2918007"/>
                    <a:gd name="connsiteY238" fmla="*/ 1426943 h 2013279"/>
                    <a:gd name="connsiteX239" fmla="*/ 755249 w 2918007"/>
                    <a:gd name="connsiteY239" fmla="*/ 1426530 h 2013279"/>
                    <a:gd name="connsiteX240" fmla="*/ 786454 w 2918007"/>
                    <a:gd name="connsiteY240" fmla="*/ 1421835 h 2013279"/>
                    <a:gd name="connsiteX241" fmla="*/ 2099009 w 2918007"/>
                    <a:gd name="connsiteY241" fmla="*/ 1376659 h 2013279"/>
                    <a:gd name="connsiteX242" fmla="*/ 2120265 w 2918007"/>
                    <a:gd name="connsiteY242" fmla="*/ 1381382 h 2013279"/>
                    <a:gd name="connsiteX243" fmla="*/ 2122596 w 2918007"/>
                    <a:gd name="connsiteY243" fmla="*/ 1393508 h 2013279"/>
                    <a:gd name="connsiteX244" fmla="*/ 2121071 w 2918007"/>
                    <a:gd name="connsiteY244" fmla="*/ 1396565 h 2013279"/>
                    <a:gd name="connsiteX245" fmla="*/ 2116884 w 2918007"/>
                    <a:gd name="connsiteY245" fmla="*/ 1401902 h 2013279"/>
                    <a:gd name="connsiteX246" fmla="*/ 1875254 w 2918007"/>
                    <a:gd name="connsiteY246" fmla="*/ 1507185 h 2013279"/>
                    <a:gd name="connsiteX247" fmla="*/ 1875262 w 2918007"/>
                    <a:gd name="connsiteY247" fmla="*/ 1507214 h 2013279"/>
                    <a:gd name="connsiteX248" fmla="*/ 1882616 w 2918007"/>
                    <a:gd name="connsiteY248" fmla="*/ 1538957 h 2013279"/>
                    <a:gd name="connsiteX249" fmla="*/ 1885021 w 2918007"/>
                    <a:gd name="connsiteY249" fmla="*/ 1543882 h 2013279"/>
                    <a:gd name="connsiteX250" fmla="*/ 1886034 w 2918007"/>
                    <a:gd name="connsiteY250" fmla="*/ 1547689 h 2013279"/>
                    <a:gd name="connsiteX251" fmla="*/ 1889193 w 2918007"/>
                    <a:gd name="connsiteY251" fmla="*/ 1552426 h 2013279"/>
                    <a:gd name="connsiteX252" fmla="*/ 1894160 w 2918007"/>
                    <a:gd name="connsiteY252" fmla="*/ 1562598 h 2013279"/>
                    <a:gd name="connsiteX253" fmla="*/ 1898216 w 2918007"/>
                    <a:gd name="connsiteY253" fmla="*/ 1565956 h 2013279"/>
                    <a:gd name="connsiteX254" fmla="*/ 1903821 w 2918007"/>
                    <a:gd name="connsiteY254" fmla="*/ 1574361 h 2013279"/>
                    <a:gd name="connsiteX255" fmla="*/ 1953537 w 2918007"/>
                    <a:gd name="connsiteY255" fmla="*/ 1596228 h 2013279"/>
                    <a:gd name="connsiteX256" fmla="*/ 1953538 w 2918007"/>
                    <a:gd name="connsiteY256" fmla="*/ 1596228 h 2013279"/>
                    <a:gd name="connsiteX257" fmla="*/ 1926896 w 2918007"/>
                    <a:gd name="connsiteY257" fmla="*/ 1589707 h 2013279"/>
                    <a:gd name="connsiteX258" fmla="*/ 1898216 w 2918007"/>
                    <a:gd name="connsiteY258" fmla="*/ 1565956 h 2013279"/>
                    <a:gd name="connsiteX259" fmla="*/ 1889193 w 2918007"/>
                    <a:gd name="connsiteY259" fmla="*/ 1552426 h 2013279"/>
                    <a:gd name="connsiteX260" fmla="*/ 1885021 w 2918007"/>
                    <a:gd name="connsiteY260" fmla="*/ 1543882 h 2013279"/>
                    <a:gd name="connsiteX261" fmla="*/ 1875262 w 2918007"/>
                    <a:gd name="connsiteY261" fmla="*/ 1507214 h 2013279"/>
                    <a:gd name="connsiteX262" fmla="*/ 1875255 w 2918007"/>
                    <a:gd name="connsiteY262" fmla="*/ 1507185 h 2013279"/>
                    <a:gd name="connsiteX263" fmla="*/ 2116885 w 2918007"/>
                    <a:gd name="connsiteY263" fmla="*/ 1401902 h 2013279"/>
                    <a:gd name="connsiteX264" fmla="*/ 2120246 w 2918007"/>
                    <a:gd name="connsiteY264" fmla="*/ 1398217 h 2013279"/>
                    <a:gd name="connsiteX265" fmla="*/ 2121071 w 2918007"/>
                    <a:gd name="connsiteY265" fmla="*/ 1396565 h 2013279"/>
                    <a:gd name="connsiteX266" fmla="*/ 2122768 w 2918007"/>
                    <a:gd name="connsiteY266" fmla="*/ 1394402 h 2013279"/>
                    <a:gd name="connsiteX267" fmla="*/ 2122596 w 2918007"/>
                    <a:gd name="connsiteY267" fmla="*/ 1393508 h 2013279"/>
                    <a:gd name="connsiteX268" fmla="*/ 2124359 w 2918007"/>
                    <a:gd name="connsiteY268" fmla="*/ 1389973 h 2013279"/>
                    <a:gd name="connsiteX269" fmla="*/ 2099010 w 2918007"/>
                    <a:gd name="connsiteY269" fmla="*/ 1376659 h 2013279"/>
                    <a:gd name="connsiteX270" fmla="*/ 602255 w 2918007"/>
                    <a:gd name="connsiteY270" fmla="*/ 1376380 h 2013279"/>
                    <a:gd name="connsiteX271" fmla="*/ 631351 w 2918007"/>
                    <a:gd name="connsiteY271" fmla="*/ 1381584 h 2013279"/>
                    <a:gd name="connsiteX272" fmla="*/ 734060 w 2918007"/>
                    <a:gd name="connsiteY272" fmla="*/ 1390973 h 2013279"/>
                    <a:gd name="connsiteX273" fmla="*/ 734060 w 2918007"/>
                    <a:gd name="connsiteY273" fmla="*/ 1390973 h 2013279"/>
                    <a:gd name="connsiteX274" fmla="*/ 673547 w 2918007"/>
                    <a:gd name="connsiteY274" fmla="*/ 1388703 h 2013279"/>
                    <a:gd name="connsiteX275" fmla="*/ 631352 w 2918007"/>
                    <a:gd name="connsiteY275" fmla="*/ 1381584 h 2013279"/>
                    <a:gd name="connsiteX276" fmla="*/ 602256 w 2918007"/>
                    <a:gd name="connsiteY276" fmla="*/ 1376380 h 2013279"/>
                    <a:gd name="connsiteX277" fmla="*/ 1133105 w 2918007"/>
                    <a:gd name="connsiteY277" fmla="*/ 1339718 h 2013279"/>
                    <a:gd name="connsiteX278" fmla="*/ 1149459 w 2918007"/>
                    <a:gd name="connsiteY278" fmla="*/ 1347135 h 2013279"/>
                    <a:gd name="connsiteX279" fmla="*/ 1149464 w 2918007"/>
                    <a:gd name="connsiteY279" fmla="*/ 1347150 h 2013279"/>
                    <a:gd name="connsiteX280" fmla="*/ 1155365 w 2918007"/>
                    <a:gd name="connsiteY280" fmla="*/ 1367673 h 2013279"/>
                    <a:gd name="connsiteX281" fmla="*/ 1156844 w 2918007"/>
                    <a:gd name="connsiteY281" fmla="*/ 1380140 h 2013279"/>
                    <a:gd name="connsiteX282" fmla="*/ 1158590 w 2918007"/>
                    <a:gd name="connsiteY282" fmla="*/ 1397987 h 2013279"/>
                    <a:gd name="connsiteX283" fmla="*/ 1164537 w 2918007"/>
                    <a:gd name="connsiteY283" fmla="*/ 1426510 h 2013279"/>
                    <a:gd name="connsiteX284" fmla="*/ 1164541 w 2918007"/>
                    <a:gd name="connsiteY284" fmla="*/ 1426530 h 2013279"/>
                    <a:gd name="connsiteX285" fmla="*/ 1164558 w 2918007"/>
                    <a:gd name="connsiteY285" fmla="*/ 1426562 h 2013279"/>
                    <a:gd name="connsiteX286" fmla="*/ 1178873 w 2918007"/>
                    <a:gd name="connsiteY286" fmla="*/ 1455380 h 2013279"/>
                    <a:gd name="connsiteX287" fmla="*/ 1190453 w 2918007"/>
                    <a:gd name="connsiteY287" fmla="*/ 1476316 h 2013279"/>
                    <a:gd name="connsiteX288" fmla="*/ 1195535 w 2918007"/>
                    <a:gd name="connsiteY288" fmla="*/ 1486112 h 2013279"/>
                    <a:gd name="connsiteX289" fmla="*/ 1201985 w 2918007"/>
                    <a:gd name="connsiteY289" fmla="*/ 1505913 h 2013279"/>
                    <a:gd name="connsiteX290" fmla="*/ 1201988 w 2918007"/>
                    <a:gd name="connsiteY290" fmla="*/ 1505924 h 2013279"/>
                    <a:gd name="connsiteX291" fmla="*/ 1188581 w 2918007"/>
                    <a:gd name="connsiteY291" fmla="*/ 1510879 h 2013279"/>
                    <a:gd name="connsiteX292" fmla="*/ 1188582 w 2918007"/>
                    <a:gd name="connsiteY292" fmla="*/ 1510879 h 2013279"/>
                    <a:gd name="connsiteX293" fmla="*/ 1201989 w 2918007"/>
                    <a:gd name="connsiteY293" fmla="*/ 1505924 h 2013279"/>
                    <a:gd name="connsiteX294" fmla="*/ 1201985 w 2918007"/>
                    <a:gd name="connsiteY294" fmla="*/ 1505913 h 2013279"/>
                    <a:gd name="connsiteX295" fmla="*/ 1198087 w 2918007"/>
                    <a:gd name="connsiteY295" fmla="*/ 1491031 h 2013279"/>
                    <a:gd name="connsiteX296" fmla="*/ 1195535 w 2918007"/>
                    <a:gd name="connsiteY296" fmla="*/ 1486112 h 2013279"/>
                    <a:gd name="connsiteX297" fmla="*/ 1195054 w 2918007"/>
                    <a:gd name="connsiteY297" fmla="*/ 1484635 h 2013279"/>
                    <a:gd name="connsiteX298" fmla="*/ 1190453 w 2918007"/>
                    <a:gd name="connsiteY298" fmla="*/ 1476316 h 2013279"/>
                    <a:gd name="connsiteX299" fmla="*/ 1187425 w 2918007"/>
                    <a:gd name="connsiteY299" fmla="*/ 1470480 h 2013279"/>
                    <a:gd name="connsiteX300" fmla="*/ 1164558 w 2918007"/>
                    <a:gd name="connsiteY300" fmla="*/ 1426562 h 2013279"/>
                    <a:gd name="connsiteX301" fmla="*/ 1164542 w 2918007"/>
                    <a:gd name="connsiteY301" fmla="*/ 1426530 h 2013279"/>
                    <a:gd name="connsiteX302" fmla="*/ 1164537 w 2918007"/>
                    <a:gd name="connsiteY302" fmla="*/ 1426510 h 2013279"/>
                    <a:gd name="connsiteX303" fmla="*/ 1157195 w 2918007"/>
                    <a:gd name="connsiteY303" fmla="*/ 1383098 h 2013279"/>
                    <a:gd name="connsiteX304" fmla="*/ 1156844 w 2918007"/>
                    <a:gd name="connsiteY304" fmla="*/ 1380140 h 2013279"/>
                    <a:gd name="connsiteX305" fmla="*/ 1155758 w 2918007"/>
                    <a:gd name="connsiteY305" fmla="*/ 1369040 h 2013279"/>
                    <a:gd name="connsiteX306" fmla="*/ 1155365 w 2918007"/>
                    <a:gd name="connsiteY306" fmla="*/ 1367673 h 2013279"/>
                    <a:gd name="connsiteX307" fmla="*/ 1154765 w 2918007"/>
                    <a:gd name="connsiteY307" fmla="*/ 1362612 h 2013279"/>
                    <a:gd name="connsiteX308" fmla="*/ 1149464 w 2918007"/>
                    <a:gd name="connsiteY308" fmla="*/ 1347150 h 2013279"/>
                    <a:gd name="connsiteX309" fmla="*/ 1149459 w 2918007"/>
                    <a:gd name="connsiteY309" fmla="*/ 1347135 h 2013279"/>
                    <a:gd name="connsiteX310" fmla="*/ 1133106 w 2918007"/>
                    <a:gd name="connsiteY310" fmla="*/ 1339718 h 2013279"/>
                    <a:gd name="connsiteX311" fmla="*/ 185076 w 2918007"/>
                    <a:gd name="connsiteY311" fmla="*/ 1331714 h 2013279"/>
                    <a:gd name="connsiteX312" fmla="*/ 229280 w 2918007"/>
                    <a:gd name="connsiteY312" fmla="*/ 1341324 h 2013279"/>
                    <a:gd name="connsiteX313" fmla="*/ 264225 w 2918007"/>
                    <a:gd name="connsiteY313" fmla="*/ 1344989 h 2013279"/>
                    <a:gd name="connsiteX314" fmla="*/ 264225 w 2918007"/>
                    <a:gd name="connsiteY314" fmla="*/ 1344989 h 2013279"/>
                    <a:gd name="connsiteX315" fmla="*/ 229281 w 2918007"/>
                    <a:gd name="connsiteY315" fmla="*/ 1341324 h 2013279"/>
                    <a:gd name="connsiteX316" fmla="*/ 185076 w 2918007"/>
                    <a:gd name="connsiteY316" fmla="*/ 1331714 h 2013279"/>
                    <a:gd name="connsiteX317" fmla="*/ 1069254 w 2918007"/>
                    <a:gd name="connsiteY317" fmla="*/ 1312314 h 2013279"/>
                    <a:gd name="connsiteX318" fmla="*/ 1031589 w 2918007"/>
                    <a:gd name="connsiteY318" fmla="*/ 1312711 h 2013279"/>
                    <a:gd name="connsiteX319" fmla="*/ 1029025 w 2918007"/>
                    <a:gd name="connsiteY319" fmla="*/ 1313231 h 2013279"/>
                    <a:gd name="connsiteX320" fmla="*/ 1026814 w 2918007"/>
                    <a:gd name="connsiteY320" fmla="*/ 1313281 h 2013279"/>
                    <a:gd name="connsiteX321" fmla="*/ 1022870 w 2918007"/>
                    <a:gd name="connsiteY321" fmla="*/ 1314480 h 2013279"/>
                    <a:gd name="connsiteX322" fmla="*/ 1001144 w 2918007"/>
                    <a:gd name="connsiteY322" fmla="*/ 1318888 h 2013279"/>
                    <a:gd name="connsiteX323" fmla="*/ 991719 w 2918007"/>
                    <a:gd name="connsiteY323" fmla="*/ 1323946 h 2013279"/>
                    <a:gd name="connsiteX324" fmla="*/ 980282 w 2918007"/>
                    <a:gd name="connsiteY324" fmla="*/ 1327421 h 2013279"/>
                    <a:gd name="connsiteX325" fmla="*/ 966848 w 2918007"/>
                    <a:gd name="connsiteY325" fmla="*/ 1337292 h 2013279"/>
                    <a:gd name="connsiteX326" fmla="*/ 959205 w 2918007"/>
                    <a:gd name="connsiteY326" fmla="*/ 1341393 h 2013279"/>
                    <a:gd name="connsiteX327" fmla="*/ 955423 w 2918007"/>
                    <a:gd name="connsiteY327" fmla="*/ 1345686 h 2013279"/>
                    <a:gd name="connsiteX328" fmla="*/ 951271 w 2918007"/>
                    <a:gd name="connsiteY328" fmla="*/ 1348736 h 2013279"/>
                    <a:gd name="connsiteX329" fmla="*/ 941420 w 2918007"/>
                    <a:gd name="connsiteY329" fmla="*/ 1361580 h 2013279"/>
                    <a:gd name="connsiteX330" fmla="*/ 938015 w 2918007"/>
                    <a:gd name="connsiteY330" fmla="*/ 1365445 h 2013279"/>
                    <a:gd name="connsiteX331" fmla="*/ 937074 w 2918007"/>
                    <a:gd name="connsiteY331" fmla="*/ 1367247 h 2013279"/>
                    <a:gd name="connsiteX332" fmla="*/ 936367 w 2918007"/>
                    <a:gd name="connsiteY332" fmla="*/ 1368168 h 2013279"/>
                    <a:gd name="connsiteX333" fmla="*/ 932176 w 2918007"/>
                    <a:gd name="connsiteY333" fmla="*/ 1376621 h 2013279"/>
                    <a:gd name="connsiteX334" fmla="*/ 932156 w 2918007"/>
                    <a:gd name="connsiteY334" fmla="*/ 1376659 h 2013279"/>
                    <a:gd name="connsiteX335" fmla="*/ 821203 w 2918007"/>
                    <a:gd name="connsiteY335" fmla="*/ 1500412 h 2013279"/>
                    <a:gd name="connsiteX336" fmla="*/ 826135 w 2918007"/>
                    <a:gd name="connsiteY336" fmla="*/ 1562596 h 2013279"/>
                    <a:gd name="connsiteX337" fmla="*/ 778671 w 2918007"/>
                    <a:gd name="connsiteY337" fmla="*/ 1688812 h 2013279"/>
                    <a:gd name="connsiteX338" fmla="*/ 789771 w 2918007"/>
                    <a:gd name="connsiteY338" fmla="*/ 1731514 h 2013279"/>
                    <a:gd name="connsiteX339" fmla="*/ 793560 w 2918007"/>
                    <a:gd name="connsiteY339" fmla="*/ 1743252 h 2013279"/>
                    <a:gd name="connsiteX340" fmla="*/ 795330 w 2918007"/>
                    <a:gd name="connsiteY340" fmla="*/ 1749724 h 2013279"/>
                    <a:gd name="connsiteX341" fmla="*/ 797268 w 2918007"/>
                    <a:gd name="connsiteY341" fmla="*/ 1754737 h 2013279"/>
                    <a:gd name="connsiteX342" fmla="*/ 800898 w 2918007"/>
                    <a:gd name="connsiteY342" fmla="*/ 1765981 h 2013279"/>
                    <a:gd name="connsiteX343" fmla="*/ 804874 w 2918007"/>
                    <a:gd name="connsiteY343" fmla="*/ 1774412 h 2013279"/>
                    <a:gd name="connsiteX344" fmla="*/ 812080 w 2918007"/>
                    <a:gd name="connsiteY344" fmla="*/ 1793054 h 2013279"/>
                    <a:gd name="connsiteX345" fmla="*/ 819852 w 2918007"/>
                    <a:gd name="connsiteY345" fmla="*/ 1806177 h 2013279"/>
                    <a:gd name="connsiteX346" fmla="*/ 823342 w 2918007"/>
                    <a:gd name="connsiteY346" fmla="*/ 1813575 h 2013279"/>
                    <a:gd name="connsiteX347" fmla="*/ 825829 w 2918007"/>
                    <a:gd name="connsiteY347" fmla="*/ 1816267 h 2013279"/>
                    <a:gd name="connsiteX348" fmla="*/ 829013 w 2918007"/>
                    <a:gd name="connsiteY348" fmla="*/ 1821642 h 2013279"/>
                    <a:gd name="connsiteX349" fmla="*/ 846210 w 2918007"/>
                    <a:gd name="connsiteY349" fmla="*/ 1838318 h 2013279"/>
                    <a:gd name="connsiteX350" fmla="*/ 846218 w 2918007"/>
                    <a:gd name="connsiteY350" fmla="*/ 1838327 h 2013279"/>
                    <a:gd name="connsiteX351" fmla="*/ 869745 w 2918007"/>
                    <a:gd name="connsiteY351" fmla="*/ 1846967 h 2013279"/>
                    <a:gd name="connsiteX352" fmla="*/ 869746 w 2918007"/>
                    <a:gd name="connsiteY352" fmla="*/ 1846967 h 2013279"/>
                    <a:gd name="connsiteX353" fmla="*/ 846219 w 2918007"/>
                    <a:gd name="connsiteY353" fmla="*/ 1838327 h 2013279"/>
                    <a:gd name="connsiteX354" fmla="*/ 846210 w 2918007"/>
                    <a:gd name="connsiteY354" fmla="*/ 1838318 h 2013279"/>
                    <a:gd name="connsiteX355" fmla="*/ 825829 w 2918007"/>
                    <a:gd name="connsiteY355" fmla="*/ 1816267 h 2013279"/>
                    <a:gd name="connsiteX356" fmla="*/ 819852 w 2918007"/>
                    <a:gd name="connsiteY356" fmla="*/ 1806177 h 2013279"/>
                    <a:gd name="connsiteX357" fmla="*/ 804874 w 2918007"/>
                    <a:gd name="connsiteY357" fmla="*/ 1774412 h 2013279"/>
                    <a:gd name="connsiteX358" fmla="*/ 797268 w 2918007"/>
                    <a:gd name="connsiteY358" fmla="*/ 1754737 h 2013279"/>
                    <a:gd name="connsiteX359" fmla="*/ 793560 w 2918007"/>
                    <a:gd name="connsiteY359" fmla="*/ 1743252 h 2013279"/>
                    <a:gd name="connsiteX360" fmla="*/ 778672 w 2918007"/>
                    <a:gd name="connsiteY360" fmla="*/ 1688812 h 2013279"/>
                    <a:gd name="connsiteX361" fmla="*/ 826136 w 2918007"/>
                    <a:gd name="connsiteY361" fmla="*/ 1562596 h 2013279"/>
                    <a:gd name="connsiteX362" fmla="*/ 821204 w 2918007"/>
                    <a:gd name="connsiteY362" fmla="*/ 1500412 h 2013279"/>
                    <a:gd name="connsiteX363" fmla="*/ 932157 w 2918007"/>
                    <a:gd name="connsiteY363" fmla="*/ 1376659 h 2013279"/>
                    <a:gd name="connsiteX364" fmla="*/ 932176 w 2918007"/>
                    <a:gd name="connsiteY364" fmla="*/ 1376621 h 2013279"/>
                    <a:gd name="connsiteX365" fmla="*/ 937074 w 2918007"/>
                    <a:gd name="connsiteY365" fmla="*/ 1367247 h 2013279"/>
                    <a:gd name="connsiteX366" fmla="*/ 941420 w 2918007"/>
                    <a:gd name="connsiteY366" fmla="*/ 1361580 h 2013279"/>
                    <a:gd name="connsiteX367" fmla="*/ 955423 w 2918007"/>
                    <a:gd name="connsiteY367" fmla="*/ 1345686 h 2013279"/>
                    <a:gd name="connsiteX368" fmla="*/ 966848 w 2918007"/>
                    <a:gd name="connsiteY368" fmla="*/ 1337292 h 2013279"/>
                    <a:gd name="connsiteX369" fmla="*/ 991719 w 2918007"/>
                    <a:gd name="connsiteY369" fmla="*/ 1323946 h 2013279"/>
                    <a:gd name="connsiteX370" fmla="*/ 1022870 w 2918007"/>
                    <a:gd name="connsiteY370" fmla="*/ 1314480 h 2013279"/>
                    <a:gd name="connsiteX371" fmla="*/ 1029025 w 2918007"/>
                    <a:gd name="connsiteY371" fmla="*/ 1313231 h 2013279"/>
                    <a:gd name="connsiteX372" fmla="*/ 1069254 w 2918007"/>
                    <a:gd name="connsiteY372" fmla="*/ 1312314 h 2013279"/>
                    <a:gd name="connsiteX373" fmla="*/ 454443 w 2918007"/>
                    <a:gd name="connsiteY373" fmla="*/ 1310780 h 2013279"/>
                    <a:gd name="connsiteX374" fmla="*/ 433784 w 2918007"/>
                    <a:gd name="connsiteY374" fmla="*/ 1330395 h 2013279"/>
                    <a:gd name="connsiteX375" fmla="*/ 433777 w 2918007"/>
                    <a:gd name="connsiteY375" fmla="*/ 1330400 h 2013279"/>
                    <a:gd name="connsiteX376" fmla="*/ 400643 w 2918007"/>
                    <a:gd name="connsiteY376" fmla="*/ 1349411 h 2013279"/>
                    <a:gd name="connsiteX377" fmla="*/ 391172 w 2918007"/>
                    <a:gd name="connsiteY377" fmla="*/ 1353835 h 2013279"/>
                    <a:gd name="connsiteX378" fmla="*/ 386877 w 2918007"/>
                    <a:gd name="connsiteY378" fmla="*/ 1355680 h 2013279"/>
                    <a:gd name="connsiteX379" fmla="*/ 380475 w 2918007"/>
                    <a:gd name="connsiteY379" fmla="*/ 1358188 h 2013279"/>
                    <a:gd name="connsiteX380" fmla="*/ 311377 w 2918007"/>
                    <a:gd name="connsiteY380" fmla="*/ 1375258 h 2013279"/>
                    <a:gd name="connsiteX381" fmla="*/ 311376 w 2918007"/>
                    <a:gd name="connsiteY381" fmla="*/ 1375258 h 2013279"/>
                    <a:gd name="connsiteX382" fmla="*/ 279114 w 2918007"/>
                    <a:gd name="connsiteY382" fmla="*/ 1378792 h 2013279"/>
                    <a:gd name="connsiteX383" fmla="*/ 260748 w 2918007"/>
                    <a:gd name="connsiteY383" fmla="*/ 1380805 h 2013279"/>
                    <a:gd name="connsiteX384" fmla="*/ 260749 w 2918007"/>
                    <a:gd name="connsiteY384" fmla="*/ 1380805 h 2013279"/>
                    <a:gd name="connsiteX385" fmla="*/ 279114 w 2918007"/>
                    <a:gd name="connsiteY385" fmla="*/ 1378792 h 2013279"/>
                    <a:gd name="connsiteX386" fmla="*/ 311377 w 2918007"/>
                    <a:gd name="connsiteY386" fmla="*/ 1375258 h 2013279"/>
                    <a:gd name="connsiteX387" fmla="*/ 311377 w 2918007"/>
                    <a:gd name="connsiteY387" fmla="*/ 1375258 h 2013279"/>
                    <a:gd name="connsiteX388" fmla="*/ 380476 w 2918007"/>
                    <a:gd name="connsiteY388" fmla="*/ 1358188 h 2013279"/>
                    <a:gd name="connsiteX389" fmla="*/ 385453 w 2918007"/>
                    <a:gd name="connsiteY389" fmla="*/ 1356292 h 2013279"/>
                    <a:gd name="connsiteX390" fmla="*/ 386877 w 2918007"/>
                    <a:gd name="connsiteY390" fmla="*/ 1355680 h 2013279"/>
                    <a:gd name="connsiteX391" fmla="*/ 388999 w 2918007"/>
                    <a:gd name="connsiteY391" fmla="*/ 1354850 h 2013279"/>
                    <a:gd name="connsiteX392" fmla="*/ 391172 w 2918007"/>
                    <a:gd name="connsiteY392" fmla="*/ 1353835 h 2013279"/>
                    <a:gd name="connsiteX393" fmla="*/ 398192 w 2918007"/>
                    <a:gd name="connsiteY393" fmla="*/ 1350818 h 2013279"/>
                    <a:gd name="connsiteX394" fmla="*/ 400643 w 2918007"/>
                    <a:gd name="connsiteY394" fmla="*/ 1349411 h 2013279"/>
                    <a:gd name="connsiteX395" fmla="*/ 409369 w 2918007"/>
                    <a:gd name="connsiteY395" fmla="*/ 1345336 h 2013279"/>
                    <a:gd name="connsiteX396" fmla="*/ 433777 w 2918007"/>
                    <a:gd name="connsiteY396" fmla="*/ 1330400 h 2013279"/>
                    <a:gd name="connsiteX397" fmla="*/ 433785 w 2918007"/>
                    <a:gd name="connsiteY397" fmla="*/ 1330395 h 2013279"/>
                    <a:gd name="connsiteX398" fmla="*/ 454443 w 2918007"/>
                    <a:gd name="connsiteY398" fmla="*/ 1310781 h 2013279"/>
                    <a:gd name="connsiteX399" fmla="*/ 586165 w 2918007"/>
                    <a:gd name="connsiteY399" fmla="*/ 1241610 h 2013279"/>
                    <a:gd name="connsiteX400" fmla="*/ 536425 w 2918007"/>
                    <a:gd name="connsiteY400" fmla="*/ 1247365 h 2013279"/>
                    <a:gd name="connsiteX401" fmla="*/ 528411 w 2918007"/>
                    <a:gd name="connsiteY401" fmla="*/ 1424067 h 2013279"/>
                    <a:gd name="connsiteX402" fmla="*/ 538890 w 2918007"/>
                    <a:gd name="connsiteY402" fmla="*/ 1547820 h 2013279"/>
                    <a:gd name="connsiteX403" fmla="*/ 538915 w 2918007"/>
                    <a:gd name="connsiteY403" fmla="*/ 1547827 h 2013279"/>
                    <a:gd name="connsiteX404" fmla="*/ 547132 w 2918007"/>
                    <a:gd name="connsiteY404" fmla="*/ 1550259 h 2013279"/>
                    <a:gd name="connsiteX405" fmla="*/ 548826 w 2918007"/>
                    <a:gd name="connsiteY405" fmla="*/ 1550691 h 2013279"/>
                    <a:gd name="connsiteX406" fmla="*/ 551509 w 2918007"/>
                    <a:gd name="connsiteY406" fmla="*/ 1551467 h 2013279"/>
                    <a:gd name="connsiteX407" fmla="*/ 555815 w 2918007"/>
                    <a:gd name="connsiteY407" fmla="*/ 1552476 h 2013279"/>
                    <a:gd name="connsiteX408" fmla="*/ 569220 w 2918007"/>
                    <a:gd name="connsiteY408" fmla="*/ 1555901 h 2013279"/>
                    <a:gd name="connsiteX409" fmla="*/ 572756 w 2918007"/>
                    <a:gd name="connsiteY409" fmla="*/ 1556450 h 2013279"/>
                    <a:gd name="connsiteX410" fmla="*/ 584222 w 2918007"/>
                    <a:gd name="connsiteY410" fmla="*/ 1559138 h 2013279"/>
                    <a:gd name="connsiteX411" fmla="*/ 629310 w 2918007"/>
                    <a:gd name="connsiteY411" fmla="*/ 1565931 h 2013279"/>
                    <a:gd name="connsiteX412" fmla="*/ 634523 w 2918007"/>
                    <a:gd name="connsiteY412" fmla="*/ 1566037 h 2013279"/>
                    <a:gd name="connsiteX413" fmla="*/ 639134 w 2918007"/>
                    <a:gd name="connsiteY413" fmla="*/ 1566752 h 2013279"/>
                    <a:gd name="connsiteX414" fmla="*/ 679056 w 2918007"/>
                    <a:gd name="connsiteY414" fmla="*/ 1566940 h 2013279"/>
                    <a:gd name="connsiteX415" fmla="*/ 634523 w 2918007"/>
                    <a:gd name="connsiteY415" fmla="*/ 1566037 h 2013279"/>
                    <a:gd name="connsiteX416" fmla="*/ 572756 w 2918007"/>
                    <a:gd name="connsiteY416" fmla="*/ 1556450 h 2013279"/>
                    <a:gd name="connsiteX417" fmla="*/ 555815 w 2918007"/>
                    <a:gd name="connsiteY417" fmla="*/ 1552476 h 2013279"/>
                    <a:gd name="connsiteX418" fmla="*/ 548826 w 2918007"/>
                    <a:gd name="connsiteY418" fmla="*/ 1550691 h 2013279"/>
                    <a:gd name="connsiteX419" fmla="*/ 538915 w 2918007"/>
                    <a:gd name="connsiteY419" fmla="*/ 1547827 h 2013279"/>
                    <a:gd name="connsiteX420" fmla="*/ 538891 w 2918007"/>
                    <a:gd name="connsiteY420" fmla="*/ 1547820 h 2013279"/>
                    <a:gd name="connsiteX421" fmla="*/ 528412 w 2918007"/>
                    <a:gd name="connsiteY421" fmla="*/ 1424067 h 2013279"/>
                    <a:gd name="connsiteX422" fmla="*/ 536426 w 2918007"/>
                    <a:gd name="connsiteY422" fmla="*/ 1247365 h 2013279"/>
                    <a:gd name="connsiteX423" fmla="*/ 586166 w 2918007"/>
                    <a:gd name="connsiteY423" fmla="*/ 1241610 h 2013279"/>
                    <a:gd name="connsiteX424" fmla="*/ 1596385 w 2918007"/>
                    <a:gd name="connsiteY424" fmla="*/ 1215105 h 2013279"/>
                    <a:gd name="connsiteX425" fmla="*/ 1609230 w 2918007"/>
                    <a:gd name="connsiteY425" fmla="*/ 1218911 h 2013279"/>
                    <a:gd name="connsiteX426" fmla="*/ 1613762 w 2918007"/>
                    <a:gd name="connsiteY426" fmla="*/ 1223843 h 2013279"/>
                    <a:gd name="connsiteX427" fmla="*/ 1619447 w 2918007"/>
                    <a:gd name="connsiteY427" fmla="*/ 1235897 h 2013279"/>
                    <a:gd name="connsiteX428" fmla="*/ 1622205 w 2918007"/>
                    <a:gd name="connsiteY428" fmla="*/ 1244422 h 2013279"/>
                    <a:gd name="connsiteX429" fmla="*/ 1624213 w 2918007"/>
                    <a:gd name="connsiteY429" fmla="*/ 1255240 h 2013279"/>
                    <a:gd name="connsiteX430" fmla="*/ 1629925 w 2918007"/>
                    <a:gd name="connsiteY430" fmla="*/ 1301545 h 2013279"/>
                    <a:gd name="connsiteX431" fmla="*/ 1695264 w 2918007"/>
                    <a:gd name="connsiteY431" fmla="*/ 1432071 h 2013279"/>
                    <a:gd name="connsiteX432" fmla="*/ 1782764 w 2918007"/>
                    <a:gd name="connsiteY432" fmla="*/ 1432311 h 2013279"/>
                    <a:gd name="connsiteX433" fmla="*/ 1782764 w 2918007"/>
                    <a:gd name="connsiteY433" fmla="*/ 1432311 h 2013279"/>
                    <a:gd name="connsiteX434" fmla="*/ 1695265 w 2918007"/>
                    <a:gd name="connsiteY434" fmla="*/ 1432071 h 2013279"/>
                    <a:gd name="connsiteX435" fmla="*/ 1629926 w 2918007"/>
                    <a:gd name="connsiteY435" fmla="*/ 1301545 h 2013279"/>
                    <a:gd name="connsiteX436" fmla="*/ 1626861 w 2918007"/>
                    <a:gd name="connsiteY436" fmla="*/ 1269503 h 2013279"/>
                    <a:gd name="connsiteX437" fmla="*/ 1624213 w 2918007"/>
                    <a:gd name="connsiteY437" fmla="*/ 1255240 h 2013279"/>
                    <a:gd name="connsiteX438" fmla="*/ 1623294 w 2918007"/>
                    <a:gd name="connsiteY438" fmla="*/ 1247789 h 2013279"/>
                    <a:gd name="connsiteX439" fmla="*/ 1622205 w 2918007"/>
                    <a:gd name="connsiteY439" fmla="*/ 1244422 h 2013279"/>
                    <a:gd name="connsiteX440" fmla="*/ 1621385 w 2918007"/>
                    <a:gd name="connsiteY440" fmla="*/ 1240007 h 2013279"/>
                    <a:gd name="connsiteX441" fmla="*/ 1619447 w 2918007"/>
                    <a:gd name="connsiteY441" fmla="*/ 1235897 h 2013279"/>
                    <a:gd name="connsiteX442" fmla="*/ 1616517 w 2918007"/>
                    <a:gd name="connsiteY442" fmla="*/ 1226841 h 2013279"/>
                    <a:gd name="connsiteX443" fmla="*/ 1613762 w 2918007"/>
                    <a:gd name="connsiteY443" fmla="*/ 1223843 h 2013279"/>
                    <a:gd name="connsiteX444" fmla="*/ 1611794 w 2918007"/>
                    <a:gd name="connsiteY444" fmla="*/ 1219671 h 2013279"/>
                    <a:gd name="connsiteX445" fmla="*/ 1609230 w 2918007"/>
                    <a:gd name="connsiteY445" fmla="*/ 1218911 h 2013279"/>
                    <a:gd name="connsiteX446" fmla="*/ 1606001 w 2918007"/>
                    <a:gd name="connsiteY446" fmla="*/ 1215397 h 2013279"/>
                    <a:gd name="connsiteX447" fmla="*/ 633567 w 2918007"/>
                    <a:gd name="connsiteY447" fmla="*/ 1197003 h 2013279"/>
                    <a:gd name="connsiteX448" fmla="*/ 690534 w 2918007"/>
                    <a:gd name="connsiteY448" fmla="*/ 1210912 h 2013279"/>
                    <a:gd name="connsiteX449" fmla="*/ 706433 w 2918007"/>
                    <a:gd name="connsiteY449" fmla="*/ 1218144 h 2013279"/>
                    <a:gd name="connsiteX450" fmla="*/ 739870 w 2918007"/>
                    <a:gd name="connsiteY450" fmla="*/ 1236231 h 2013279"/>
                    <a:gd name="connsiteX451" fmla="*/ 752530 w 2918007"/>
                    <a:gd name="connsiteY451" fmla="*/ 1243801 h 2013279"/>
                    <a:gd name="connsiteX452" fmla="*/ 784196 w 2918007"/>
                    <a:gd name="connsiteY452" fmla="*/ 1260281 h 2013279"/>
                    <a:gd name="connsiteX453" fmla="*/ 784219 w 2918007"/>
                    <a:gd name="connsiteY453" fmla="*/ 1260294 h 2013279"/>
                    <a:gd name="connsiteX454" fmla="*/ 784239 w 2918007"/>
                    <a:gd name="connsiteY454" fmla="*/ 1260301 h 2013279"/>
                    <a:gd name="connsiteX455" fmla="*/ 827638 w 2918007"/>
                    <a:gd name="connsiteY455" fmla="*/ 1277033 h 2013279"/>
                    <a:gd name="connsiteX456" fmla="*/ 839282 w 2918007"/>
                    <a:gd name="connsiteY456" fmla="*/ 1280442 h 2013279"/>
                    <a:gd name="connsiteX457" fmla="*/ 848104 w 2918007"/>
                    <a:gd name="connsiteY457" fmla="*/ 1283671 h 2013279"/>
                    <a:gd name="connsiteX458" fmla="*/ 859369 w 2918007"/>
                    <a:gd name="connsiteY458" fmla="*/ 1286325 h 2013279"/>
                    <a:gd name="connsiteX459" fmla="*/ 866665 w 2918007"/>
                    <a:gd name="connsiteY459" fmla="*/ 1288461 h 2013279"/>
                    <a:gd name="connsiteX460" fmla="*/ 869181 w 2918007"/>
                    <a:gd name="connsiteY460" fmla="*/ 1288637 h 2013279"/>
                    <a:gd name="connsiteX461" fmla="*/ 874976 w 2918007"/>
                    <a:gd name="connsiteY461" fmla="*/ 1290002 h 2013279"/>
                    <a:gd name="connsiteX462" fmla="*/ 894826 w 2918007"/>
                    <a:gd name="connsiteY462" fmla="*/ 1290424 h 2013279"/>
                    <a:gd name="connsiteX463" fmla="*/ 894826 w 2918007"/>
                    <a:gd name="connsiteY463" fmla="*/ 1290424 h 2013279"/>
                    <a:gd name="connsiteX464" fmla="*/ 869181 w 2918007"/>
                    <a:gd name="connsiteY464" fmla="*/ 1288637 h 2013279"/>
                    <a:gd name="connsiteX465" fmla="*/ 859369 w 2918007"/>
                    <a:gd name="connsiteY465" fmla="*/ 1286325 h 2013279"/>
                    <a:gd name="connsiteX466" fmla="*/ 839282 w 2918007"/>
                    <a:gd name="connsiteY466" fmla="*/ 1280442 h 2013279"/>
                    <a:gd name="connsiteX467" fmla="*/ 784239 w 2918007"/>
                    <a:gd name="connsiteY467" fmla="*/ 1260301 h 2013279"/>
                    <a:gd name="connsiteX468" fmla="*/ 784220 w 2918007"/>
                    <a:gd name="connsiteY468" fmla="*/ 1260294 h 2013279"/>
                    <a:gd name="connsiteX469" fmla="*/ 784196 w 2918007"/>
                    <a:gd name="connsiteY469" fmla="*/ 1260281 h 2013279"/>
                    <a:gd name="connsiteX470" fmla="*/ 741938 w 2918007"/>
                    <a:gd name="connsiteY470" fmla="*/ 1237350 h 2013279"/>
                    <a:gd name="connsiteX471" fmla="*/ 739870 w 2918007"/>
                    <a:gd name="connsiteY471" fmla="*/ 1236231 h 2013279"/>
                    <a:gd name="connsiteX472" fmla="*/ 719751 w 2918007"/>
                    <a:gd name="connsiteY472" fmla="*/ 1224200 h 2013279"/>
                    <a:gd name="connsiteX473" fmla="*/ 706433 w 2918007"/>
                    <a:gd name="connsiteY473" fmla="*/ 1218144 h 2013279"/>
                    <a:gd name="connsiteX474" fmla="*/ 695149 w 2918007"/>
                    <a:gd name="connsiteY474" fmla="*/ 1212039 h 2013279"/>
                    <a:gd name="connsiteX475" fmla="*/ 690534 w 2918007"/>
                    <a:gd name="connsiteY475" fmla="*/ 1210912 h 2013279"/>
                    <a:gd name="connsiteX476" fmla="*/ 681543 w 2918007"/>
                    <a:gd name="connsiteY476" fmla="*/ 1206823 h 2013279"/>
                    <a:gd name="connsiteX477" fmla="*/ 633567 w 2918007"/>
                    <a:gd name="connsiteY477" fmla="*/ 1197003 h 2013279"/>
                    <a:gd name="connsiteX478" fmla="*/ 1407010 w 2918007"/>
                    <a:gd name="connsiteY478" fmla="*/ 1171394 h 2013279"/>
                    <a:gd name="connsiteX479" fmla="*/ 1407010 w 2918007"/>
                    <a:gd name="connsiteY479" fmla="*/ 1171395 h 2013279"/>
                    <a:gd name="connsiteX480" fmla="*/ 1425562 w 2918007"/>
                    <a:gd name="connsiteY480" fmla="*/ 1177487 h 2013279"/>
                    <a:gd name="connsiteX481" fmla="*/ 1431431 w 2918007"/>
                    <a:gd name="connsiteY481" fmla="*/ 1182672 h 2013279"/>
                    <a:gd name="connsiteX482" fmla="*/ 1446527 w 2918007"/>
                    <a:gd name="connsiteY482" fmla="*/ 1202532 h 2013279"/>
                    <a:gd name="connsiteX483" fmla="*/ 1451935 w 2918007"/>
                    <a:gd name="connsiteY483" fmla="*/ 1213121 h 2013279"/>
                    <a:gd name="connsiteX484" fmla="*/ 1459798 w 2918007"/>
                    <a:gd name="connsiteY484" fmla="*/ 1261525 h 2013279"/>
                    <a:gd name="connsiteX485" fmla="*/ 1477674 w 2918007"/>
                    <a:gd name="connsiteY485" fmla="*/ 1382200 h 2013279"/>
                    <a:gd name="connsiteX486" fmla="*/ 1520899 w 2918007"/>
                    <a:gd name="connsiteY486" fmla="*/ 1401228 h 2013279"/>
                    <a:gd name="connsiteX487" fmla="*/ 1520900 w 2918007"/>
                    <a:gd name="connsiteY487" fmla="*/ 1401228 h 2013279"/>
                    <a:gd name="connsiteX488" fmla="*/ 1501686 w 2918007"/>
                    <a:gd name="connsiteY488" fmla="*/ 1395646 h 2013279"/>
                    <a:gd name="connsiteX489" fmla="*/ 1477675 w 2918007"/>
                    <a:gd name="connsiteY489" fmla="*/ 1382200 h 2013279"/>
                    <a:gd name="connsiteX490" fmla="*/ 1459799 w 2918007"/>
                    <a:gd name="connsiteY490" fmla="*/ 1261525 h 2013279"/>
                    <a:gd name="connsiteX491" fmla="*/ 1455366 w 2918007"/>
                    <a:gd name="connsiteY491" fmla="*/ 1219840 h 2013279"/>
                    <a:gd name="connsiteX492" fmla="*/ 1451935 w 2918007"/>
                    <a:gd name="connsiteY492" fmla="*/ 1213121 h 2013279"/>
                    <a:gd name="connsiteX493" fmla="*/ 1451217 w 2918007"/>
                    <a:gd name="connsiteY493" fmla="*/ 1208701 h 2013279"/>
                    <a:gd name="connsiteX494" fmla="*/ 1446527 w 2918007"/>
                    <a:gd name="connsiteY494" fmla="*/ 1202532 h 2013279"/>
                    <a:gd name="connsiteX495" fmla="*/ 1440458 w 2918007"/>
                    <a:gd name="connsiteY495" fmla="*/ 1190648 h 2013279"/>
                    <a:gd name="connsiteX496" fmla="*/ 1431431 w 2918007"/>
                    <a:gd name="connsiteY496" fmla="*/ 1182672 h 2013279"/>
                    <a:gd name="connsiteX497" fmla="*/ 1428131 w 2918007"/>
                    <a:gd name="connsiteY497" fmla="*/ 1178331 h 2013279"/>
                    <a:gd name="connsiteX498" fmla="*/ 1425562 w 2918007"/>
                    <a:gd name="connsiteY498" fmla="*/ 1177487 h 2013279"/>
                    <a:gd name="connsiteX499" fmla="*/ 1422024 w 2918007"/>
                    <a:gd name="connsiteY499" fmla="*/ 1174361 h 2013279"/>
                    <a:gd name="connsiteX500" fmla="*/ 1407010 w 2918007"/>
                    <a:gd name="connsiteY500" fmla="*/ 1171394 h 2013279"/>
                    <a:gd name="connsiteX501" fmla="*/ 2454771 w 2918007"/>
                    <a:gd name="connsiteY501" fmla="*/ 1162313 h 2013279"/>
                    <a:gd name="connsiteX502" fmla="*/ 2497449 w 2918007"/>
                    <a:gd name="connsiteY502" fmla="*/ 1166697 h 2013279"/>
                    <a:gd name="connsiteX503" fmla="*/ 2509074 w 2918007"/>
                    <a:gd name="connsiteY503" fmla="*/ 1169436 h 2013279"/>
                    <a:gd name="connsiteX504" fmla="*/ 2514272 w 2918007"/>
                    <a:gd name="connsiteY504" fmla="*/ 1170919 h 2013279"/>
                    <a:gd name="connsiteX505" fmla="*/ 2521862 w 2918007"/>
                    <a:gd name="connsiteY505" fmla="*/ 1173482 h 2013279"/>
                    <a:gd name="connsiteX506" fmla="*/ 2559183 w 2918007"/>
                    <a:gd name="connsiteY506" fmla="*/ 1196657 h 2013279"/>
                    <a:gd name="connsiteX507" fmla="*/ 2559184 w 2918007"/>
                    <a:gd name="connsiteY507" fmla="*/ 1196656 h 2013279"/>
                    <a:gd name="connsiteX508" fmla="*/ 2542810 w 2918007"/>
                    <a:gd name="connsiteY508" fmla="*/ 1188976 h 2013279"/>
                    <a:gd name="connsiteX509" fmla="*/ 2521863 w 2918007"/>
                    <a:gd name="connsiteY509" fmla="*/ 1173482 h 2013279"/>
                    <a:gd name="connsiteX510" fmla="*/ 2515988 w 2918007"/>
                    <a:gd name="connsiteY510" fmla="*/ 1171408 h 2013279"/>
                    <a:gd name="connsiteX511" fmla="*/ 2514272 w 2918007"/>
                    <a:gd name="connsiteY511" fmla="*/ 1170919 h 2013279"/>
                    <a:gd name="connsiteX512" fmla="*/ 2511749 w 2918007"/>
                    <a:gd name="connsiteY512" fmla="*/ 1170067 h 2013279"/>
                    <a:gd name="connsiteX513" fmla="*/ 2509074 w 2918007"/>
                    <a:gd name="connsiteY513" fmla="*/ 1169436 h 2013279"/>
                    <a:gd name="connsiteX514" fmla="*/ 2500604 w 2918007"/>
                    <a:gd name="connsiteY514" fmla="*/ 1167021 h 2013279"/>
                    <a:gd name="connsiteX515" fmla="*/ 2497449 w 2918007"/>
                    <a:gd name="connsiteY515" fmla="*/ 1166697 h 2013279"/>
                    <a:gd name="connsiteX516" fmla="*/ 2486727 w 2918007"/>
                    <a:gd name="connsiteY516" fmla="*/ 1164170 h 2013279"/>
                    <a:gd name="connsiteX517" fmla="*/ 2216125 w 2918007"/>
                    <a:gd name="connsiteY517" fmla="*/ 1161169 h 2013279"/>
                    <a:gd name="connsiteX518" fmla="*/ 2149939 w 2918007"/>
                    <a:gd name="connsiteY518" fmla="*/ 1185257 h 2013279"/>
                    <a:gd name="connsiteX519" fmla="*/ 2136818 w 2918007"/>
                    <a:gd name="connsiteY519" fmla="*/ 1192404 h 2013279"/>
                    <a:gd name="connsiteX520" fmla="*/ 2130342 w 2918007"/>
                    <a:gd name="connsiteY520" fmla="*/ 1195482 h 2013279"/>
                    <a:gd name="connsiteX521" fmla="*/ 2067649 w 2918007"/>
                    <a:gd name="connsiteY521" fmla="*/ 1230083 h 2013279"/>
                    <a:gd name="connsiteX522" fmla="*/ 2067572 w 2918007"/>
                    <a:gd name="connsiteY522" fmla="*/ 1230125 h 2013279"/>
                    <a:gd name="connsiteX523" fmla="*/ 2015794 w 2918007"/>
                    <a:gd name="connsiteY523" fmla="*/ 1331098 h 2013279"/>
                    <a:gd name="connsiteX524" fmla="*/ 2015718 w 2918007"/>
                    <a:gd name="connsiteY524" fmla="*/ 1331227 h 2013279"/>
                    <a:gd name="connsiteX525" fmla="*/ 2001220 w 2918007"/>
                    <a:gd name="connsiteY525" fmla="*/ 1355699 h 2013279"/>
                    <a:gd name="connsiteX526" fmla="*/ 1999141 w 2918007"/>
                    <a:gd name="connsiteY526" fmla="*/ 1359578 h 2013279"/>
                    <a:gd name="connsiteX527" fmla="*/ 1997620 w 2918007"/>
                    <a:gd name="connsiteY527" fmla="*/ 1362180 h 2013279"/>
                    <a:gd name="connsiteX528" fmla="*/ 1995686 w 2918007"/>
                    <a:gd name="connsiteY528" fmla="*/ 1366025 h 2013279"/>
                    <a:gd name="connsiteX529" fmla="*/ 1992033 w 2918007"/>
                    <a:gd name="connsiteY529" fmla="*/ 1372841 h 2013279"/>
                    <a:gd name="connsiteX530" fmla="*/ 1990791 w 2918007"/>
                    <a:gd name="connsiteY530" fmla="*/ 1375758 h 2013279"/>
                    <a:gd name="connsiteX531" fmla="*/ 1988287 w 2918007"/>
                    <a:gd name="connsiteY531" fmla="*/ 1380738 h 2013279"/>
                    <a:gd name="connsiteX532" fmla="*/ 1984357 w 2918007"/>
                    <a:gd name="connsiteY532" fmla="*/ 1392051 h 2013279"/>
                    <a:gd name="connsiteX533" fmla="*/ 1984358 w 2918007"/>
                    <a:gd name="connsiteY533" fmla="*/ 1392050 h 2013279"/>
                    <a:gd name="connsiteX534" fmla="*/ 1984849 w 2918007"/>
                    <a:gd name="connsiteY534" fmla="*/ 1389713 h 2013279"/>
                    <a:gd name="connsiteX535" fmla="*/ 1990791 w 2918007"/>
                    <a:gd name="connsiteY535" fmla="*/ 1375758 h 2013279"/>
                    <a:gd name="connsiteX536" fmla="*/ 1995686 w 2918007"/>
                    <a:gd name="connsiteY536" fmla="*/ 1366025 h 2013279"/>
                    <a:gd name="connsiteX537" fmla="*/ 1999141 w 2918007"/>
                    <a:gd name="connsiteY537" fmla="*/ 1359578 h 2013279"/>
                    <a:gd name="connsiteX538" fmla="*/ 2015718 w 2918007"/>
                    <a:gd name="connsiteY538" fmla="*/ 1331227 h 2013279"/>
                    <a:gd name="connsiteX539" fmla="*/ 2015795 w 2918007"/>
                    <a:gd name="connsiteY539" fmla="*/ 1331098 h 2013279"/>
                    <a:gd name="connsiteX540" fmla="*/ 2067573 w 2918007"/>
                    <a:gd name="connsiteY540" fmla="*/ 1230125 h 2013279"/>
                    <a:gd name="connsiteX541" fmla="*/ 2067649 w 2918007"/>
                    <a:gd name="connsiteY541" fmla="*/ 1230083 h 2013279"/>
                    <a:gd name="connsiteX542" fmla="*/ 2136818 w 2918007"/>
                    <a:gd name="connsiteY542" fmla="*/ 1192404 h 2013279"/>
                    <a:gd name="connsiteX543" fmla="*/ 2185894 w 2918007"/>
                    <a:gd name="connsiteY543" fmla="*/ 1169086 h 2013279"/>
                    <a:gd name="connsiteX544" fmla="*/ 2216126 w 2918007"/>
                    <a:gd name="connsiteY544" fmla="*/ 1161169 h 2013279"/>
                    <a:gd name="connsiteX545" fmla="*/ 1140501 w 2918007"/>
                    <a:gd name="connsiteY545" fmla="*/ 1144545 h 2013279"/>
                    <a:gd name="connsiteX546" fmla="*/ 1121084 w 2918007"/>
                    <a:gd name="connsiteY546" fmla="*/ 1164247 h 2013279"/>
                    <a:gd name="connsiteX547" fmla="*/ 1117094 w 2918007"/>
                    <a:gd name="connsiteY547" fmla="*/ 1169680 h 2013279"/>
                    <a:gd name="connsiteX548" fmla="*/ 1113413 w 2918007"/>
                    <a:gd name="connsiteY548" fmla="*/ 1173826 h 2013279"/>
                    <a:gd name="connsiteX549" fmla="*/ 1112001 w 2918007"/>
                    <a:gd name="connsiteY549" fmla="*/ 1176613 h 2013279"/>
                    <a:gd name="connsiteX550" fmla="*/ 1106175 w 2918007"/>
                    <a:gd name="connsiteY550" fmla="*/ 1184545 h 2013279"/>
                    <a:gd name="connsiteX551" fmla="*/ 1096120 w 2918007"/>
                    <a:gd name="connsiteY551" fmla="*/ 1207961 h 2013279"/>
                    <a:gd name="connsiteX552" fmla="*/ 1088203 w 2918007"/>
                    <a:gd name="connsiteY552" fmla="*/ 1213781 h 2013279"/>
                    <a:gd name="connsiteX553" fmla="*/ 1072543 w 2918007"/>
                    <a:gd name="connsiteY553" fmla="*/ 1221275 h 2013279"/>
                    <a:gd name="connsiteX554" fmla="*/ 1072543 w 2918007"/>
                    <a:gd name="connsiteY554" fmla="*/ 1221275 h 2013279"/>
                    <a:gd name="connsiteX555" fmla="*/ 1096120 w 2918007"/>
                    <a:gd name="connsiteY555" fmla="*/ 1207961 h 2013279"/>
                    <a:gd name="connsiteX556" fmla="*/ 1112001 w 2918007"/>
                    <a:gd name="connsiteY556" fmla="*/ 1176613 h 2013279"/>
                    <a:gd name="connsiteX557" fmla="*/ 1117094 w 2918007"/>
                    <a:gd name="connsiteY557" fmla="*/ 1169680 h 2013279"/>
                    <a:gd name="connsiteX558" fmla="*/ 1134607 w 2918007"/>
                    <a:gd name="connsiteY558" fmla="*/ 1149951 h 2013279"/>
                    <a:gd name="connsiteX559" fmla="*/ 1140501 w 2918007"/>
                    <a:gd name="connsiteY559" fmla="*/ 1144545 h 2013279"/>
                    <a:gd name="connsiteX560" fmla="*/ 1416178 w 2918007"/>
                    <a:gd name="connsiteY560" fmla="*/ 1143968 h 2013279"/>
                    <a:gd name="connsiteX561" fmla="*/ 1407404 w 2918007"/>
                    <a:gd name="connsiteY561" fmla="*/ 1144545 h 2013279"/>
                    <a:gd name="connsiteX562" fmla="*/ 1338984 w 2918007"/>
                    <a:gd name="connsiteY562" fmla="*/ 1183949 h 2013279"/>
                    <a:gd name="connsiteX563" fmla="*/ 1207073 w 2918007"/>
                    <a:gd name="connsiteY563" fmla="*/ 1239361 h 2013279"/>
                    <a:gd name="connsiteX564" fmla="*/ 1195446 w 2918007"/>
                    <a:gd name="connsiteY564" fmla="*/ 1274442 h 2013279"/>
                    <a:gd name="connsiteX565" fmla="*/ 1191615 w 2918007"/>
                    <a:gd name="connsiteY565" fmla="*/ 1281340 h 2013279"/>
                    <a:gd name="connsiteX566" fmla="*/ 1182182 w 2918007"/>
                    <a:gd name="connsiteY566" fmla="*/ 1292713 h 2013279"/>
                    <a:gd name="connsiteX567" fmla="*/ 1163196 w 2918007"/>
                    <a:gd name="connsiteY567" fmla="*/ 1308771 h 2013279"/>
                    <a:gd name="connsiteX568" fmla="*/ 1155748 w 2918007"/>
                    <a:gd name="connsiteY568" fmla="*/ 1313127 h 2013279"/>
                    <a:gd name="connsiteX569" fmla="*/ 1133394 w 2918007"/>
                    <a:gd name="connsiteY569" fmla="*/ 1320313 h 2013279"/>
                    <a:gd name="connsiteX570" fmla="*/ 1133394 w 2918007"/>
                    <a:gd name="connsiteY570" fmla="*/ 1320314 h 2013279"/>
                    <a:gd name="connsiteX571" fmla="*/ 1133393 w 2918007"/>
                    <a:gd name="connsiteY571" fmla="*/ 1320314 h 2013279"/>
                    <a:gd name="connsiteX572" fmla="*/ 1123783 w 2918007"/>
                    <a:gd name="connsiteY572" fmla="*/ 1321101 h 2013279"/>
                    <a:gd name="connsiteX573" fmla="*/ 1122009 w 2918007"/>
                    <a:gd name="connsiteY573" fmla="*/ 1321247 h 2013279"/>
                    <a:gd name="connsiteX574" fmla="*/ 1122010 w 2918007"/>
                    <a:gd name="connsiteY574" fmla="*/ 1321247 h 2013279"/>
                    <a:gd name="connsiteX575" fmla="*/ 1123783 w 2918007"/>
                    <a:gd name="connsiteY575" fmla="*/ 1321101 h 2013279"/>
                    <a:gd name="connsiteX576" fmla="*/ 1133394 w 2918007"/>
                    <a:gd name="connsiteY576" fmla="*/ 1320314 h 2013279"/>
                    <a:gd name="connsiteX577" fmla="*/ 1133394 w 2918007"/>
                    <a:gd name="connsiteY577" fmla="*/ 1320314 h 2013279"/>
                    <a:gd name="connsiteX578" fmla="*/ 1133394 w 2918007"/>
                    <a:gd name="connsiteY578" fmla="*/ 1320313 h 2013279"/>
                    <a:gd name="connsiteX579" fmla="*/ 1152228 w 2918007"/>
                    <a:gd name="connsiteY579" fmla="*/ 1315185 h 2013279"/>
                    <a:gd name="connsiteX580" fmla="*/ 1155748 w 2918007"/>
                    <a:gd name="connsiteY580" fmla="*/ 1313127 h 2013279"/>
                    <a:gd name="connsiteX581" fmla="*/ 1159456 w 2918007"/>
                    <a:gd name="connsiteY581" fmla="*/ 1311935 h 2013279"/>
                    <a:gd name="connsiteX582" fmla="*/ 1163196 w 2918007"/>
                    <a:gd name="connsiteY582" fmla="*/ 1308771 h 2013279"/>
                    <a:gd name="connsiteX583" fmla="*/ 1174199 w 2918007"/>
                    <a:gd name="connsiteY583" fmla="*/ 1302337 h 2013279"/>
                    <a:gd name="connsiteX584" fmla="*/ 1182182 w 2918007"/>
                    <a:gd name="connsiteY584" fmla="*/ 1292713 h 2013279"/>
                    <a:gd name="connsiteX585" fmla="*/ 1188061 w 2918007"/>
                    <a:gd name="connsiteY585" fmla="*/ 1287740 h 2013279"/>
                    <a:gd name="connsiteX586" fmla="*/ 1191615 w 2918007"/>
                    <a:gd name="connsiteY586" fmla="*/ 1281340 h 2013279"/>
                    <a:gd name="connsiteX587" fmla="*/ 1194187 w 2918007"/>
                    <a:gd name="connsiteY587" fmla="*/ 1278240 h 2013279"/>
                    <a:gd name="connsiteX588" fmla="*/ 1195446 w 2918007"/>
                    <a:gd name="connsiteY588" fmla="*/ 1274442 h 2013279"/>
                    <a:gd name="connsiteX589" fmla="*/ 1199525 w 2918007"/>
                    <a:gd name="connsiteY589" fmla="*/ 1267097 h 2013279"/>
                    <a:gd name="connsiteX590" fmla="*/ 1207074 w 2918007"/>
                    <a:gd name="connsiteY590" fmla="*/ 1239361 h 2013279"/>
                    <a:gd name="connsiteX591" fmla="*/ 1338985 w 2918007"/>
                    <a:gd name="connsiteY591" fmla="*/ 1183949 h 2013279"/>
                    <a:gd name="connsiteX592" fmla="*/ 1407405 w 2918007"/>
                    <a:gd name="connsiteY592" fmla="*/ 1144545 h 2013279"/>
                    <a:gd name="connsiteX593" fmla="*/ 1416179 w 2918007"/>
                    <a:gd name="connsiteY593" fmla="*/ 1143968 h 2013279"/>
                    <a:gd name="connsiteX594" fmla="*/ 2652772 w 2918007"/>
                    <a:gd name="connsiteY594" fmla="*/ 1133539 h 2013279"/>
                    <a:gd name="connsiteX595" fmla="*/ 2652771 w 2918007"/>
                    <a:gd name="connsiteY595" fmla="*/ 1133539 h 2013279"/>
                    <a:gd name="connsiteX596" fmla="*/ 2658347 w 2918007"/>
                    <a:gd name="connsiteY596" fmla="*/ 1136743 h 2013279"/>
                    <a:gd name="connsiteX597" fmla="*/ 2656238 w 2918007"/>
                    <a:gd name="connsiteY597" fmla="*/ 1149470 h 2013279"/>
                    <a:gd name="connsiteX598" fmla="*/ 2608775 w 2918007"/>
                    <a:gd name="connsiteY598" fmla="*/ 1210423 h 2013279"/>
                    <a:gd name="connsiteX599" fmla="*/ 2595830 w 2918007"/>
                    <a:gd name="connsiteY599" fmla="*/ 1440075 h 2013279"/>
                    <a:gd name="connsiteX600" fmla="*/ 2595862 w 2918007"/>
                    <a:gd name="connsiteY600" fmla="*/ 1440173 h 2013279"/>
                    <a:gd name="connsiteX601" fmla="*/ 2604190 w 2918007"/>
                    <a:gd name="connsiteY601" fmla="*/ 1466825 h 2013279"/>
                    <a:gd name="connsiteX602" fmla="*/ 2605752 w 2918007"/>
                    <a:gd name="connsiteY602" fmla="*/ 1470831 h 2013279"/>
                    <a:gd name="connsiteX603" fmla="*/ 2606763 w 2918007"/>
                    <a:gd name="connsiteY603" fmla="*/ 1473965 h 2013279"/>
                    <a:gd name="connsiteX604" fmla="*/ 2608449 w 2918007"/>
                    <a:gd name="connsiteY604" fmla="*/ 1477747 h 2013279"/>
                    <a:gd name="connsiteX605" fmla="*/ 2611601 w 2918007"/>
                    <a:gd name="connsiteY605" fmla="*/ 1485829 h 2013279"/>
                    <a:gd name="connsiteX606" fmla="*/ 2613154 w 2918007"/>
                    <a:gd name="connsiteY606" fmla="*/ 1488300 h 2013279"/>
                    <a:gd name="connsiteX607" fmla="*/ 2616027 w 2918007"/>
                    <a:gd name="connsiteY607" fmla="*/ 1494746 h 2013279"/>
                    <a:gd name="connsiteX608" fmla="*/ 2629809 w 2918007"/>
                    <a:gd name="connsiteY608" fmla="*/ 1507569 h 2013279"/>
                    <a:gd name="connsiteX609" fmla="*/ 2629810 w 2918007"/>
                    <a:gd name="connsiteY609" fmla="*/ 1507569 h 2013279"/>
                    <a:gd name="connsiteX610" fmla="*/ 2623689 w 2918007"/>
                    <a:gd name="connsiteY610" fmla="*/ 1505064 h 2013279"/>
                    <a:gd name="connsiteX611" fmla="*/ 2613154 w 2918007"/>
                    <a:gd name="connsiteY611" fmla="*/ 1488300 h 2013279"/>
                    <a:gd name="connsiteX612" fmla="*/ 2608449 w 2918007"/>
                    <a:gd name="connsiteY612" fmla="*/ 1477747 h 2013279"/>
                    <a:gd name="connsiteX613" fmla="*/ 2605752 w 2918007"/>
                    <a:gd name="connsiteY613" fmla="*/ 1470831 h 2013279"/>
                    <a:gd name="connsiteX614" fmla="*/ 2595862 w 2918007"/>
                    <a:gd name="connsiteY614" fmla="*/ 1440173 h 2013279"/>
                    <a:gd name="connsiteX615" fmla="*/ 2595831 w 2918007"/>
                    <a:gd name="connsiteY615" fmla="*/ 1440075 h 2013279"/>
                    <a:gd name="connsiteX616" fmla="*/ 2608776 w 2918007"/>
                    <a:gd name="connsiteY616" fmla="*/ 1210423 h 2013279"/>
                    <a:gd name="connsiteX617" fmla="*/ 2656239 w 2918007"/>
                    <a:gd name="connsiteY617" fmla="*/ 1149470 h 2013279"/>
                    <a:gd name="connsiteX618" fmla="*/ 2652772 w 2918007"/>
                    <a:gd name="connsiteY618" fmla="*/ 1133539 h 2013279"/>
                    <a:gd name="connsiteX619" fmla="*/ 1601157 w 2918007"/>
                    <a:gd name="connsiteY619" fmla="*/ 1073712 h 2013279"/>
                    <a:gd name="connsiteX620" fmla="*/ 1576473 w 2918007"/>
                    <a:gd name="connsiteY620" fmla="*/ 1076979 h 2013279"/>
                    <a:gd name="connsiteX621" fmla="*/ 1572430 w 2918007"/>
                    <a:gd name="connsiteY621" fmla="*/ 1079639 h 2013279"/>
                    <a:gd name="connsiteX622" fmla="*/ 1570058 w 2918007"/>
                    <a:gd name="connsiteY622" fmla="*/ 1080129 h 2013279"/>
                    <a:gd name="connsiteX623" fmla="*/ 1566004 w 2918007"/>
                    <a:gd name="connsiteY623" fmla="*/ 1083868 h 2013279"/>
                    <a:gd name="connsiteX624" fmla="*/ 1559777 w 2918007"/>
                    <a:gd name="connsiteY624" fmla="*/ 1087965 h 2013279"/>
                    <a:gd name="connsiteX625" fmla="*/ 1554567 w 2918007"/>
                    <a:gd name="connsiteY625" fmla="*/ 1094416 h 2013279"/>
                    <a:gd name="connsiteX626" fmla="*/ 1552712 w 2918007"/>
                    <a:gd name="connsiteY626" fmla="*/ 1096127 h 2013279"/>
                    <a:gd name="connsiteX627" fmla="*/ 1551369 w 2918007"/>
                    <a:gd name="connsiteY627" fmla="*/ 1098376 h 2013279"/>
                    <a:gd name="connsiteX628" fmla="*/ 1550314 w 2918007"/>
                    <a:gd name="connsiteY628" fmla="*/ 1099682 h 2013279"/>
                    <a:gd name="connsiteX629" fmla="*/ 1547327 w 2918007"/>
                    <a:gd name="connsiteY629" fmla="*/ 1105141 h 2013279"/>
                    <a:gd name="connsiteX630" fmla="*/ 1547315 w 2918007"/>
                    <a:gd name="connsiteY630" fmla="*/ 1105159 h 2013279"/>
                    <a:gd name="connsiteX631" fmla="*/ 1539004 w 2918007"/>
                    <a:gd name="connsiteY631" fmla="*/ 1117269 h 2013279"/>
                    <a:gd name="connsiteX632" fmla="*/ 1536825 w 2918007"/>
                    <a:gd name="connsiteY632" fmla="*/ 1121746 h 2013279"/>
                    <a:gd name="connsiteX633" fmla="*/ 1536405 w 2918007"/>
                    <a:gd name="connsiteY633" fmla="*/ 1122409 h 2013279"/>
                    <a:gd name="connsiteX634" fmla="*/ 1528780 w 2918007"/>
                    <a:gd name="connsiteY634" fmla="*/ 1137648 h 2013279"/>
                    <a:gd name="connsiteX635" fmla="*/ 1524662 w 2918007"/>
                    <a:gd name="connsiteY635" fmla="*/ 1145040 h 2013279"/>
                    <a:gd name="connsiteX636" fmla="*/ 1511788 w 2918007"/>
                    <a:gd name="connsiteY636" fmla="*/ 1159254 h 2013279"/>
                    <a:gd name="connsiteX637" fmla="*/ 1511789 w 2918007"/>
                    <a:gd name="connsiteY637" fmla="*/ 1159254 h 2013279"/>
                    <a:gd name="connsiteX638" fmla="*/ 1522551 w 2918007"/>
                    <a:gd name="connsiteY638" fmla="*/ 1148830 h 2013279"/>
                    <a:gd name="connsiteX639" fmla="*/ 1524662 w 2918007"/>
                    <a:gd name="connsiteY639" fmla="*/ 1145040 h 2013279"/>
                    <a:gd name="connsiteX640" fmla="*/ 1525599 w 2918007"/>
                    <a:gd name="connsiteY640" fmla="*/ 1144006 h 2013279"/>
                    <a:gd name="connsiteX641" fmla="*/ 1528780 w 2918007"/>
                    <a:gd name="connsiteY641" fmla="*/ 1137648 h 2013279"/>
                    <a:gd name="connsiteX642" fmla="*/ 1531184 w 2918007"/>
                    <a:gd name="connsiteY642" fmla="*/ 1133334 h 2013279"/>
                    <a:gd name="connsiteX643" fmla="*/ 1536825 w 2918007"/>
                    <a:gd name="connsiteY643" fmla="*/ 1121746 h 2013279"/>
                    <a:gd name="connsiteX644" fmla="*/ 1547315 w 2918007"/>
                    <a:gd name="connsiteY644" fmla="*/ 1105159 h 2013279"/>
                    <a:gd name="connsiteX645" fmla="*/ 1547328 w 2918007"/>
                    <a:gd name="connsiteY645" fmla="*/ 1105141 h 2013279"/>
                    <a:gd name="connsiteX646" fmla="*/ 1551369 w 2918007"/>
                    <a:gd name="connsiteY646" fmla="*/ 1098376 h 2013279"/>
                    <a:gd name="connsiteX647" fmla="*/ 1554567 w 2918007"/>
                    <a:gd name="connsiteY647" fmla="*/ 1094416 h 2013279"/>
                    <a:gd name="connsiteX648" fmla="*/ 1566004 w 2918007"/>
                    <a:gd name="connsiteY648" fmla="*/ 1083868 h 2013279"/>
                    <a:gd name="connsiteX649" fmla="*/ 1572430 w 2918007"/>
                    <a:gd name="connsiteY649" fmla="*/ 1079639 h 2013279"/>
                    <a:gd name="connsiteX650" fmla="*/ 1601157 w 2918007"/>
                    <a:gd name="connsiteY650" fmla="*/ 1073712 h 2013279"/>
                    <a:gd name="connsiteX651" fmla="*/ 2527409 w 2918007"/>
                    <a:gd name="connsiteY651" fmla="*/ 1046420 h 2013279"/>
                    <a:gd name="connsiteX652" fmla="*/ 2492891 w 2918007"/>
                    <a:gd name="connsiteY652" fmla="*/ 1065121 h 2013279"/>
                    <a:gd name="connsiteX653" fmla="*/ 2405361 w 2918007"/>
                    <a:gd name="connsiteY653" fmla="*/ 1142082 h 2013279"/>
                    <a:gd name="connsiteX654" fmla="*/ 2405353 w 2918007"/>
                    <a:gd name="connsiteY654" fmla="*/ 1142088 h 2013279"/>
                    <a:gd name="connsiteX655" fmla="*/ 2381400 w 2918007"/>
                    <a:gd name="connsiteY655" fmla="*/ 1157480 h 2013279"/>
                    <a:gd name="connsiteX656" fmla="*/ 2379152 w 2918007"/>
                    <a:gd name="connsiteY656" fmla="*/ 1161081 h 2013279"/>
                    <a:gd name="connsiteX657" fmla="*/ 2376775 w 2918007"/>
                    <a:gd name="connsiteY657" fmla="*/ 1162804 h 2013279"/>
                    <a:gd name="connsiteX658" fmla="*/ 2375460 w 2918007"/>
                    <a:gd name="connsiteY658" fmla="*/ 1166993 h 2013279"/>
                    <a:gd name="connsiteX659" fmla="*/ 2371513 w 2918007"/>
                    <a:gd name="connsiteY659" fmla="*/ 1173316 h 2013279"/>
                    <a:gd name="connsiteX660" fmla="*/ 2372092 w 2918007"/>
                    <a:gd name="connsiteY660" fmla="*/ 1177724 h 2013279"/>
                    <a:gd name="connsiteX661" fmla="*/ 2370380 w 2918007"/>
                    <a:gd name="connsiteY661" fmla="*/ 1183179 h 2013279"/>
                    <a:gd name="connsiteX662" fmla="*/ 2378856 w 2918007"/>
                    <a:gd name="connsiteY662" fmla="*/ 1204882 h 2013279"/>
                    <a:gd name="connsiteX663" fmla="*/ 2378857 w 2918007"/>
                    <a:gd name="connsiteY663" fmla="*/ 1204882 h 2013279"/>
                    <a:gd name="connsiteX664" fmla="*/ 2374850 w 2918007"/>
                    <a:gd name="connsiteY664" fmla="*/ 1198706 h 2013279"/>
                    <a:gd name="connsiteX665" fmla="*/ 2372092 w 2918007"/>
                    <a:gd name="connsiteY665" fmla="*/ 1177724 h 2013279"/>
                    <a:gd name="connsiteX666" fmla="*/ 2375460 w 2918007"/>
                    <a:gd name="connsiteY666" fmla="*/ 1166993 h 2013279"/>
                    <a:gd name="connsiteX667" fmla="*/ 2379152 w 2918007"/>
                    <a:gd name="connsiteY667" fmla="*/ 1161081 h 2013279"/>
                    <a:gd name="connsiteX668" fmla="*/ 2405353 w 2918007"/>
                    <a:gd name="connsiteY668" fmla="*/ 1142088 h 2013279"/>
                    <a:gd name="connsiteX669" fmla="*/ 2405362 w 2918007"/>
                    <a:gd name="connsiteY669" fmla="*/ 1142082 h 2013279"/>
                    <a:gd name="connsiteX670" fmla="*/ 2492892 w 2918007"/>
                    <a:gd name="connsiteY670" fmla="*/ 1065121 h 2013279"/>
                    <a:gd name="connsiteX671" fmla="*/ 2505499 w 2918007"/>
                    <a:gd name="connsiteY671" fmla="*/ 1052134 h 2013279"/>
                    <a:gd name="connsiteX672" fmla="*/ 2527410 w 2918007"/>
                    <a:gd name="connsiteY672" fmla="*/ 1046420 h 2013279"/>
                    <a:gd name="connsiteX673" fmla="*/ 263974 w 2918007"/>
                    <a:gd name="connsiteY673" fmla="*/ 1036184 h 2013279"/>
                    <a:gd name="connsiteX674" fmla="*/ 218206 w 2918007"/>
                    <a:gd name="connsiteY674" fmla="*/ 1076127 h 2013279"/>
                    <a:gd name="connsiteX675" fmla="*/ 216422 w 2918007"/>
                    <a:gd name="connsiteY675" fmla="*/ 1086211 h 2013279"/>
                    <a:gd name="connsiteX676" fmla="*/ 215216 w 2918007"/>
                    <a:gd name="connsiteY676" fmla="*/ 1088800 h 2013279"/>
                    <a:gd name="connsiteX677" fmla="*/ 214493 w 2918007"/>
                    <a:gd name="connsiteY677" fmla="*/ 1097117 h 2013279"/>
                    <a:gd name="connsiteX678" fmla="*/ 214045 w 2918007"/>
                    <a:gd name="connsiteY678" fmla="*/ 1099648 h 2013279"/>
                    <a:gd name="connsiteX679" fmla="*/ 214045 w 2918007"/>
                    <a:gd name="connsiteY679" fmla="*/ 1102264 h 2013279"/>
                    <a:gd name="connsiteX680" fmla="*/ 213900 w 2918007"/>
                    <a:gd name="connsiteY680" fmla="*/ 1103934 h 2013279"/>
                    <a:gd name="connsiteX681" fmla="*/ 214045 w 2918007"/>
                    <a:gd name="connsiteY681" fmla="*/ 1110025 h 2013279"/>
                    <a:gd name="connsiteX682" fmla="*/ 214045 w 2918007"/>
                    <a:gd name="connsiteY682" fmla="*/ 1110067 h 2013279"/>
                    <a:gd name="connsiteX683" fmla="*/ 235003 w 2918007"/>
                    <a:gd name="connsiteY683" fmla="*/ 1186412 h 2013279"/>
                    <a:gd name="connsiteX684" fmla="*/ 161035 w 2918007"/>
                    <a:gd name="connsiteY684" fmla="*/ 1260294 h 2013279"/>
                    <a:gd name="connsiteX685" fmla="*/ 113572 w 2918007"/>
                    <a:gd name="connsiteY685" fmla="*/ 1302777 h 2013279"/>
                    <a:gd name="connsiteX686" fmla="*/ 145625 w 2918007"/>
                    <a:gd name="connsiteY686" fmla="*/ 1363114 h 2013279"/>
                    <a:gd name="connsiteX687" fmla="*/ 208498 w 2918007"/>
                    <a:gd name="connsiteY687" fmla="*/ 1513341 h 2013279"/>
                    <a:gd name="connsiteX688" fmla="*/ 344290 w 2918007"/>
                    <a:gd name="connsiteY688" fmla="*/ 1554044 h 2013279"/>
                    <a:gd name="connsiteX689" fmla="*/ 344290 w 2918007"/>
                    <a:gd name="connsiteY689" fmla="*/ 1554044 h 2013279"/>
                    <a:gd name="connsiteX690" fmla="*/ 282090 w 2918007"/>
                    <a:gd name="connsiteY690" fmla="*/ 1542758 h 2013279"/>
                    <a:gd name="connsiteX691" fmla="*/ 208499 w 2918007"/>
                    <a:gd name="connsiteY691" fmla="*/ 1513341 h 2013279"/>
                    <a:gd name="connsiteX692" fmla="*/ 145626 w 2918007"/>
                    <a:gd name="connsiteY692" fmla="*/ 1363114 h 2013279"/>
                    <a:gd name="connsiteX693" fmla="*/ 113573 w 2918007"/>
                    <a:gd name="connsiteY693" fmla="*/ 1302777 h 2013279"/>
                    <a:gd name="connsiteX694" fmla="*/ 161036 w 2918007"/>
                    <a:gd name="connsiteY694" fmla="*/ 1260294 h 2013279"/>
                    <a:gd name="connsiteX695" fmla="*/ 235004 w 2918007"/>
                    <a:gd name="connsiteY695" fmla="*/ 1186412 h 2013279"/>
                    <a:gd name="connsiteX696" fmla="*/ 214046 w 2918007"/>
                    <a:gd name="connsiteY696" fmla="*/ 1110067 h 2013279"/>
                    <a:gd name="connsiteX697" fmla="*/ 214045 w 2918007"/>
                    <a:gd name="connsiteY697" fmla="*/ 1110025 h 2013279"/>
                    <a:gd name="connsiteX698" fmla="*/ 214045 w 2918007"/>
                    <a:gd name="connsiteY698" fmla="*/ 1102264 h 2013279"/>
                    <a:gd name="connsiteX699" fmla="*/ 214493 w 2918007"/>
                    <a:gd name="connsiteY699" fmla="*/ 1097117 h 2013279"/>
                    <a:gd name="connsiteX700" fmla="*/ 216422 w 2918007"/>
                    <a:gd name="connsiteY700" fmla="*/ 1086211 h 2013279"/>
                    <a:gd name="connsiteX701" fmla="*/ 232770 w 2918007"/>
                    <a:gd name="connsiteY701" fmla="*/ 1051105 h 2013279"/>
                    <a:gd name="connsiteX702" fmla="*/ 263975 w 2918007"/>
                    <a:gd name="connsiteY702" fmla="*/ 1036184 h 2013279"/>
                    <a:gd name="connsiteX703" fmla="*/ 879145 w 2918007"/>
                    <a:gd name="connsiteY703" fmla="*/ 1012788 h 2013279"/>
                    <a:gd name="connsiteX704" fmla="*/ 879073 w 2918007"/>
                    <a:gd name="connsiteY704" fmla="*/ 1063241 h 2013279"/>
                    <a:gd name="connsiteX705" fmla="*/ 878176 w 2918007"/>
                    <a:gd name="connsiteY705" fmla="*/ 1081458 h 2013279"/>
                    <a:gd name="connsiteX706" fmla="*/ 876240 w 2918007"/>
                    <a:gd name="connsiteY706" fmla="*/ 1093224 h 2013279"/>
                    <a:gd name="connsiteX707" fmla="*/ 870489 w 2918007"/>
                    <a:gd name="connsiteY707" fmla="*/ 1111294 h 2013279"/>
                    <a:gd name="connsiteX708" fmla="*/ 865480 w 2918007"/>
                    <a:gd name="connsiteY708" fmla="*/ 1119963 h 2013279"/>
                    <a:gd name="connsiteX709" fmla="*/ 845860 w 2918007"/>
                    <a:gd name="connsiteY709" fmla="*/ 1132789 h 2013279"/>
                    <a:gd name="connsiteX710" fmla="*/ 845860 w 2918007"/>
                    <a:gd name="connsiteY710" fmla="*/ 1132789 h 2013279"/>
                    <a:gd name="connsiteX711" fmla="*/ 845860 w 2918007"/>
                    <a:gd name="connsiteY711" fmla="*/ 1132789 h 2013279"/>
                    <a:gd name="connsiteX712" fmla="*/ 845860 w 2918007"/>
                    <a:gd name="connsiteY712" fmla="*/ 1132789 h 2013279"/>
                    <a:gd name="connsiteX713" fmla="*/ 862531 w 2918007"/>
                    <a:gd name="connsiteY713" fmla="*/ 1125066 h 2013279"/>
                    <a:gd name="connsiteX714" fmla="*/ 865480 w 2918007"/>
                    <a:gd name="connsiteY714" fmla="*/ 1119963 h 2013279"/>
                    <a:gd name="connsiteX715" fmla="*/ 868321 w 2918007"/>
                    <a:gd name="connsiteY715" fmla="*/ 1118105 h 2013279"/>
                    <a:gd name="connsiteX716" fmla="*/ 870489 w 2918007"/>
                    <a:gd name="connsiteY716" fmla="*/ 1111294 h 2013279"/>
                    <a:gd name="connsiteX717" fmla="*/ 874371 w 2918007"/>
                    <a:gd name="connsiteY717" fmla="*/ 1104575 h 2013279"/>
                    <a:gd name="connsiteX718" fmla="*/ 876240 w 2918007"/>
                    <a:gd name="connsiteY718" fmla="*/ 1093224 h 2013279"/>
                    <a:gd name="connsiteX719" fmla="*/ 877845 w 2918007"/>
                    <a:gd name="connsiteY719" fmla="*/ 1088178 h 2013279"/>
                    <a:gd name="connsiteX720" fmla="*/ 878176 w 2918007"/>
                    <a:gd name="connsiteY720" fmla="*/ 1081458 h 2013279"/>
                    <a:gd name="connsiteX721" fmla="*/ 879055 w 2918007"/>
                    <a:gd name="connsiteY721" fmla="*/ 1076120 h 2013279"/>
                    <a:gd name="connsiteX722" fmla="*/ 879073 w 2918007"/>
                    <a:gd name="connsiteY722" fmla="*/ 1063241 h 2013279"/>
                    <a:gd name="connsiteX723" fmla="*/ 879698 w 2918007"/>
                    <a:gd name="connsiteY723" fmla="*/ 1050556 h 2013279"/>
                    <a:gd name="connsiteX724" fmla="*/ 879145 w 2918007"/>
                    <a:gd name="connsiteY724" fmla="*/ 1012788 h 2013279"/>
                    <a:gd name="connsiteX725" fmla="*/ 2564606 w 2918007"/>
                    <a:gd name="connsiteY725" fmla="*/ 997242 h 2013279"/>
                    <a:gd name="connsiteX726" fmla="*/ 2603698 w 2918007"/>
                    <a:gd name="connsiteY726" fmla="*/ 1004351 h 2013279"/>
                    <a:gd name="connsiteX727" fmla="*/ 2614978 w 2918007"/>
                    <a:gd name="connsiteY727" fmla="*/ 1008193 h 2013279"/>
                    <a:gd name="connsiteX728" fmla="*/ 2637702 w 2918007"/>
                    <a:gd name="connsiteY728" fmla="*/ 1017378 h 2013279"/>
                    <a:gd name="connsiteX729" fmla="*/ 2644937 w 2918007"/>
                    <a:gd name="connsiteY729" fmla="*/ 1020730 h 2013279"/>
                    <a:gd name="connsiteX730" fmla="*/ 2655621 w 2918007"/>
                    <a:gd name="connsiteY730" fmla="*/ 1026333 h 2013279"/>
                    <a:gd name="connsiteX731" fmla="*/ 2666553 w 2918007"/>
                    <a:gd name="connsiteY731" fmla="*/ 1032810 h 2013279"/>
                    <a:gd name="connsiteX732" fmla="*/ 2666554 w 2918007"/>
                    <a:gd name="connsiteY732" fmla="*/ 1032810 h 2013279"/>
                    <a:gd name="connsiteX733" fmla="*/ 2655622 w 2918007"/>
                    <a:gd name="connsiteY733" fmla="*/ 1026333 h 2013279"/>
                    <a:gd name="connsiteX734" fmla="*/ 2647325 w 2918007"/>
                    <a:gd name="connsiteY734" fmla="*/ 1021836 h 2013279"/>
                    <a:gd name="connsiteX735" fmla="*/ 2644937 w 2918007"/>
                    <a:gd name="connsiteY735" fmla="*/ 1020730 h 2013279"/>
                    <a:gd name="connsiteX736" fmla="*/ 2641386 w 2918007"/>
                    <a:gd name="connsiteY736" fmla="*/ 1018868 h 2013279"/>
                    <a:gd name="connsiteX737" fmla="*/ 2637702 w 2918007"/>
                    <a:gd name="connsiteY737" fmla="*/ 1017378 h 2013279"/>
                    <a:gd name="connsiteX738" fmla="*/ 2625912 w 2918007"/>
                    <a:gd name="connsiteY738" fmla="*/ 1011917 h 2013279"/>
                    <a:gd name="connsiteX739" fmla="*/ 2614978 w 2918007"/>
                    <a:gd name="connsiteY739" fmla="*/ 1008193 h 2013279"/>
                    <a:gd name="connsiteX740" fmla="*/ 2606925 w 2918007"/>
                    <a:gd name="connsiteY740" fmla="*/ 1004938 h 2013279"/>
                    <a:gd name="connsiteX741" fmla="*/ 2603698 w 2918007"/>
                    <a:gd name="connsiteY741" fmla="*/ 1004351 h 2013279"/>
                    <a:gd name="connsiteX742" fmla="*/ 2596600 w 2918007"/>
                    <a:gd name="connsiteY742" fmla="*/ 1001933 h 2013279"/>
                    <a:gd name="connsiteX743" fmla="*/ 2564606 w 2918007"/>
                    <a:gd name="connsiteY743" fmla="*/ 997242 h 2013279"/>
                    <a:gd name="connsiteX744" fmla="*/ 1813999 w 2918007"/>
                    <a:gd name="connsiteY744" fmla="*/ 984389 h 2013279"/>
                    <a:gd name="connsiteX745" fmla="*/ 1784643 w 2918007"/>
                    <a:gd name="connsiteY745" fmla="*/ 990623 h 2013279"/>
                    <a:gd name="connsiteX746" fmla="*/ 1716838 w 2918007"/>
                    <a:gd name="connsiteY746" fmla="*/ 1093443 h 2013279"/>
                    <a:gd name="connsiteX747" fmla="*/ 1782177 w 2918007"/>
                    <a:gd name="connsiteY747" fmla="*/ 1233820 h 2013279"/>
                    <a:gd name="connsiteX748" fmla="*/ 1782185 w 2918007"/>
                    <a:gd name="connsiteY748" fmla="*/ 1233834 h 2013279"/>
                    <a:gd name="connsiteX749" fmla="*/ 1794023 w 2918007"/>
                    <a:gd name="connsiteY749" fmla="*/ 1260629 h 2013279"/>
                    <a:gd name="connsiteX750" fmla="*/ 1796091 w 2918007"/>
                    <a:gd name="connsiteY750" fmla="*/ 1269981 h 2013279"/>
                    <a:gd name="connsiteX751" fmla="*/ 1796318 w 2918007"/>
                    <a:gd name="connsiteY751" fmla="*/ 1274388 h 2013279"/>
                    <a:gd name="connsiteX752" fmla="*/ 1790412 w 2918007"/>
                    <a:gd name="connsiteY752" fmla="*/ 1282391 h 2013279"/>
                    <a:gd name="connsiteX753" fmla="*/ 1790413 w 2918007"/>
                    <a:gd name="connsiteY753" fmla="*/ 1282391 h 2013279"/>
                    <a:gd name="connsiteX754" fmla="*/ 1796460 w 2918007"/>
                    <a:gd name="connsiteY754" fmla="*/ 1277152 h 2013279"/>
                    <a:gd name="connsiteX755" fmla="*/ 1796318 w 2918007"/>
                    <a:gd name="connsiteY755" fmla="*/ 1274388 h 2013279"/>
                    <a:gd name="connsiteX756" fmla="*/ 1796894 w 2918007"/>
                    <a:gd name="connsiteY756" fmla="*/ 1273608 h 2013279"/>
                    <a:gd name="connsiteX757" fmla="*/ 1796091 w 2918007"/>
                    <a:gd name="connsiteY757" fmla="*/ 1269981 h 2013279"/>
                    <a:gd name="connsiteX758" fmla="*/ 1795820 w 2918007"/>
                    <a:gd name="connsiteY758" fmla="*/ 1264696 h 2013279"/>
                    <a:gd name="connsiteX759" fmla="*/ 1794023 w 2918007"/>
                    <a:gd name="connsiteY759" fmla="*/ 1260629 h 2013279"/>
                    <a:gd name="connsiteX760" fmla="*/ 1792627 w 2918007"/>
                    <a:gd name="connsiteY760" fmla="*/ 1254320 h 2013279"/>
                    <a:gd name="connsiteX761" fmla="*/ 1782185 w 2918007"/>
                    <a:gd name="connsiteY761" fmla="*/ 1233834 h 2013279"/>
                    <a:gd name="connsiteX762" fmla="*/ 1782178 w 2918007"/>
                    <a:gd name="connsiteY762" fmla="*/ 1233820 h 2013279"/>
                    <a:gd name="connsiteX763" fmla="*/ 1716839 w 2918007"/>
                    <a:gd name="connsiteY763" fmla="*/ 1093443 h 2013279"/>
                    <a:gd name="connsiteX764" fmla="*/ 1784644 w 2918007"/>
                    <a:gd name="connsiteY764" fmla="*/ 990623 h 2013279"/>
                    <a:gd name="connsiteX765" fmla="*/ 1792012 w 2918007"/>
                    <a:gd name="connsiteY765" fmla="*/ 987477 h 2013279"/>
                    <a:gd name="connsiteX766" fmla="*/ 1813999 w 2918007"/>
                    <a:gd name="connsiteY766" fmla="*/ 984389 h 2013279"/>
                    <a:gd name="connsiteX767" fmla="*/ 570790 w 2918007"/>
                    <a:gd name="connsiteY767" fmla="*/ 977636 h 2013279"/>
                    <a:gd name="connsiteX768" fmla="*/ 565396 w 2918007"/>
                    <a:gd name="connsiteY768" fmla="*/ 978309 h 2013279"/>
                    <a:gd name="connsiteX769" fmla="*/ 549369 w 2918007"/>
                    <a:gd name="connsiteY769" fmla="*/ 1078666 h 2013279"/>
                    <a:gd name="connsiteX770" fmla="*/ 533677 w 2918007"/>
                    <a:gd name="connsiteY770" fmla="*/ 1099408 h 2013279"/>
                    <a:gd name="connsiteX771" fmla="*/ 530098 w 2918007"/>
                    <a:gd name="connsiteY771" fmla="*/ 1103523 h 2013279"/>
                    <a:gd name="connsiteX772" fmla="*/ 524473 w 2918007"/>
                    <a:gd name="connsiteY772" fmla="*/ 1109219 h 2013279"/>
                    <a:gd name="connsiteX773" fmla="*/ 515046 w 2918007"/>
                    <a:gd name="connsiteY773" fmla="*/ 1114856 h 2013279"/>
                    <a:gd name="connsiteX774" fmla="*/ 515044 w 2918007"/>
                    <a:gd name="connsiteY774" fmla="*/ 1114857 h 2013279"/>
                    <a:gd name="connsiteX775" fmla="*/ 515044 w 2918007"/>
                    <a:gd name="connsiteY775" fmla="*/ 1114857 h 2013279"/>
                    <a:gd name="connsiteX776" fmla="*/ 515046 w 2918007"/>
                    <a:gd name="connsiteY776" fmla="*/ 1114856 h 2013279"/>
                    <a:gd name="connsiteX777" fmla="*/ 521053 w 2918007"/>
                    <a:gd name="connsiteY777" fmla="*/ 1112683 h 2013279"/>
                    <a:gd name="connsiteX778" fmla="*/ 524473 w 2918007"/>
                    <a:gd name="connsiteY778" fmla="*/ 1109219 h 2013279"/>
                    <a:gd name="connsiteX779" fmla="*/ 525869 w 2918007"/>
                    <a:gd name="connsiteY779" fmla="*/ 1108385 h 2013279"/>
                    <a:gd name="connsiteX780" fmla="*/ 530098 w 2918007"/>
                    <a:gd name="connsiteY780" fmla="*/ 1103523 h 2013279"/>
                    <a:gd name="connsiteX781" fmla="*/ 532091 w 2918007"/>
                    <a:gd name="connsiteY781" fmla="*/ 1101504 h 2013279"/>
                    <a:gd name="connsiteX782" fmla="*/ 533677 w 2918007"/>
                    <a:gd name="connsiteY782" fmla="*/ 1099408 h 2013279"/>
                    <a:gd name="connsiteX783" fmla="*/ 535779 w 2918007"/>
                    <a:gd name="connsiteY783" fmla="*/ 1096991 h 2013279"/>
                    <a:gd name="connsiteX784" fmla="*/ 549370 w 2918007"/>
                    <a:gd name="connsiteY784" fmla="*/ 1078666 h 2013279"/>
                    <a:gd name="connsiteX785" fmla="*/ 565397 w 2918007"/>
                    <a:gd name="connsiteY785" fmla="*/ 978309 h 2013279"/>
                    <a:gd name="connsiteX786" fmla="*/ 570790 w 2918007"/>
                    <a:gd name="connsiteY786" fmla="*/ 977636 h 2013279"/>
                    <a:gd name="connsiteX787" fmla="*/ 689293 w 2918007"/>
                    <a:gd name="connsiteY787" fmla="*/ 967843 h 2013279"/>
                    <a:gd name="connsiteX788" fmla="*/ 722335 w 2918007"/>
                    <a:gd name="connsiteY788" fmla="*/ 971042 h 2013279"/>
                    <a:gd name="connsiteX789" fmla="*/ 729412 w 2918007"/>
                    <a:gd name="connsiteY789" fmla="*/ 975023 h 2013279"/>
                    <a:gd name="connsiteX790" fmla="*/ 735016 w 2918007"/>
                    <a:gd name="connsiteY790" fmla="*/ 979910 h 2013279"/>
                    <a:gd name="connsiteX791" fmla="*/ 738156 w 2918007"/>
                    <a:gd name="connsiteY791" fmla="*/ 984902 h 2013279"/>
                    <a:gd name="connsiteX792" fmla="*/ 741977 w 2918007"/>
                    <a:gd name="connsiteY792" fmla="*/ 992236 h 2013279"/>
                    <a:gd name="connsiteX793" fmla="*/ 744546 w 2918007"/>
                    <a:gd name="connsiteY793" fmla="*/ 995058 h 2013279"/>
                    <a:gd name="connsiteX794" fmla="*/ 747197 w 2918007"/>
                    <a:gd name="connsiteY794" fmla="*/ 999272 h 2013279"/>
                    <a:gd name="connsiteX795" fmla="*/ 748894 w 2918007"/>
                    <a:gd name="connsiteY795" fmla="*/ 999834 h 2013279"/>
                    <a:gd name="connsiteX796" fmla="*/ 751067 w 2918007"/>
                    <a:gd name="connsiteY796" fmla="*/ 1002221 h 2013279"/>
                    <a:gd name="connsiteX797" fmla="*/ 771275 w 2918007"/>
                    <a:gd name="connsiteY797" fmla="*/ 1007247 h 2013279"/>
                    <a:gd name="connsiteX798" fmla="*/ 771275 w 2918007"/>
                    <a:gd name="connsiteY798" fmla="*/ 1007247 h 2013279"/>
                    <a:gd name="connsiteX799" fmla="*/ 748894 w 2918007"/>
                    <a:gd name="connsiteY799" fmla="*/ 999834 h 2013279"/>
                    <a:gd name="connsiteX800" fmla="*/ 744546 w 2918007"/>
                    <a:gd name="connsiteY800" fmla="*/ 995058 h 2013279"/>
                    <a:gd name="connsiteX801" fmla="*/ 738156 w 2918007"/>
                    <a:gd name="connsiteY801" fmla="*/ 984902 h 2013279"/>
                    <a:gd name="connsiteX802" fmla="*/ 736006 w 2918007"/>
                    <a:gd name="connsiteY802" fmla="*/ 980773 h 2013279"/>
                    <a:gd name="connsiteX803" fmla="*/ 735016 w 2918007"/>
                    <a:gd name="connsiteY803" fmla="*/ 979910 h 2013279"/>
                    <a:gd name="connsiteX804" fmla="*/ 733328 w 2918007"/>
                    <a:gd name="connsiteY804" fmla="*/ 977226 h 2013279"/>
                    <a:gd name="connsiteX805" fmla="*/ 729412 w 2918007"/>
                    <a:gd name="connsiteY805" fmla="*/ 975023 h 2013279"/>
                    <a:gd name="connsiteX806" fmla="*/ 725160 w 2918007"/>
                    <a:gd name="connsiteY806" fmla="*/ 971316 h 2013279"/>
                    <a:gd name="connsiteX807" fmla="*/ 722335 w 2918007"/>
                    <a:gd name="connsiteY807" fmla="*/ 971042 h 2013279"/>
                    <a:gd name="connsiteX808" fmla="*/ 719079 w 2918007"/>
                    <a:gd name="connsiteY808" fmla="*/ 969211 h 2013279"/>
                    <a:gd name="connsiteX809" fmla="*/ 689293 w 2918007"/>
                    <a:gd name="connsiteY809" fmla="*/ 967843 h 2013279"/>
                    <a:gd name="connsiteX810" fmla="*/ 398862 w 2918007"/>
                    <a:gd name="connsiteY810" fmla="*/ 959300 h 2013279"/>
                    <a:gd name="connsiteX811" fmla="*/ 398861 w 2918007"/>
                    <a:gd name="connsiteY811" fmla="*/ 959300 h 2013279"/>
                    <a:gd name="connsiteX812" fmla="*/ 411984 w 2918007"/>
                    <a:gd name="connsiteY812" fmla="*/ 965201 h 2013279"/>
                    <a:gd name="connsiteX813" fmla="*/ 414414 w 2918007"/>
                    <a:gd name="connsiteY813" fmla="*/ 968797 h 2013279"/>
                    <a:gd name="connsiteX814" fmla="*/ 418220 w 2918007"/>
                    <a:gd name="connsiteY814" fmla="*/ 977582 h 2013279"/>
                    <a:gd name="connsiteX815" fmla="*/ 419107 w 2918007"/>
                    <a:gd name="connsiteY815" fmla="*/ 980821 h 2013279"/>
                    <a:gd name="connsiteX816" fmla="*/ 419924 w 2918007"/>
                    <a:gd name="connsiteY816" fmla="*/ 986313 h 2013279"/>
                    <a:gd name="connsiteX817" fmla="*/ 395049 w 2918007"/>
                    <a:gd name="connsiteY817" fmla="*/ 1014479 h 2013279"/>
                    <a:gd name="connsiteX818" fmla="*/ 387641 w 2918007"/>
                    <a:gd name="connsiteY818" fmla="*/ 1033184 h 2013279"/>
                    <a:gd name="connsiteX819" fmla="*/ 384614 w 2918007"/>
                    <a:gd name="connsiteY819" fmla="*/ 1037577 h 2013279"/>
                    <a:gd name="connsiteX820" fmla="*/ 384465 w 2918007"/>
                    <a:gd name="connsiteY820" fmla="*/ 1041202 h 2013279"/>
                    <a:gd name="connsiteX821" fmla="*/ 382056 w 2918007"/>
                    <a:gd name="connsiteY821" fmla="*/ 1047284 h 2013279"/>
                    <a:gd name="connsiteX822" fmla="*/ 379955 w 2918007"/>
                    <a:gd name="connsiteY822" fmla="*/ 1082340 h 2013279"/>
                    <a:gd name="connsiteX823" fmla="*/ 382328 w 2918007"/>
                    <a:gd name="connsiteY823" fmla="*/ 1092971 h 2013279"/>
                    <a:gd name="connsiteX824" fmla="*/ 382143 w 2918007"/>
                    <a:gd name="connsiteY824" fmla="*/ 1097462 h 2013279"/>
                    <a:gd name="connsiteX825" fmla="*/ 384505 w 2918007"/>
                    <a:gd name="connsiteY825" fmla="*/ 1102721 h 2013279"/>
                    <a:gd name="connsiteX826" fmla="*/ 387752 w 2918007"/>
                    <a:gd name="connsiteY826" fmla="*/ 1117260 h 2013279"/>
                    <a:gd name="connsiteX827" fmla="*/ 397161 w 2918007"/>
                    <a:gd name="connsiteY827" fmla="*/ 1130894 h 2013279"/>
                    <a:gd name="connsiteX828" fmla="*/ 407513 w 2918007"/>
                    <a:gd name="connsiteY828" fmla="*/ 1153937 h 2013279"/>
                    <a:gd name="connsiteX829" fmla="*/ 420968 w 2918007"/>
                    <a:gd name="connsiteY829" fmla="*/ 1165389 h 2013279"/>
                    <a:gd name="connsiteX830" fmla="*/ 429075 w 2918007"/>
                    <a:gd name="connsiteY830" fmla="*/ 1177137 h 2013279"/>
                    <a:gd name="connsiteX831" fmla="*/ 452015 w 2918007"/>
                    <a:gd name="connsiteY831" fmla="*/ 1191815 h 2013279"/>
                    <a:gd name="connsiteX832" fmla="*/ 455726 w 2918007"/>
                    <a:gd name="connsiteY832" fmla="*/ 1194973 h 2013279"/>
                    <a:gd name="connsiteX833" fmla="*/ 458053 w 2918007"/>
                    <a:gd name="connsiteY833" fmla="*/ 1195679 h 2013279"/>
                    <a:gd name="connsiteX834" fmla="*/ 460617 w 2918007"/>
                    <a:gd name="connsiteY834" fmla="*/ 1197319 h 2013279"/>
                    <a:gd name="connsiteX835" fmla="*/ 498089 w 2918007"/>
                    <a:gd name="connsiteY835" fmla="*/ 1207814 h 2013279"/>
                    <a:gd name="connsiteX836" fmla="*/ 498090 w 2918007"/>
                    <a:gd name="connsiteY836" fmla="*/ 1207814 h 2013279"/>
                    <a:gd name="connsiteX837" fmla="*/ 458053 w 2918007"/>
                    <a:gd name="connsiteY837" fmla="*/ 1195679 h 2013279"/>
                    <a:gd name="connsiteX838" fmla="*/ 452015 w 2918007"/>
                    <a:gd name="connsiteY838" fmla="*/ 1191815 h 2013279"/>
                    <a:gd name="connsiteX839" fmla="*/ 420968 w 2918007"/>
                    <a:gd name="connsiteY839" fmla="*/ 1165389 h 2013279"/>
                    <a:gd name="connsiteX840" fmla="*/ 397161 w 2918007"/>
                    <a:gd name="connsiteY840" fmla="*/ 1130894 h 2013279"/>
                    <a:gd name="connsiteX841" fmla="*/ 384505 w 2918007"/>
                    <a:gd name="connsiteY841" fmla="*/ 1102721 h 2013279"/>
                    <a:gd name="connsiteX842" fmla="*/ 382328 w 2918007"/>
                    <a:gd name="connsiteY842" fmla="*/ 1092971 h 2013279"/>
                    <a:gd name="connsiteX843" fmla="*/ 384465 w 2918007"/>
                    <a:gd name="connsiteY843" fmla="*/ 1041202 h 2013279"/>
                    <a:gd name="connsiteX844" fmla="*/ 387641 w 2918007"/>
                    <a:gd name="connsiteY844" fmla="*/ 1033184 h 2013279"/>
                    <a:gd name="connsiteX845" fmla="*/ 419925 w 2918007"/>
                    <a:gd name="connsiteY845" fmla="*/ 986313 h 2013279"/>
                    <a:gd name="connsiteX846" fmla="*/ 419401 w 2918007"/>
                    <a:gd name="connsiteY846" fmla="*/ 981897 h 2013279"/>
                    <a:gd name="connsiteX847" fmla="*/ 419107 w 2918007"/>
                    <a:gd name="connsiteY847" fmla="*/ 980821 h 2013279"/>
                    <a:gd name="connsiteX848" fmla="*/ 418836 w 2918007"/>
                    <a:gd name="connsiteY848" fmla="*/ 979002 h 2013279"/>
                    <a:gd name="connsiteX849" fmla="*/ 418220 w 2918007"/>
                    <a:gd name="connsiteY849" fmla="*/ 977582 h 2013279"/>
                    <a:gd name="connsiteX850" fmla="*/ 416772 w 2918007"/>
                    <a:gd name="connsiteY850" fmla="*/ 972287 h 2013279"/>
                    <a:gd name="connsiteX851" fmla="*/ 414414 w 2918007"/>
                    <a:gd name="connsiteY851" fmla="*/ 968797 h 2013279"/>
                    <a:gd name="connsiteX852" fmla="*/ 413067 w 2918007"/>
                    <a:gd name="connsiteY852" fmla="*/ 965688 h 2013279"/>
                    <a:gd name="connsiteX853" fmla="*/ 411984 w 2918007"/>
                    <a:gd name="connsiteY853" fmla="*/ 965201 h 2013279"/>
                    <a:gd name="connsiteX854" fmla="*/ 410454 w 2918007"/>
                    <a:gd name="connsiteY854" fmla="*/ 962936 h 2013279"/>
                    <a:gd name="connsiteX855" fmla="*/ 398862 w 2918007"/>
                    <a:gd name="connsiteY855" fmla="*/ 959300 h 2013279"/>
                    <a:gd name="connsiteX856" fmla="*/ 1765535 w 2918007"/>
                    <a:gd name="connsiteY856" fmla="*/ 943908 h 2013279"/>
                    <a:gd name="connsiteX857" fmla="*/ 1765535 w 2918007"/>
                    <a:gd name="connsiteY857" fmla="*/ 943908 h 2013279"/>
                    <a:gd name="connsiteX858" fmla="*/ 1796971 w 2918007"/>
                    <a:gd name="connsiteY858" fmla="*/ 947765 h 2013279"/>
                    <a:gd name="connsiteX859" fmla="*/ 1796972 w 2918007"/>
                    <a:gd name="connsiteY859" fmla="*/ 947765 h 2013279"/>
                    <a:gd name="connsiteX860" fmla="*/ 256047 w 2918007"/>
                    <a:gd name="connsiteY860" fmla="*/ 934558 h 2013279"/>
                    <a:gd name="connsiteX861" fmla="*/ 224524 w 2918007"/>
                    <a:gd name="connsiteY861" fmla="*/ 938906 h 2013279"/>
                    <a:gd name="connsiteX862" fmla="*/ 92614 w 2918007"/>
                    <a:gd name="connsiteY862" fmla="*/ 1212886 h 2013279"/>
                    <a:gd name="connsiteX863" fmla="*/ 129906 w 2918007"/>
                    <a:gd name="connsiteY863" fmla="*/ 1225738 h 2013279"/>
                    <a:gd name="connsiteX864" fmla="*/ 129907 w 2918007"/>
                    <a:gd name="connsiteY864" fmla="*/ 1225738 h 2013279"/>
                    <a:gd name="connsiteX865" fmla="*/ 104211 w 2918007"/>
                    <a:gd name="connsiteY865" fmla="*/ 1219687 h 2013279"/>
                    <a:gd name="connsiteX866" fmla="*/ 92615 w 2918007"/>
                    <a:gd name="connsiteY866" fmla="*/ 1212886 h 2013279"/>
                    <a:gd name="connsiteX867" fmla="*/ 224525 w 2918007"/>
                    <a:gd name="connsiteY867" fmla="*/ 938906 h 2013279"/>
                    <a:gd name="connsiteX868" fmla="*/ 256047 w 2918007"/>
                    <a:gd name="connsiteY868" fmla="*/ 934558 h 2013279"/>
                    <a:gd name="connsiteX869" fmla="*/ 1986208 w 2918007"/>
                    <a:gd name="connsiteY869" fmla="*/ 925360 h 2013279"/>
                    <a:gd name="connsiteX870" fmla="*/ 2026981 w 2918007"/>
                    <a:gd name="connsiteY870" fmla="*/ 926346 h 2013279"/>
                    <a:gd name="connsiteX871" fmla="*/ 2026981 w 2918007"/>
                    <a:gd name="connsiteY871" fmla="*/ 926346 h 2013279"/>
                    <a:gd name="connsiteX872" fmla="*/ 2070517 w 2918007"/>
                    <a:gd name="connsiteY872" fmla="*/ 942003 h 2013279"/>
                    <a:gd name="connsiteX873" fmla="*/ 2100228 w 2918007"/>
                    <a:gd name="connsiteY873" fmla="*/ 962163 h 2013279"/>
                    <a:gd name="connsiteX874" fmla="*/ 2115366 w 2918007"/>
                    <a:gd name="connsiteY874" fmla="*/ 975408 h 2013279"/>
                    <a:gd name="connsiteX875" fmla="*/ 2137563 w 2918007"/>
                    <a:gd name="connsiteY875" fmla="*/ 1003792 h 2013279"/>
                    <a:gd name="connsiteX876" fmla="*/ 2145723 w 2918007"/>
                    <a:gd name="connsiteY876" fmla="*/ 1015055 h 2013279"/>
                    <a:gd name="connsiteX877" fmla="*/ 2164347 w 2918007"/>
                    <a:gd name="connsiteY877" fmla="*/ 1042341 h 2013279"/>
                    <a:gd name="connsiteX878" fmla="*/ 2174315 w 2918007"/>
                    <a:gd name="connsiteY878" fmla="*/ 1062173 h 2013279"/>
                    <a:gd name="connsiteX879" fmla="*/ 2177239 w 2918007"/>
                    <a:gd name="connsiteY879" fmla="*/ 1073089 h 2013279"/>
                    <a:gd name="connsiteX880" fmla="*/ 2180730 w 2918007"/>
                    <a:gd name="connsiteY880" fmla="*/ 1087374 h 2013279"/>
                    <a:gd name="connsiteX881" fmla="*/ 2181479 w 2918007"/>
                    <a:gd name="connsiteY881" fmla="*/ 1089577 h 2013279"/>
                    <a:gd name="connsiteX882" fmla="*/ 2183689 w 2918007"/>
                    <a:gd name="connsiteY882" fmla="*/ 1098396 h 2013279"/>
                    <a:gd name="connsiteX883" fmla="*/ 2185828 w 2918007"/>
                    <a:gd name="connsiteY883" fmla="*/ 1102362 h 2013279"/>
                    <a:gd name="connsiteX884" fmla="*/ 2187556 w 2918007"/>
                    <a:gd name="connsiteY884" fmla="*/ 1107443 h 2013279"/>
                    <a:gd name="connsiteX885" fmla="*/ 2189098 w 2918007"/>
                    <a:gd name="connsiteY885" fmla="*/ 1108425 h 2013279"/>
                    <a:gd name="connsiteX886" fmla="*/ 2190979 w 2918007"/>
                    <a:gd name="connsiteY886" fmla="*/ 1111913 h 2013279"/>
                    <a:gd name="connsiteX887" fmla="*/ 2200752 w 2918007"/>
                    <a:gd name="connsiteY887" fmla="*/ 1115847 h 2013279"/>
                    <a:gd name="connsiteX888" fmla="*/ 2200754 w 2918007"/>
                    <a:gd name="connsiteY888" fmla="*/ 1115848 h 2013279"/>
                    <a:gd name="connsiteX889" fmla="*/ 2200754 w 2918007"/>
                    <a:gd name="connsiteY889" fmla="*/ 1115848 h 2013279"/>
                    <a:gd name="connsiteX890" fmla="*/ 2200752 w 2918007"/>
                    <a:gd name="connsiteY890" fmla="*/ 1115847 h 2013279"/>
                    <a:gd name="connsiteX891" fmla="*/ 2189098 w 2918007"/>
                    <a:gd name="connsiteY891" fmla="*/ 1108425 h 2013279"/>
                    <a:gd name="connsiteX892" fmla="*/ 2185828 w 2918007"/>
                    <a:gd name="connsiteY892" fmla="*/ 1102362 h 2013279"/>
                    <a:gd name="connsiteX893" fmla="*/ 2181479 w 2918007"/>
                    <a:gd name="connsiteY893" fmla="*/ 1089577 h 2013279"/>
                    <a:gd name="connsiteX894" fmla="*/ 2178927 w 2918007"/>
                    <a:gd name="connsiteY894" fmla="*/ 1079393 h 2013279"/>
                    <a:gd name="connsiteX895" fmla="*/ 2177239 w 2918007"/>
                    <a:gd name="connsiteY895" fmla="*/ 1073089 h 2013279"/>
                    <a:gd name="connsiteX896" fmla="*/ 2174814 w 2918007"/>
                    <a:gd name="connsiteY896" fmla="*/ 1063165 h 2013279"/>
                    <a:gd name="connsiteX897" fmla="*/ 2174315 w 2918007"/>
                    <a:gd name="connsiteY897" fmla="*/ 1062173 h 2013279"/>
                    <a:gd name="connsiteX898" fmla="*/ 2173534 w 2918007"/>
                    <a:gd name="connsiteY898" fmla="*/ 1059256 h 2013279"/>
                    <a:gd name="connsiteX899" fmla="*/ 2164348 w 2918007"/>
                    <a:gd name="connsiteY899" fmla="*/ 1042341 h 2013279"/>
                    <a:gd name="connsiteX900" fmla="*/ 2142582 w 2918007"/>
                    <a:gd name="connsiteY900" fmla="*/ 1010210 h 2013279"/>
                    <a:gd name="connsiteX901" fmla="*/ 2137563 w 2918007"/>
                    <a:gd name="connsiteY901" fmla="*/ 1003792 h 2013279"/>
                    <a:gd name="connsiteX902" fmla="*/ 2119821 w 2918007"/>
                    <a:gd name="connsiteY902" fmla="*/ 979306 h 2013279"/>
                    <a:gd name="connsiteX903" fmla="*/ 2115366 w 2918007"/>
                    <a:gd name="connsiteY903" fmla="*/ 975408 h 2013279"/>
                    <a:gd name="connsiteX904" fmla="*/ 2110413 w 2918007"/>
                    <a:gd name="connsiteY904" fmla="*/ 969074 h 2013279"/>
                    <a:gd name="connsiteX905" fmla="*/ 2100228 w 2918007"/>
                    <a:gd name="connsiteY905" fmla="*/ 962163 h 2013279"/>
                    <a:gd name="connsiteX906" fmla="*/ 2081841 w 2918007"/>
                    <a:gd name="connsiteY906" fmla="*/ 946075 h 2013279"/>
                    <a:gd name="connsiteX907" fmla="*/ 2070517 w 2918007"/>
                    <a:gd name="connsiteY907" fmla="*/ 942003 h 2013279"/>
                    <a:gd name="connsiteX908" fmla="*/ 2060677 w 2918007"/>
                    <a:gd name="connsiteY908" fmla="*/ 935326 h 2013279"/>
                    <a:gd name="connsiteX909" fmla="*/ 2026982 w 2918007"/>
                    <a:gd name="connsiteY909" fmla="*/ 926346 h 2013279"/>
                    <a:gd name="connsiteX910" fmla="*/ 2026981 w 2918007"/>
                    <a:gd name="connsiteY910" fmla="*/ 926346 h 2013279"/>
                    <a:gd name="connsiteX911" fmla="*/ 427938 w 2918007"/>
                    <a:gd name="connsiteY911" fmla="*/ 867486 h 2013279"/>
                    <a:gd name="connsiteX912" fmla="*/ 382016 w 2918007"/>
                    <a:gd name="connsiteY912" fmla="*/ 885668 h 2013279"/>
                    <a:gd name="connsiteX913" fmla="*/ 372904 w 2918007"/>
                    <a:gd name="connsiteY913" fmla="*/ 893852 h 2013279"/>
                    <a:gd name="connsiteX914" fmla="*/ 364645 w 2918007"/>
                    <a:gd name="connsiteY914" fmla="*/ 899283 h 2013279"/>
                    <a:gd name="connsiteX915" fmla="*/ 346426 w 2918007"/>
                    <a:gd name="connsiteY915" fmla="*/ 917634 h 2013279"/>
                    <a:gd name="connsiteX916" fmla="*/ 337481 w 2918007"/>
                    <a:gd name="connsiteY916" fmla="*/ 925668 h 2013279"/>
                    <a:gd name="connsiteX917" fmla="*/ 332082 w 2918007"/>
                    <a:gd name="connsiteY917" fmla="*/ 932082 h 2013279"/>
                    <a:gd name="connsiteX918" fmla="*/ 327675 w 2918007"/>
                    <a:gd name="connsiteY918" fmla="*/ 936521 h 2013279"/>
                    <a:gd name="connsiteX919" fmla="*/ 309550 w 2918007"/>
                    <a:gd name="connsiteY919" fmla="*/ 958850 h 2013279"/>
                    <a:gd name="connsiteX920" fmla="*/ 303810 w 2918007"/>
                    <a:gd name="connsiteY920" fmla="*/ 965669 h 2013279"/>
                    <a:gd name="connsiteX921" fmla="*/ 301582 w 2918007"/>
                    <a:gd name="connsiteY921" fmla="*/ 968665 h 2013279"/>
                    <a:gd name="connsiteX922" fmla="*/ 300838 w 2918007"/>
                    <a:gd name="connsiteY922" fmla="*/ 969582 h 2013279"/>
                    <a:gd name="connsiteX923" fmla="*/ 295756 w 2918007"/>
                    <a:gd name="connsiteY923" fmla="*/ 976502 h 2013279"/>
                    <a:gd name="connsiteX924" fmla="*/ 294010 w 2918007"/>
                    <a:gd name="connsiteY924" fmla="*/ 978851 h 2013279"/>
                    <a:gd name="connsiteX925" fmla="*/ 293482 w 2918007"/>
                    <a:gd name="connsiteY925" fmla="*/ 979599 h 2013279"/>
                    <a:gd name="connsiteX926" fmla="*/ 293203 w 2918007"/>
                    <a:gd name="connsiteY926" fmla="*/ 979979 h 2013279"/>
                    <a:gd name="connsiteX927" fmla="*/ 290712 w 2918007"/>
                    <a:gd name="connsiteY927" fmla="*/ 983523 h 2013279"/>
                    <a:gd name="connsiteX928" fmla="*/ 290480 w 2918007"/>
                    <a:gd name="connsiteY928" fmla="*/ 983851 h 2013279"/>
                    <a:gd name="connsiteX929" fmla="*/ 307710 w 2918007"/>
                    <a:gd name="connsiteY929" fmla="*/ 1022119 h 2013279"/>
                    <a:gd name="connsiteX930" fmla="*/ 307711 w 2918007"/>
                    <a:gd name="connsiteY930" fmla="*/ 1022119 h 2013279"/>
                    <a:gd name="connsiteX931" fmla="*/ 297012 w 2918007"/>
                    <a:gd name="connsiteY931" fmla="*/ 1010597 h 2013279"/>
                    <a:gd name="connsiteX932" fmla="*/ 290481 w 2918007"/>
                    <a:gd name="connsiteY932" fmla="*/ 983851 h 2013279"/>
                    <a:gd name="connsiteX933" fmla="*/ 290712 w 2918007"/>
                    <a:gd name="connsiteY933" fmla="*/ 983523 h 2013279"/>
                    <a:gd name="connsiteX934" fmla="*/ 293482 w 2918007"/>
                    <a:gd name="connsiteY934" fmla="*/ 979599 h 2013279"/>
                    <a:gd name="connsiteX935" fmla="*/ 295756 w 2918007"/>
                    <a:gd name="connsiteY935" fmla="*/ 976502 h 2013279"/>
                    <a:gd name="connsiteX936" fmla="*/ 301582 w 2918007"/>
                    <a:gd name="connsiteY936" fmla="*/ 968665 h 2013279"/>
                    <a:gd name="connsiteX937" fmla="*/ 309550 w 2918007"/>
                    <a:gd name="connsiteY937" fmla="*/ 958850 h 2013279"/>
                    <a:gd name="connsiteX938" fmla="*/ 332082 w 2918007"/>
                    <a:gd name="connsiteY938" fmla="*/ 932082 h 2013279"/>
                    <a:gd name="connsiteX939" fmla="*/ 346426 w 2918007"/>
                    <a:gd name="connsiteY939" fmla="*/ 917634 h 2013279"/>
                    <a:gd name="connsiteX940" fmla="*/ 372904 w 2918007"/>
                    <a:gd name="connsiteY940" fmla="*/ 893852 h 2013279"/>
                    <a:gd name="connsiteX941" fmla="*/ 405397 w 2918007"/>
                    <a:gd name="connsiteY941" fmla="*/ 872486 h 2013279"/>
                    <a:gd name="connsiteX942" fmla="*/ 427939 w 2918007"/>
                    <a:gd name="connsiteY942" fmla="*/ 867486 h 2013279"/>
                    <a:gd name="connsiteX943" fmla="*/ 1029718 w 2918007"/>
                    <a:gd name="connsiteY943" fmla="*/ 808954 h 2013279"/>
                    <a:gd name="connsiteX944" fmla="*/ 1035096 w 2918007"/>
                    <a:gd name="connsiteY944" fmla="*/ 843471 h 2013279"/>
                    <a:gd name="connsiteX945" fmla="*/ 1032706 w 2918007"/>
                    <a:gd name="connsiteY945" fmla="*/ 812505 h 2013279"/>
                    <a:gd name="connsiteX946" fmla="*/ 440882 w 2918007"/>
                    <a:gd name="connsiteY946" fmla="*/ 804070 h 2013279"/>
                    <a:gd name="connsiteX947" fmla="*/ 432492 w 2918007"/>
                    <a:gd name="connsiteY947" fmla="*/ 805015 h 2013279"/>
                    <a:gd name="connsiteX948" fmla="*/ 430154 w 2918007"/>
                    <a:gd name="connsiteY948" fmla="*/ 805492 h 2013279"/>
                    <a:gd name="connsiteX949" fmla="*/ 426580 w 2918007"/>
                    <a:gd name="connsiteY949" fmla="*/ 805965 h 2013279"/>
                    <a:gd name="connsiteX950" fmla="*/ 423037 w 2918007"/>
                    <a:gd name="connsiteY950" fmla="*/ 806941 h 2013279"/>
                    <a:gd name="connsiteX951" fmla="*/ 411465 w 2918007"/>
                    <a:gd name="connsiteY951" fmla="*/ 809297 h 2013279"/>
                    <a:gd name="connsiteX952" fmla="*/ 401232 w 2918007"/>
                    <a:gd name="connsiteY952" fmla="*/ 812945 h 2013279"/>
                    <a:gd name="connsiteX953" fmla="*/ 393496 w 2918007"/>
                    <a:gd name="connsiteY953" fmla="*/ 815075 h 2013279"/>
                    <a:gd name="connsiteX954" fmla="*/ 390663 w 2918007"/>
                    <a:gd name="connsiteY954" fmla="*/ 816713 h 2013279"/>
                    <a:gd name="connsiteX955" fmla="*/ 384018 w 2918007"/>
                    <a:gd name="connsiteY955" fmla="*/ 819082 h 2013279"/>
                    <a:gd name="connsiteX956" fmla="*/ 356367 w 2918007"/>
                    <a:gd name="connsiteY956" fmla="*/ 836538 h 2013279"/>
                    <a:gd name="connsiteX957" fmla="*/ 390663 w 2918007"/>
                    <a:gd name="connsiteY957" fmla="*/ 816713 h 2013279"/>
                    <a:gd name="connsiteX958" fmla="*/ 401232 w 2918007"/>
                    <a:gd name="connsiteY958" fmla="*/ 812945 h 2013279"/>
                    <a:gd name="connsiteX959" fmla="*/ 423037 w 2918007"/>
                    <a:gd name="connsiteY959" fmla="*/ 806941 h 2013279"/>
                    <a:gd name="connsiteX960" fmla="*/ 430154 w 2918007"/>
                    <a:gd name="connsiteY960" fmla="*/ 805492 h 2013279"/>
                    <a:gd name="connsiteX961" fmla="*/ 1018311 w 2918007"/>
                    <a:gd name="connsiteY961" fmla="*/ 795397 h 2013279"/>
                    <a:gd name="connsiteX962" fmla="*/ 1003631 w 2918007"/>
                    <a:gd name="connsiteY962" fmla="*/ 795508 h 2013279"/>
                    <a:gd name="connsiteX963" fmla="*/ 979620 w 2918007"/>
                    <a:gd name="connsiteY963" fmla="*/ 814537 h 2013279"/>
                    <a:gd name="connsiteX964" fmla="*/ 942635 w 2918007"/>
                    <a:gd name="connsiteY964" fmla="*/ 1236898 h 2013279"/>
                    <a:gd name="connsiteX965" fmla="*/ 951002 w 2918007"/>
                    <a:gd name="connsiteY965" fmla="*/ 1242332 h 2013279"/>
                    <a:gd name="connsiteX966" fmla="*/ 953670 w 2918007"/>
                    <a:gd name="connsiteY966" fmla="*/ 1243588 h 2013279"/>
                    <a:gd name="connsiteX967" fmla="*/ 957343 w 2918007"/>
                    <a:gd name="connsiteY967" fmla="*/ 1245816 h 2013279"/>
                    <a:gd name="connsiteX968" fmla="*/ 961782 w 2918007"/>
                    <a:gd name="connsiteY968" fmla="*/ 1247407 h 2013279"/>
                    <a:gd name="connsiteX969" fmla="*/ 974979 w 2918007"/>
                    <a:gd name="connsiteY969" fmla="*/ 1253619 h 2013279"/>
                    <a:gd name="connsiteX970" fmla="*/ 989111 w 2918007"/>
                    <a:gd name="connsiteY970" fmla="*/ 1257203 h 2013279"/>
                    <a:gd name="connsiteX971" fmla="*/ 998806 w 2918007"/>
                    <a:gd name="connsiteY971" fmla="*/ 1260679 h 2013279"/>
                    <a:gd name="connsiteX972" fmla="*/ 1003707 w 2918007"/>
                    <a:gd name="connsiteY972" fmla="*/ 1260906 h 2013279"/>
                    <a:gd name="connsiteX973" fmla="*/ 1012885 w 2918007"/>
                    <a:gd name="connsiteY973" fmla="*/ 1263233 h 2013279"/>
                    <a:gd name="connsiteX974" fmla="*/ 1063037 w 2918007"/>
                    <a:gd name="connsiteY974" fmla="*/ 1263651 h 2013279"/>
                    <a:gd name="connsiteX975" fmla="*/ 1063037 w 2918007"/>
                    <a:gd name="connsiteY975" fmla="*/ 1263651 h 2013279"/>
                    <a:gd name="connsiteX976" fmla="*/ 1003707 w 2918007"/>
                    <a:gd name="connsiteY976" fmla="*/ 1260906 h 2013279"/>
                    <a:gd name="connsiteX977" fmla="*/ 989111 w 2918007"/>
                    <a:gd name="connsiteY977" fmla="*/ 1257203 h 2013279"/>
                    <a:gd name="connsiteX978" fmla="*/ 961782 w 2918007"/>
                    <a:gd name="connsiteY978" fmla="*/ 1247407 h 2013279"/>
                    <a:gd name="connsiteX979" fmla="*/ 953670 w 2918007"/>
                    <a:gd name="connsiteY979" fmla="*/ 1243588 h 2013279"/>
                    <a:gd name="connsiteX980" fmla="*/ 942636 w 2918007"/>
                    <a:gd name="connsiteY980" fmla="*/ 1236898 h 2013279"/>
                    <a:gd name="connsiteX981" fmla="*/ 979620 w 2918007"/>
                    <a:gd name="connsiteY981" fmla="*/ 814537 h 2013279"/>
                    <a:gd name="connsiteX982" fmla="*/ 1003631 w 2918007"/>
                    <a:gd name="connsiteY982" fmla="*/ 795508 h 2013279"/>
                    <a:gd name="connsiteX983" fmla="*/ 681281 w 2918007"/>
                    <a:gd name="connsiteY983" fmla="*/ 791168 h 2013279"/>
                    <a:gd name="connsiteX984" fmla="*/ 681716 w 2918007"/>
                    <a:gd name="connsiteY984" fmla="*/ 836578 h 2013279"/>
                    <a:gd name="connsiteX985" fmla="*/ 680484 w 2918007"/>
                    <a:gd name="connsiteY985" fmla="*/ 851072 h 2013279"/>
                    <a:gd name="connsiteX986" fmla="*/ 676095 w 2918007"/>
                    <a:gd name="connsiteY986" fmla="*/ 884761 h 2013279"/>
                    <a:gd name="connsiteX987" fmla="*/ 670861 w 2918007"/>
                    <a:gd name="connsiteY987" fmla="*/ 900354 h 2013279"/>
                    <a:gd name="connsiteX988" fmla="*/ 658268 w 2918007"/>
                    <a:gd name="connsiteY988" fmla="*/ 923351 h 2013279"/>
                    <a:gd name="connsiteX989" fmla="*/ 640598 w 2918007"/>
                    <a:gd name="connsiteY989" fmla="*/ 938873 h 2013279"/>
                    <a:gd name="connsiteX990" fmla="*/ 636967 w 2918007"/>
                    <a:gd name="connsiteY990" fmla="*/ 940909 h 2013279"/>
                    <a:gd name="connsiteX991" fmla="*/ 610709 w 2918007"/>
                    <a:gd name="connsiteY991" fmla="*/ 943667 h 2013279"/>
                    <a:gd name="connsiteX992" fmla="*/ 635466 w 2918007"/>
                    <a:gd name="connsiteY992" fmla="*/ 941751 h 2013279"/>
                    <a:gd name="connsiteX993" fmla="*/ 636967 w 2918007"/>
                    <a:gd name="connsiteY993" fmla="*/ 940909 h 2013279"/>
                    <a:gd name="connsiteX994" fmla="*/ 638459 w 2918007"/>
                    <a:gd name="connsiteY994" fmla="*/ 940752 h 2013279"/>
                    <a:gd name="connsiteX995" fmla="*/ 640598 w 2918007"/>
                    <a:gd name="connsiteY995" fmla="*/ 938873 h 2013279"/>
                    <a:gd name="connsiteX996" fmla="*/ 653830 w 2918007"/>
                    <a:gd name="connsiteY996" fmla="*/ 931454 h 2013279"/>
                    <a:gd name="connsiteX997" fmla="*/ 658268 w 2918007"/>
                    <a:gd name="connsiteY997" fmla="*/ 923351 h 2013279"/>
                    <a:gd name="connsiteX998" fmla="*/ 665181 w 2918007"/>
                    <a:gd name="connsiteY998" fmla="*/ 917278 h 2013279"/>
                    <a:gd name="connsiteX999" fmla="*/ 670861 w 2918007"/>
                    <a:gd name="connsiteY999" fmla="*/ 900354 h 2013279"/>
                    <a:gd name="connsiteX1000" fmla="*/ 675063 w 2918007"/>
                    <a:gd name="connsiteY1000" fmla="*/ 892682 h 2013279"/>
                    <a:gd name="connsiteX1001" fmla="*/ 676095 w 2918007"/>
                    <a:gd name="connsiteY1001" fmla="*/ 884761 h 2013279"/>
                    <a:gd name="connsiteX1002" fmla="*/ 678137 w 2918007"/>
                    <a:gd name="connsiteY1002" fmla="*/ 878674 h 2013279"/>
                    <a:gd name="connsiteX1003" fmla="*/ 680484 w 2918007"/>
                    <a:gd name="connsiteY1003" fmla="*/ 851072 h 2013279"/>
                    <a:gd name="connsiteX1004" fmla="*/ 681761 w 2918007"/>
                    <a:gd name="connsiteY1004" fmla="*/ 841271 h 2013279"/>
                    <a:gd name="connsiteX1005" fmla="*/ 681716 w 2918007"/>
                    <a:gd name="connsiteY1005" fmla="*/ 836578 h 2013279"/>
                    <a:gd name="connsiteX1006" fmla="*/ 681960 w 2918007"/>
                    <a:gd name="connsiteY1006" fmla="*/ 833706 h 2013279"/>
                    <a:gd name="connsiteX1007" fmla="*/ 2336942 w 2918007"/>
                    <a:gd name="connsiteY1007" fmla="*/ 789294 h 2013279"/>
                    <a:gd name="connsiteX1008" fmla="*/ 2336941 w 2918007"/>
                    <a:gd name="connsiteY1008" fmla="*/ 789294 h 2013279"/>
                    <a:gd name="connsiteX1009" fmla="*/ 2350662 w 2918007"/>
                    <a:gd name="connsiteY1009" fmla="*/ 794915 h 2013279"/>
                    <a:gd name="connsiteX1010" fmla="*/ 2350672 w 2918007"/>
                    <a:gd name="connsiteY1010" fmla="*/ 794945 h 2013279"/>
                    <a:gd name="connsiteX1011" fmla="*/ 2357003 w 2918007"/>
                    <a:gd name="connsiteY1011" fmla="*/ 814001 h 2013279"/>
                    <a:gd name="connsiteX1012" fmla="*/ 2357557 w 2918007"/>
                    <a:gd name="connsiteY1012" fmla="*/ 823380 h 2013279"/>
                    <a:gd name="connsiteX1013" fmla="*/ 2357968 w 2918007"/>
                    <a:gd name="connsiteY1013" fmla="*/ 841519 h 2013279"/>
                    <a:gd name="connsiteX1014" fmla="*/ 2351357 w 2918007"/>
                    <a:gd name="connsiteY1014" fmla="*/ 897183 h 2013279"/>
                    <a:gd name="connsiteX1015" fmla="*/ 2339080 w 2918007"/>
                    <a:gd name="connsiteY1015" fmla="*/ 953624 h 2013279"/>
                    <a:gd name="connsiteX1016" fmla="*/ 2332187 w 2918007"/>
                    <a:gd name="connsiteY1016" fmla="*/ 982395 h 2013279"/>
                    <a:gd name="connsiteX1017" fmla="*/ 2329248 w 2918007"/>
                    <a:gd name="connsiteY1017" fmla="*/ 992083 h 2013279"/>
                    <a:gd name="connsiteX1018" fmla="*/ 2307353 w 2918007"/>
                    <a:gd name="connsiteY1018" fmla="*/ 1055886 h 2013279"/>
                    <a:gd name="connsiteX1019" fmla="*/ 2295345 w 2918007"/>
                    <a:gd name="connsiteY1019" fmla="*/ 1085544 h 2013279"/>
                    <a:gd name="connsiteX1020" fmla="*/ 2292980 w 2918007"/>
                    <a:gd name="connsiteY1020" fmla="*/ 1091993 h 2013279"/>
                    <a:gd name="connsiteX1021" fmla="*/ 2290893 w 2918007"/>
                    <a:gd name="connsiteY1021" fmla="*/ 1097235 h 2013279"/>
                    <a:gd name="connsiteX1022" fmla="*/ 2290178 w 2918007"/>
                    <a:gd name="connsiteY1022" fmla="*/ 1099632 h 2013279"/>
                    <a:gd name="connsiteX1023" fmla="*/ 2287455 w 2918007"/>
                    <a:gd name="connsiteY1023" fmla="*/ 1107055 h 2013279"/>
                    <a:gd name="connsiteX1024" fmla="*/ 2286862 w 2918007"/>
                    <a:gd name="connsiteY1024" fmla="*/ 1110746 h 2013279"/>
                    <a:gd name="connsiteX1025" fmla="*/ 2283582 w 2918007"/>
                    <a:gd name="connsiteY1025" fmla="*/ 1121742 h 2013279"/>
                    <a:gd name="connsiteX1026" fmla="*/ 2284240 w 2918007"/>
                    <a:gd name="connsiteY1026" fmla="*/ 1127071 h 2013279"/>
                    <a:gd name="connsiteX1027" fmla="*/ 2283622 w 2918007"/>
                    <a:gd name="connsiteY1027" fmla="*/ 1130923 h 2013279"/>
                    <a:gd name="connsiteX1028" fmla="*/ 2284808 w 2918007"/>
                    <a:gd name="connsiteY1028" fmla="*/ 1131663 h 2013279"/>
                    <a:gd name="connsiteX1029" fmla="*/ 2285080 w 2918007"/>
                    <a:gd name="connsiteY1029" fmla="*/ 1133862 h 2013279"/>
                    <a:gd name="connsiteX1030" fmla="*/ 2295043 w 2918007"/>
                    <a:gd name="connsiteY1030" fmla="*/ 1138051 h 2013279"/>
                    <a:gd name="connsiteX1031" fmla="*/ 2295044 w 2918007"/>
                    <a:gd name="connsiteY1031" fmla="*/ 1138052 h 2013279"/>
                    <a:gd name="connsiteX1032" fmla="*/ 2295045 w 2918007"/>
                    <a:gd name="connsiteY1032" fmla="*/ 1138052 h 2013279"/>
                    <a:gd name="connsiteX1033" fmla="*/ 2319955 w 2918007"/>
                    <a:gd name="connsiteY1033" fmla="*/ 1138969 h 2013279"/>
                    <a:gd name="connsiteX1034" fmla="*/ 2320914 w 2918007"/>
                    <a:gd name="connsiteY1034" fmla="*/ 1139004 h 2013279"/>
                    <a:gd name="connsiteX1035" fmla="*/ 2320914 w 2918007"/>
                    <a:gd name="connsiteY1035" fmla="*/ 1139004 h 2013279"/>
                    <a:gd name="connsiteX1036" fmla="*/ 2319955 w 2918007"/>
                    <a:gd name="connsiteY1036" fmla="*/ 1138969 h 2013279"/>
                    <a:gd name="connsiteX1037" fmla="*/ 2295045 w 2918007"/>
                    <a:gd name="connsiteY1037" fmla="*/ 1138052 h 2013279"/>
                    <a:gd name="connsiteX1038" fmla="*/ 2295045 w 2918007"/>
                    <a:gd name="connsiteY1038" fmla="*/ 1138052 h 2013279"/>
                    <a:gd name="connsiteX1039" fmla="*/ 2295043 w 2918007"/>
                    <a:gd name="connsiteY1039" fmla="*/ 1138051 h 2013279"/>
                    <a:gd name="connsiteX1040" fmla="*/ 2284808 w 2918007"/>
                    <a:gd name="connsiteY1040" fmla="*/ 1131663 h 2013279"/>
                    <a:gd name="connsiteX1041" fmla="*/ 2284240 w 2918007"/>
                    <a:gd name="connsiteY1041" fmla="*/ 1127071 h 2013279"/>
                    <a:gd name="connsiteX1042" fmla="*/ 2286862 w 2918007"/>
                    <a:gd name="connsiteY1042" fmla="*/ 1110746 h 2013279"/>
                    <a:gd name="connsiteX1043" fmla="*/ 2290178 w 2918007"/>
                    <a:gd name="connsiteY1043" fmla="*/ 1099632 h 2013279"/>
                    <a:gd name="connsiteX1044" fmla="*/ 2292980 w 2918007"/>
                    <a:gd name="connsiteY1044" fmla="*/ 1091993 h 2013279"/>
                    <a:gd name="connsiteX1045" fmla="*/ 2307354 w 2918007"/>
                    <a:gd name="connsiteY1045" fmla="*/ 1055886 h 2013279"/>
                    <a:gd name="connsiteX1046" fmla="*/ 2321342 w 2918007"/>
                    <a:gd name="connsiteY1046" fmla="*/ 1018143 h 2013279"/>
                    <a:gd name="connsiteX1047" fmla="*/ 2329248 w 2918007"/>
                    <a:gd name="connsiteY1047" fmla="*/ 992083 h 2013279"/>
                    <a:gd name="connsiteX1048" fmla="*/ 2331296 w 2918007"/>
                    <a:gd name="connsiteY1048" fmla="*/ 986116 h 2013279"/>
                    <a:gd name="connsiteX1049" fmla="*/ 2332187 w 2918007"/>
                    <a:gd name="connsiteY1049" fmla="*/ 982395 h 2013279"/>
                    <a:gd name="connsiteX1050" fmla="*/ 2334428 w 2918007"/>
                    <a:gd name="connsiteY1050" fmla="*/ 975010 h 2013279"/>
                    <a:gd name="connsiteX1051" fmla="*/ 2339080 w 2918007"/>
                    <a:gd name="connsiteY1051" fmla="*/ 953624 h 2013279"/>
                    <a:gd name="connsiteX1052" fmla="*/ 2350134 w 2918007"/>
                    <a:gd name="connsiteY1052" fmla="*/ 907481 h 2013279"/>
                    <a:gd name="connsiteX1053" fmla="*/ 2351357 w 2918007"/>
                    <a:gd name="connsiteY1053" fmla="*/ 897183 h 2013279"/>
                    <a:gd name="connsiteX1054" fmla="*/ 2353816 w 2918007"/>
                    <a:gd name="connsiteY1054" fmla="*/ 885879 h 2013279"/>
                    <a:gd name="connsiteX1055" fmla="*/ 2358081 w 2918007"/>
                    <a:gd name="connsiteY1055" fmla="*/ 846534 h 2013279"/>
                    <a:gd name="connsiteX1056" fmla="*/ 2357968 w 2918007"/>
                    <a:gd name="connsiteY1056" fmla="*/ 841519 h 2013279"/>
                    <a:gd name="connsiteX1057" fmla="*/ 2358409 w 2918007"/>
                    <a:gd name="connsiteY1057" fmla="*/ 837805 h 2013279"/>
                    <a:gd name="connsiteX1058" fmla="*/ 2357557 w 2918007"/>
                    <a:gd name="connsiteY1058" fmla="*/ 823380 h 2013279"/>
                    <a:gd name="connsiteX1059" fmla="*/ 2357370 w 2918007"/>
                    <a:gd name="connsiteY1059" fmla="*/ 815104 h 2013279"/>
                    <a:gd name="connsiteX1060" fmla="*/ 2357003 w 2918007"/>
                    <a:gd name="connsiteY1060" fmla="*/ 814001 h 2013279"/>
                    <a:gd name="connsiteX1061" fmla="*/ 2356879 w 2918007"/>
                    <a:gd name="connsiteY1061" fmla="*/ 811898 h 2013279"/>
                    <a:gd name="connsiteX1062" fmla="*/ 2350672 w 2918007"/>
                    <a:gd name="connsiteY1062" fmla="*/ 794945 h 2013279"/>
                    <a:gd name="connsiteX1063" fmla="*/ 2350663 w 2918007"/>
                    <a:gd name="connsiteY1063" fmla="*/ 794915 h 2013279"/>
                    <a:gd name="connsiteX1064" fmla="*/ 2336942 w 2918007"/>
                    <a:gd name="connsiteY1064" fmla="*/ 789294 h 2013279"/>
                    <a:gd name="connsiteX1065" fmla="*/ 509987 w 2918007"/>
                    <a:gd name="connsiteY1065" fmla="*/ 779317 h 2013279"/>
                    <a:gd name="connsiteX1066" fmla="*/ 496358 w 2918007"/>
                    <a:gd name="connsiteY1066" fmla="*/ 791141 h 2013279"/>
                    <a:gd name="connsiteX1067" fmla="*/ 494856 w 2918007"/>
                    <a:gd name="connsiteY1067" fmla="*/ 798090 h 2013279"/>
                    <a:gd name="connsiteX1068" fmla="*/ 492870 w 2918007"/>
                    <a:gd name="connsiteY1068" fmla="*/ 801617 h 2013279"/>
                    <a:gd name="connsiteX1069" fmla="*/ 474255 w 2918007"/>
                    <a:gd name="connsiteY1069" fmla="*/ 811140 h 2013279"/>
                    <a:gd name="connsiteX1070" fmla="*/ 474255 w 2918007"/>
                    <a:gd name="connsiteY1070" fmla="*/ 811141 h 2013279"/>
                    <a:gd name="connsiteX1071" fmla="*/ 474255 w 2918007"/>
                    <a:gd name="connsiteY1071" fmla="*/ 811141 h 2013279"/>
                    <a:gd name="connsiteX1072" fmla="*/ 474255 w 2918007"/>
                    <a:gd name="connsiteY1072" fmla="*/ 811140 h 2013279"/>
                    <a:gd name="connsiteX1073" fmla="*/ 490580 w 2918007"/>
                    <a:gd name="connsiteY1073" fmla="*/ 805686 h 2013279"/>
                    <a:gd name="connsiteX1074" fmla="*/ 492870 w 2918007"/>
                    <a:gd name="connsiteY1074" fmla="*/ 801617 h 2013279"/>
                    <a:gd name="connsiteX1075" fmla="*/ 494246 w 2918007"/>
                    <a:gd name="connsiteY1075" fmla="*/ 800914 h 2013279"/>
                    <a:gd name="connsiteX1076" fmla="*/ 494856 w 2918007"/>
                    <a:gd name="connsiteY1076" fmla="*/ 798090 h 2013279"/>
                    <a:gd name="connsiteX1077" fmla="*/ 495925 w 2918007"/>
                    <a:gd name="connsiteY1077" fmla="*/ 796191 h 2013279"/>
                    <a:gd name="connsiteX1078" fmla="*/ 496358 w 2918007"/>
                    <a:gd name="connsiteY1078" fmla="*/ 791141 h 2013279"/>
                    <a:gd name="connsiteX1079" fmla="*/ 509987 w 2918007"/>
                    <a:gd name="connsiteY1079" fmla="*/ 779317 h 2013279"/>
                    <a:gd name="connsiteX1080" fmla="*/ 2601292 w 2918007"/>
                    <a:gd name="connsiteY1080" fmla="*/ 757855 h 2013279"/>
                    <a:gd name="connsiteX1081" fmla="*/ 2601291 w 2918007"/>
                    <a:gd name="connsiteY1081" fmla="*/ 757855 h 2013279"/>
                    <a:gd name="connsiteX1082" fmla="*/ 2606626 w 2918007"/>
                    <a:gd name="connsiteY1082" fmla="*/ 763218 h 2013279"/>
                    <a:gd name="connsiteX1083" fmla="*/ 2614322 w 2918007"/>
                    <a:gd name="connsiteY1083" fmla="*/ 775133 h 2013279"/>
                    <a:gd name="connsiteX1084" fmla="*/ 2624988 w 2918007"/>
                    <a:gd name="connsiteY1084" fmla="*/ 811007 h 2013279"/>
                    <a:gd name="connsiteX1085" fmla="*/ 2626106 w 2918007"/>
                    <a:gd name="connsiteY1085" fmla="*/ 816758 h 2013279"/>
                    <a:gd name="connsiteX1086" fmla="*/ 2627538 w 2918007"/>
                    <a:gd name="connsiteY1086" fmla="*/ 836324 h 2013279"/>
                    <a:gd name="connsiteX1087" fmla="*/ 2628988 w 2918007"/>
                    <a:gd name="connsiteY1087" fmla="*/ 873415 h 2013279"/>
                    <a:gd name="connsiteX1088" fmla="*/ 2627243 w 2918007"/>
                    <a:gd name="connsiteY1088" fmla="*/ 892919 h 2013279"/>
                    <a:gd name="connsiteX1089" fmla="*/ 2621067 w 2918007"/>
                    <a:gd name="connsiteY1089" fmla="*/ 930287 h 2013279"/>
                    <a:gd name="connsiteX1090" fmla="*/ 2620269 w 2918007"/>
                    <a:gd name="connsiteY1090" fmla="*/ 933160 h 2013279"/>
                    <a:gd name="connsiteX1091" fmla="*/ 2612234 w 2918007"/>
                    <a:gd name="connsiteY1091" fmla="*/ 948308 h 2013279"/>
                    <a:gd name="connsiteX1092" fmla="*/ 2612215 w 2918007"/>
                    <a:gd name="connsiteY1092" fmla="*/ 948342 h 2013279"/>
                    <a:gd name="connsiteX1093" fmla="*/ 2600762 w 2918007"/>
                    <a:gd name="connsiteY1093" fmla="*/ 954298 h 2013279"/>
                    <a:gd name="connsiteX1094" fmla="*/ 2600762 w 2918007"/>
                    <a:gd name="connsiteY1094" fmla="*/ 954298 h 2013279"/>
                    <a:gd name="connsiteX1095" fmla="*/ 2612216 w 2918007"/>
                    <a:gd name="connsiteY1095" fmla="*/ 948342 h 2013279"/>
                    <a:gd name="connsiteX1096" fmla="*/ 2612234 w 2918007"/>
                    <a:gd name="connsiteY1096" fmla="*/ 948308 h 2013279"/>
                    <a:gd name="connsiteX1097" fmla="*/ 2619829 w 2918007"/>
                    <a:gd name="connsiteY1097" fmla="*/ 934746 h 2013279"/>
                    <a:gd name="connsiteX1098" fmla="*/ 2620269 w 2918007"/>
                    <a:gd name="connsiteY1098" fmla="*/ 933160 h 2013279"/>
                    <a:gd name="connsiteX1099" fmla="*/ 2620738 w 2918007"/>
                    <a:gd name="connsiteY1099" fmla="*/ 932277 h 2013279"/>
                    <a:gd name="connsiteX1100" fmla="*/ 2621067 w 2918007"/>
                    <a:gd name="connsiteY1100" fmla="*/ 930287 h 2013279"/>
                    <a:gd name="connsiteX1101" fmla="*/ 2625247 w 2918007"/>
                    <a:gd name="connsiteY1101" fmla="*/ 915223 h 2013279"/>
                    <a:gd name="connsiteX1102" fmla="*/ 2627243 w 2918007"/>
                    <a:gd name="connsiteY1102" fmla="*/ 892919 h 2013279"/>
                    <a:gd name="connsiteX1103" fmla="*/ 2629271 w 2918007"/>
                    <a:gd name="connsiteY1103" fmla="*/ 880646 h 2013279"/>
                    <a:gd name="connsiteX1104" fmla="*/ 2628988 w 2918007"/>
                    <a:gd name="connsiteY1104" fmla="*/ 873415 h 2013279"/>
                    <a:gd name="connsiteX1105" fmla="*/ 2629683 w 2918007"/>
                    <a:gd name="connsiteY1105" fmla="*/ 865648 h 2013279"/>
                    <a:gd name="connsiteX1106" fmla="*/ 2627538 w 2918007"/>
                    <a:gd name="connsiteY1106" fmla="*/ 836324 h 2013279"/>
                    <a:gd name="connsiteX1107" fmla="*/ 2626940 w 2918007"/>
                    <a:gd name="connsiteY1107" fmla="*/ 821050 h 2013279"/>
                    <a:gd name="connsiteX1108" fmla="*/ 2626106 w 2918007"/>
                    <a:gd name="connsiteY1108" fmla="*/ 816758 h 2013279"/>
                    <a:gd name="connsiteX1109" fmla="*/ 2625913 w 2918007"/>
                    <a:gd name="connsiteY1109" fmla="*/ 814118 h 2013279"/>
                    <a:gd name="connsiteX1110" fmla="*/ 2624988 w 2918007"/>
                    <a:gd name="connsiteY1110" fmla="*/ 811007 h 2013279"/>
                    <a:gd name="connsiteX1111" fmla="*/ 2621881 w 2918007"/>
                    <a:gd name="connsiteY1111" fmla="*/ 795028 h 2013279"/>
                    <a:gd name="connsiteX1112" fmla="*/ 2614323 w 2918007"/>
                    <a:gd name="connsiteY1112" fmla="*/ 775133 h 2013279"/>
                    <a:gd name="connsiteX1113" fmla="*/ 2601292 w 2918007"/>
                    <a:gd name="connsiteY1113" fmla="*/ 757855 h 2013279"/>
                    <a:gd name="connsiteX1114" fmla="*/ 694841 w 2918007"/>
                    <a:gd name="connsiteY1114" fmla="*/ 739577 h 2013279"/>
                    <a:gd name="connsiteX1115" fmla="*/ 681280 w 2918007"/>
                    <a:gd name="connsiteY1115" fmla="*/ 791141 h 2013279"/>
                    <a:gd name="connsiteX1116" fmla="*/ 684767 w 2918007"/>
                    <a:gd name="connsiteY1116" fmla="*/ 753642 h 2013279"/>
                    <a:gd name="connsiteX1117" fmla="*/ 694841 w 2918007"/>
                    <a:gd name="connsiteY1117" fmla="*/ 739577 h 2013279"/>
                    <a:gd name="connsiteX1118" fmla="*/ 1893175 w 2918007"/>
                    <a:gd name="connsiteY1118" fmla="*/ 725473 h 2013279"/>
                    <a:gd name="connsiteX1119" fmla="*/ 1879630 w 2918007"/>
                    <a:gd name="connsiteY1119" fmla="*/ 731521 h 2013279"/>
                    <a:gd name="connsiteX1120" fmla="*/ 1875135 w 2918007"/>
                    <a:gd name="connsiteY1120" fmla="*/ 734806 h 2013279"/>
                    <a:gd name="connsiteX1121" fmla="*/ 1893182 w 2918007"/>
                    <a:gd name="connsiteY1121" fmla="*/ 725470 h 2013279"/>
                    <a:gd name="connsiteX1122" fmla="*/ 1893182 w 2918007"/>
                    <a:gd name="connsiteY1122" fmla="*/ 725470 h 2013279"/>
                    <a:gd name="connsiteX1123" fmla="*/ 1900931 w 2918007"/>
                    <a:gd name="connsiteY1123" fmla="*/ 726618 h 2013279"/>
                    <a:gd name="connsiteX1124" fmla="*/ 1901143 w 2918007"/>
                    <a:gd name="connsiteY1124" fmla="*/ 740654 h 2013279"/>
                    <a:gd name="connsiteX1125" fmla="*/ 1861693 w 2918007"/>
                    <a:gd name="connsiteY1125" fmla="*/ 814537 h 2013279"/>
                    <a:gd name="connsiteX1126" fmla="*/ 1866697 w 2918007"/>
                    <a:gd name="connsiteY1126" fmla="*/ 839451 h 2013279"/>
                    <a:gd name="connsiteX1127" fmla="*/ 1865245 w 2918007"/>
                    <a:gd name="connsiteY1127" fmla="*/ 844744 h 2013279"/>
                    <a:gd name="connsiteX1128" fmla="*/ 1860015 w 2918007"/>
                    <a:gd name="connsiteY1128" fmla="*/ 852338 h 2013279"/>
                    <a:gd name="connsiteX1129" fmla="*/ 1836817 w 2918007"/>
                    <a:gd name="connsiteY1129" fmla="*/ 861117 h 2013279"/>
                    <a:gd name="connsiteX1130" fmla="*/ 1836816 w 2918007"/>
                    <a:gd name="connsiteY1130" fmla="*/ 861117 h 2013279"/>
                    <a:gd name="connsiteX1131" fmla="*/ 1836816 w 2918007"/>
                    <a:gd name="connsiteY1131" fmla="*/ 861117 h 2013279"/>
                    <a:gd name="connsiteX1132" fmla="*/ 1836817 w 2918007"/>
                    <a:gd name="connsiteY1132" fmla="*/ 861117 h 2013279"/>
                    <a:gd name="connsiteX1133" fmla="*/ 1856685 w 2918007"/>
                    <a:gd name="connsiteY1133" fmla="*/ 857173 h 2013279"/>
                    <a:gd name="connsiteX1134" fmla="*/ 1860015 w 2918007"/>
                    <a:gd name="connsiteY1134" fmla="*/ 852338 h 2013279"/>
                    <a:gd name="connsiteX1135" fmla="*/ 1863525 w 2918007"/>
                    <a:gd name="connsiteY1135" fmla="*/ 851009 h 2013279"/>
                    <a:gd name="connsiteX1136" fmla="*/ 1865245 w 2918007"/>
                    <a:gd name="connsiteY1136" fmla="*/ 844744 h 2013279"/>
                    <a:gd name="connsiteX1137" fmla="*/ 1867193 w 2918007"/>
                    <a:gd name="connsiteY1137" fmla="*/ 841916 h 2013279"/>
                    <a:gd name="connsiteX1138" fmla="*/ 1866697 w 2918007"/>
                    <a:gd name="connsiteY1138" fmla="*/ 839451 h 2013279"/>
                    <a:gd name="connsiteX1139" fmla="*/ 1867579 w 2918007"/>
                    <a:gd name="connsiteY1139" fmla="*/ 836239 h 2013279"/>
                    <a:gd name="connsiteX1140" fmla="*/ 1861694 w 2918007"/>
                    <a:gd name="connsiteY1140" fmla="*/ 814537 h 2013279"/>
                    <a:gd name="connsiteX1141" fmla="*/ 1901144 w 2918007"/>
                    <a:gd name="connsiteY1141" fmla="*/ 740654 h 2013279"/>
                    <a:gd name="connsiteX1142" fmla="*/ 1900932 w 2918007"/>
                    <a:gd name="connsiteY1142" fmla="*/ 726618 h 2013279"/>
                    <a:gd name="connsiteX1143" fmla="*/ 1893182 w 2918007"/>
                    <a:gd name="connsiteY1143" fmla="*/ 725470 h 2013279"/>
                    <a:gd name="connsiteX1144" fmla="*/ 2497207 w 2918007"/>
                    <a:gd name="connsiteY1144" fmla="*/ 706176 h 2013279"/>
                    <a:gd name="connsiteX1145" fmla="*/ 2497206 w 2918007"/>
                    <a:gd name="connsiteY1145" fmla="*/ 706176 h 2013279"/>
                    <a:gd name="connsiteX1146" fmla="*/ 2516440 w 2918007"/>
                    <a:gd name="connsiteY1146" fmla="*/ 715281 h 2013279"/>
                    <a:gd name="connsiteX1147" fmla="*/ 2516457 w 2918007"/>
                    <a:gd name="connsiteY1147" fmla="*/ 715317 h 2013279"/>
                    <a:gd name="connsiteX1148" fmla="*/ 2528152 w 2918007"/>
                    <a:gd name="connsiteY1148" fmla="*/ 741662 h 2013279"/>
                    <a:gd name="connsiteX1149" fmla="*/ 2530663 w 2918007"/>
                    <a:gd name="connsiteY1149" fmla="*/ 754192 h 2013279"/>
                    <a:gd name="connsiteX1150" fmla="*/ 2534590 w 2918007"/>
                    <a:gd name="connsiteY1150" fmla="*/ 777499 h 2013279"/>
                    <a:gd name="connsiteX1151" fmla="*/ 2538078 w 2918007"/>
                    <a:gd name="connsiteY1151" fmla="*/ 849229 h 2013279"/>
                    <a:gd name="connsiteX1152" fmla="*/ 2537954 w 2918007"/>
                    <a:gd name="connsiteY1152" fmla="*/ 868880 h 2013279"/>
                    <a:gd name="connsiteX1153" fmla="*/ 2537516 w 2918007"/>
                    <a:gd name="connsiteY1153" fmla="*/ 886031 h 2013279"/>
                    <a:gd name="connsiteX1154" fmla="*/ 2536418 w 2918007"/>
                    <a:gd name="connsiteY1154" fmla="*/ 910429 h 2013279"/>
                    <a:gd name="connsiteX1155" fmla="*/ 2535701 w 2918007"/>
                    <a:gd name="connsiteY1155" fmla="*/ 923568 h 2013279"/>
                    <a:gd name="connsiteX1156" fmla="*/ 2534321 w 2918007"/>
                    <a:gd name="connsiteY1156" fmla="*/ 942896 h 2013279"/>
                    <a:gd name="connsiteX1157" fmla="*/ 2533802 w 2918007"/>
                    <a:gd name="connsiteY1157" fmla="*/ 949758 h 2013279"/>
                    <a:gd name="connsiteX1158" fmla="*/ 2533020 w 2918007"/>
                    <a:gd name="connsiteY1158" fmla="*/ 958530 h 2013279"/>
                    <a:gd name="connsiteX1159" fmla="*/ 2532957 w 2918007"/>
                    <a:gd name="connsiteY1159" fmla="*/ 959223 h 2013279"/>
                    <a:gd name="connsiteX1160" fmla="*/ 2526793 w 2918007"/>
                    <a:gd name="connsiteY1160" fmla="*/ 1008478 h 2013279"/>
                    <a:gd name="connsiteX1161" fmla="*/ 2526794 w 2918007"/>
                    <a:gd name="connsiteY1161" fmla="*/ 1008477 h 2013279"/>
                    <a:gd name="connsiteX1162" fmla="*/ 2519474 w 2918007"/>
                    <a:gd name="connsiteY1162" fmla="*/ 996318 h 2013279"/>
                    <a:gd name="connsiteX1163" fmla="*/ 2532958 w 2918007"/>
                    <a:gd name="connsiteY1163" fmla="*/ 959223 h 2013279"/>
                    <a:gd name="connsiteX1164" fmla="*/ 2533020 w 2918007"/>
                    <a:gd name="connsiteY1164" fmla="*/ 958530 h 2013279"/>
                    <a:gd name="connsiteX1165" fmla="*/ 2533738 w 2918007"/>
                    <a:gd name="connsiteY1165" fmla="*/ 950607 h 2013279"/>
                    <a:gd name="connsiteX1166" fmla="*/ 2533802 w 2918007"/>
                    <a:gd name="connsiteY1166" fmla="*/ 949758 h 2013279"/>
                    <a:gd name="connsiteX1167" fmla="*/ 2533950 w 2918007"/>
                    <a:gd name="connsiteY1167" fmla="*/ 948097 h 2013279"/>
                    <a:gd name="connsiteX1168" fmla="*/ 2534321 w 2918007"/>
                    <a:gd name="connsiteY1168" fmla="*/ 942896 h 2013279"/>
                    <a:gd name="connsiteX1169" fmla="*/ 2535486 w 2918007"/>
                    <a:gd name="connsiteY1169" fmla="*/ 927504 h 2013279"/>
                    <a:gd name="connsiteX1170" fmla="*/ 2535701 w 2918007"/>
                    <a:gd name="connsiteY1170" fmla="*/ 923568 h 2013279"/>
                    <a:gd name="connsiteX1171" fmla="*/ 2536040 w 2918007"/>
                    <a:gd name="connsiteY1171" fmla="*/ 918818 h 2013279"/>
                    <a:gd name="connsiteX1172" fmla="*/ 2536418 w 2918007"/>
                    <a:gd name="connsiteY1172" fmla="*/ 910429 h 2013279"/>
                    <a:gd name="connsiteX1173" fmla="*/ 2537312 w 2918007"/>
                    <a:gd name="connsiteY1173" fmla="*/ 894032 h 2013279"/>
                    <a:gd name="connsiteX1174" fmla="*/ 2537516 w 2918007"/>
                    <a:gd name="connsiteY1174" fmla="*/ 886031 h 2013279"/>
                    <a:gd name="connsiteX1175" fmla="*/ 2537899 w 2918007"/>
                    <a:gd name="connsiteY1175" fmla="*/ 877534 h 2013279"/>
                    <a:gd name="connsiteX1176" fmla="*/ 2537954 w 2918007"/>
                    <a:gd name="connsiteY1176" fmla="*/ 868880 h 2013279"/>
                    <a:gd name="connsiteX1177" fmla="*/ 2538325 w 2918007"/>
                    <a:gd name="connsiteY1177" fmla="*/ 854310 h 2013279"/>
                    <a:gd name="connsiteX1178" fmla="*/ 2538078 w 2918007"/>
                    <a:gd name="connsiteY1178" fmla="*/ 849229 h 2013279"/>
                    <a:gd name="connsiteX1179" fmla="*/ 2538198 w 2918007"/>
                    <a:gd name="connsiteY1179" fmla="*/ 830391 h 2013279"/>
                    <a:gd name="connsiteX1180" fmla="*/ 2535607 w 2918007"/>
                    <a:gd name="connsiteY1180" fmla="*/ 783536 h 2013279"/>
                    <a:gd name="connsiteX1181" fmla="*/ 2534590 w 2918007"/>
                    <a:gd name="connsiteY1181" fmla="*/ 777499 h 2013279"/>
                    <a:gd name="connsiteX1182" fmla="*/ 2534351 w 2918007"/>
                    <a:gd name="connsiteY1182" fmla="*/ 772588 h 2013279"/>
                    <a:gd name="connsiteX1183" fmla="*/ 2530663 w 2918007"/>
                    <a:gd name="connsiteY1183" fmla="*/ 754192 h 2013279"/>
                    <a:gd name="connsiteX1184" fmla="*/ 2528798 w 2918007"/>
                    <a:gd name="connsiteY1184" fmla="*/ 743117 h 2013279"/>
                    <a:gd name="connsiteX1185" fmla="*/ 2528152 w 2918007"/>
                    <a:gd name="connsiteY1185" fmla="*/ 741662 h 2013279"/>
                    <a:gd name="connsiteX1186" fmla="*/ 2527583 w 2918007"/>
                    <a:gd name="connsiteY1186" fmla="*/ 738823 h 2013279"/>
                    <a:gd name="connsiteX1187" fmla="*/ 2516457 w 2918007"/>
                    <a:gd name="connsiteY1187" fmla="*/ 715317 h 2013279"/>
                    <a:gd name="connsiteX1188" fmla="*/ 2516441 w 2918007"/>
                    <a:gd name="connsiteY1188" fmla="*/ 715281 h 2013279"/>
                    <a:gd name="connsiteX1189" fmla="*/ 2497207 w 2918007"/>
                    <a:gd name="connsiteY1189" fmla="*/ 706176 h 2013279"/>
                    <a:gd name="connsiteX1190" fmla="*/ 1827791 w 2918007"/>
                    <a:gd name="connsiteY1190" fmla="*/ 682164 h 2013279"/>
                    <a:gd name="connsiteX1191" fmla="*/ 1764388 w 2918007"/>
                    <a:gd name="connsiteY1191" fmla="*/ 707022 h 2013279"/>
                    <a:gd name="connsiteX1192" fmla="*/ 1764375 w 2918007"/>
                    <a:gd name="connsiteY1192" fmla="*/ 707035 h 2013279"/>
                    <a:gd name="connsiteX1193" fmla="*/ 1730853 w 2918007"/>
                    <a:gd name="connsiteY1193" fmla="*/ 736298 h 2013279"/>
                    <a:gd name="connsiteX1194" fmla="*/ 1725215 w 2918007"/>
                    <a:gd name="connsiteY1194" fmla="*/ 743944 h 2013279"/>
                    <a:gd name="connsiteX1195" fmla="*/ 1721847 w 2918007"/>
                    <a:gd name="connsiteY1195" fmla="*/ 747119 h 2013279"/>
                    <a:gd name="connsiteX1196" fmla="*/ 1715744 w 2918007"/>
                    <a:gd name="connsiteY1196" fmla="*/ 756791 h 2013279"/>
                    <a:gd name="connsiteX1197" fmla="*/ 1706540 w 2918007"/>
                    <a:gd name="connsiteY1197" fmla="*/ 769274 h 2013279"/>
                    <a:gd name="connsiteX1198" fmla="*/ 1697088 w 2918007"/>
                    <a:gd name="connsiteY1198" fmla="*/ 786356 h 2013279"/>
                    <a:gd name="connsiteX1199" fmla="*/ 1694214 w 2918007"/>
                    <a:gd name="connsiteY1199" fmla="*/ 790910 h 2013279"/>
                    <a:gd name="connsiteX1200" fmla="*/ 1675539 w 2918007"/>
                    <a:gd name="connsiteY1200" fmla="*/ 826851 h 2013279"/>
                    <a:gd name="connsiteX1201" fmla="*/ 1621912 w 2918007"/>
                    <a:gd name="connsiteY1201" fmla="*/ 1018329 h 2013279"/>
                    <a:gd name="connsiteX1202" fmla="*/ 1649525 w 2918007"/>
                    <a:gd name="connsiteY1202" fmla="*/ 1035732 h 2013279"/>
                    <a:gd name="connsiteX1203" fmla="*/ 1649526 w 2918007"/>
                    <a:gd name="connsiteY1203" fmla="*/ 1035732 h 2013279"/>
                    <a:gd name="connsiteX1204" fmla="*/ 1635940 w 2918007"/>
                    <a:gd name="connsiteY1204" fmla="*/ 1032279 h 2013279"/>
                    <a:gd name="connsiteX1205" fmla="*/ 1621913 w 2918007"/>
                    <a:gd name="connsiteY1205" fmla="*/ 1018329 h 2013279"/>
                    <a:gd name="connsiteX1206" fmla="*/ 1675540 w 2918007"/>
                    <a:gd name="connsiteY1206" fmla="*/ 826851 h 2013279"/>
                    <a:gd name="connsiteX1207" fmla="*/ 1688939 w 2918007"/>
                    <a:gd name="connsiteY1207" fmla="*/ 801082 h 2013279"/>
                    <a:gd name="connsiteX1208" fmla="*/ 1697088 w 2918007"/>
                    <a:gd name="connsiteY1208" fmla="*/ 786356 h 2013279"/>
                    <a:gd name="connsiteX1209" fmla="*/ 1715744 w 2918007"/>
                    <a:gd name="connsiteY1209" fmla="*/ 756791 h 2013279"/>
                    <a:gd name="connsiteX1210" fmla="*/ 1725215 w 2918007"/>
                    <a:gd name="connsiteY1210" fmla="*/ 743944 h 2013279"/>
                    <a:gd name="connsiteX1211" fmla="*/ 1764375 w 2918007"/>
                    <a:gd name="connsiteY1211" fmla="*/ 707035 h 2013279"/>
                    <a:gd name="connsiteX1212" fmla="*/ 1764389 w 2918007"/>
                    <a:gd name="connsiteY1212" fmla="*/ 707022 h 2013279"/>
                    <a:gd name="connsiteX1213" fmla="*/ 1827792 w 2918007"/>
                    <a:gd name="connsiteY1213" fmla="*/ 682164 h 2013279"/>
                    <a:gd name="connsiteX1214" fmla="*/ 904630 w 2918007"/>
                    <a:gd name="connsiteY1214" fmla="*/ 655795 h 2013279"/>
                    <a:gd name="connsiteX1215" fmla="*/ 904630 w 2918007"/>
                    <a:gd name="connsiteY1215" fmla="*/ 655795 h 2013279"/>
                    <a:gd name="connsiteX1216" fmla="*/ 926583 w 2918007"/>
                    <a:gd name="connsiteY1216" fmla="*/ 658258 h 2013279"/>
                    <a:gd name="connsiteX1217" fmla="*/ 929404 w 2918007"/>
                    <a:gd name="connsiteY1217" fmla="*/ 658574 h 2013279"/>
                    <a:gd name="connsiteX1218" fmla="*/ 929404 w 2918007"/>
                    <a:gd name="connsiteY1218" fmla="*/ 658574 h 2013279"/>
                    <a:gd name="connsiteX1219" fmla="*/ 929405 w 2918007"/>
                    <a:gd name="connsiteY1219" fmla="*/ 658574 h 2013279"/>
                    <a:gd name="connsiteX1220" fmla="*/ 934312 w 2918007"/>
                    <a:gd name="connsiteY1220" fmla="*/ 660700 h 2013279"/>
                    <a:gd name="connsiteX1221" fmla="*/ 961127 w 2918007"/>
                    <a:gd name="connsiteY1221" fmla="*/ 672313 h 2013279"/>
                    <a:gd name="connsiteX1222" fmla="*/ 950648 w 2918007"/>
                    <a:gd name="connsiteY1222" fmla="*/ 772670 h 2013279"/>
                    <a:gd name="connsiteX1223" fmla="*/ 883643 w 2918007"/>
                    <a:gd name="connsiteY1223" fmla="*/ 955183 h 2013279"/>
                    <a:gd name="connsiteX1224" fmla="*/ 950649 w 2918007"/>
                    <a:gd name="connsiteY1224" fmla="*/ 772670 h 2013279"/>
                    <a:gd name="connsiteX1225" fmla="*/ 961128 w 2918007"/>
                    <a:gd name="connsiteY1225" fmla="*/ 672313 h 2013279"/>
                    <a:gd name="connsiteX1226" fmla="*/ 934312 w 2918007"/>
                    <a:gd name="connsiteY1226" fmla="*/ 660700 h 2013279"/>
                    <a:gd name="connsiteX1227" fmla="*/ 929404 w 2918007"/>
                    <a:gd name="connsiteY1227" fmla="*/ 658574 h 2013279"/>
                    <a:gd name="connsiteX1228" fmla="*/ 926583 w 2918007"/>
                    <a:gd name="connsiteY1228" fmla="*/ 658258 h 2013279"/>
                    <a:gd name="connsiteX1229" fmla="*/ 747235 w 2918007"/>
                    <a:gd name="connsiteY1229" fmla="*/ 648917 h 2013279"/>
                    <a:gd name="connsiteX1230" fmla="*/ 794428 w 2918007"/>
                    <a:gd name="connsiteY1230" fmla="*/ 650062 h 2013279"/>
                    <a:gd name="connsiteX1231" fmla="*/ 794431 w 2918007"/>
                    <a:gd name="connsiteY1231" fmla="*/ 650063 h 2013279"/>
                    <a:gd name="connsiteX1232" fmla="*/ 816358 w 2918007"/>
                    <a:gd name="connsiteY1232" fmla="*/ 661873 h 2013279"/>
                    <a:gd name="connsiteX1233" fmla="*/ 819492 w 2918007"/>
                    <a:gd name="connsiteY1233" fmla="*/ 667756 h 2013279"/>
                    <a:gd name="connsiteX1234" fmla="*/ 822468 w 2918007"/>
                    <a:gd name="connsiteY1234" fmla="*/ 685939 h 2013279"/>
                    <a:gd name="connsiteX1235" fmla="*/ 821846 w 2918007"/>
                    <a:gd name="connsiteY1235" fmla="*/ 694791 h 2013279"/>
                    <a:gd name="connsiteX1236" fmla="*/ 810726 w 2918007"/>
                    <a:gd name="connsiteY1236" fmla="*/ 733262 h 2013279"/>
                    <a:gd name="connsiteX1237" fmla="*/ 810724 w 2918007"/>
                    <a:gd name="connsiteY1237" fmla="*/ 733266 h 2013279"/>
                    <a:gd name="connsiteX1238" fmla="*/ 803790 w 2918007"/>
                    <a:gd name="connsiteY1238" fmla="*/ 795065 h 2013279"/>
                    <a:gd name="connsiteX1239" fmla="*/ 799918 w 2918007"/>
                    <a:gd name="connsiteY1239" fmla="*/ 774757 h 2013279"/>
                    <a:gd name="connsiteX1240" fmla="*/ 810724 w 2918007"/>
                    <a:gd name="connsiteY1240" fmla="*/ 733266 h 2013279"/>
                    <a:gd name="connsiteX1241" fmla="*/ 810726 w 2918007"/>
                    <a:gd name="connsiteY1241" fmla="*/ 733262 h 2013279"/>
                    <a:gd name="connsiteX1242" fmla="*/ 821522 w 2918007"/>
                    <a:gd name="connsiteY1242" fmla="*/ 699401 h 2013279"/>
                    <a:gd name="connsiteX1243" fmla="*/ 821846 w 2918007"/>
                    <a:gd name="connsiteY1243" fmla="*/ 694791 h 2013279"/>
                    <a:gd name="connsiteX1244" fmla="*/ 823168 w 2918007"/>
                    <a:gd name="connsiteY1244" fmla="*/ 690216 h 2013279"/>
                    <a:gd name="connsiteX1245" fmla="*/ 822468 w 2918007"/>
                    <a:gd name="connsiteY1245" fmla="*/ 685939 h 2013279"/>
                    <a:gd name="connsiteX1246" fmla="*/ 823250 w 2918007"/>
                    <a:gd name="connsiteY1246" fmla="*/ 674813 h 2013279"/>
                    <a:gd name="connsiteX1247" fmla="*/ 819492 w 2918007"/>
                    <a:gd name="connsiteY1247" fmla="*/ 667756 h 2013279"/>
                    <a:gd name="connsiteX1248" fmla="*/ 818738 w 2918007"/>
                    <a:gd name="connsiteY1248" fmla="*/ 663155 h 2013279"/>
                    <a:gd name="connsiteX1249" fmla="*/ 816358 w 2918007"/>
                    <a:gd name="connsiteY1249" fmla="*/ 661873 h 2013279"/>
                    <a:gd name="connsiteX1250" fmla="*/ 814642 w 2918007"/>
                    <a:gd name="connsiteY1250" fmla="*/ 658651 h 2013279"/>
                    <a:gd name="connsiteX1251" fmla="*/ 794431 w 2918007"/>
                    <a:gd name="connsiteY1251" fmla="*/ 650063 h 2013279"/>
                    <a:gd name="connsiteX1252" fmla="*/ 794429 w 2918007"/>
                    <a:gd name="connsiteY1252" fmla="*/ 650062 h 2013279"/>
                    <a:gd name="connsiteX1253" fmla="*/ 747235 w 2918007"/>
                    <a:gd name="connsiteY1253" fmla="*/ 648917 h 2013279"/>
                    <a:gd name="connsiteX1254" fmla="*/ 605308 w 2918007"/>
                    <a:gd name="connsiteY1254" fmla="*/ 621442 h 2013279"/>
                    <a:gd name="connsiteX1255" fmla="*/ 623338 w 2918007"/>
                    <a:gd name="connsiteY1255" fmla="*/ 735729 h 2013279"/>
                    <a:gd name="connsiteX1256" fmla="*/ 612367 w 2918007"/>
                    <a:gd name="connsiteY1256" fmla="*/ 781432 h 2013279"/>
                    <a:gd name="connsiteX1257" fmla="*/ 611205 w 2918007"/>
                    <a:gd name="connsiteY1257" fmla="*/ 788025 h 2013279"/>
                    <a:gd name="connsiteX1258" fmla="*/ 609855 w 2918007"/>
                    <a:gd name="connsiteY1258" fmla="*/ 793844 h 2013279"/>
                    <a:gd name="connsiteX1259" fmla="*/ 609150 w 2918007"/>
                    <a:gd name="connsiteY1259" fmla="*/ 799675 h 2013279"/>
                    <a:gd name="connsiteX1260" fmla="*/ 606565 w 2918007"/>
                    <a:gd name="connsiteY1260" fmla="*/ 814334 h 2013279"/>
                    <a:gd name="connsiteX1261" fmla="*/ 606327 w 2918007"/>
                    <a:gd name="connsiteY1261" fmla="*/ 823046 h 2013279"/>
                    <a:gd name="connsiteX1262" fmla="*/ 605616 w 2918007"/>
                    <a:gd name="connsiteY1262" fmla="*/ 828929 h 2013279"/>
                    <a:gd name="connsiteX1263" fmla="*/ 606137 w 2918007"/>
                    <a:gd name="connsiteY1263" fmla="*/ 830017 h 2013279"/>
                    <a:gd name="connsiteX1264" fmla="*/ 606029 w 2918007"/>
                    <a:gd name="connsiteY1264" fmla="*/ 833973 h 2013279"/>
                    <a:gd name="connsiteX1265" fmla="*/ 610856 w 2918007"/>
                    <a:gd name="connsiteY1265" fmla="*/ 839886 h 2013279"/>
                    <a:gd name="connsiteX1266" fmla="*/ 610856 w 2918007"/>
                    <a:gd name="connsiteY1266" fmla="*/ 839886 h 2013279"/>
                    <a:gd name="connsiteX1267" fmla="*/ 606137 w 2918007"/>
                    <a:gd name="connsiteY1267" fmla="*/ 830017 h 2013279"/>
                    <a:gd name="connsiteX1268" fmla="*/ 606327 w 2918007"/>
                    <a:gd name="connsiteY1268" fmla="*/ 823046 h 2013279"/>
                    <a:gd name="connsiteX1269" fmla="*/ 609150 w 2918007"/>
                    <a:gd name="connsiteY1269" fmla="*/ 799675 h 2013279"/>
                    <a:gd name="connsiteX1270" fmla="*/ 611205 w 2918007"/>
                    <a:gd name="connsiteY1270" fmla="*/ 788025 h 2013279"/>
                    <a:gd name="connsiteX1271" fmla="*/ 623338 w 2918007"/>
                    <a:gd name="connsiteY1271" fmla="*/ 735729 h 2013279"/>
                    <a:gd name="connsiteX1272" fmla="*/ 605308 w 2918007"/>
                    <a:gd name="connsiteY1272" fmla="*/ 621442 h 2013279"/>
                    <a:gd name="connsiteX1273" fmla="*/ 2307354 w 2918007"/>
                    <a:gd name="connsiteY1273" fmla="*/ 604048 h 2013279"/>
                    <a:gd name="connsiteX1274" fmla="*/ 2323977 w 2918007"/>
                    <a:gd name="connsiteY1274" fmla="*/ 605924 h 2013279"/>
                    <a:gd name="connsiteX1275" fmla="*/ 2330777 w 2918007"/>
                    <a:gd name="connsiteY1275" fmla="*/ 607050 h 2013279"/>
                    <a:gd name="connsiteX1276" fmla="*/ 2257424 w 2918007"/>
                    <a:gd name="connsiteY1276" fmla="*/ 652611 h 2013279"/>
                    <a:gd name="connsiteX1277" fmla="*/ 2229686 w 2918007"/>
                    <a:gd name="connsiteY1277" fmla="*/ 868102 h 2013279"/>
                    <a:gd name="connsiteX1278" fmla="*/ 2233507 w 2918007"/>
                    <a:gd name="connsiteY1278" fmla="*/ 895610 h 2013279"/>
                    <a:gd name="connsiteX1279" fmla="*/ 2234832 w 2918007"/>
                    <a:gd name="connsiteY1279" fmla="*/ 901179 h 2013279"/>
                    <a:gd name="connsiteX1280" fmla="*/ 2235148 w 2918007"/>
                    <a:gd name="connsiteY1280" fmla="*/ 903215 h 2013279"/>
                    <a:gd name="connsiteX1281" fmla="*/ 2238020 w 2918007"/>
                    <a:gd name="connsiteY1281" fmla="*/ 914586 h 2013279"/>
                    <a:gd name="connsiteX1282" fmla="*/ 2238408 w 2918007"/>
                    <a:gd name="connsiteY1282" fmla="*/ 916219 h 2013279"/>
                    <a:gd name="connsiteX1283" fmla="*/ 2241215 w 2918007"/>
                    <a:gd name="connsiteY1283" fmla="*/ 939271 h 2013279"/>
                    <a:gd name="connsiteX1284" fmla="*/ 2229687 w 2918007"/>
                    <a:gd name="connsiteY1284" fmla="*/ 943215 h 2013279"/>
                    <a:gd name="connsiteX1285" fmla="*/ 2229687 w 2918007"/>
                    <a:gd name="connsiteY1285" fmla="*/ 943215 h 2013279"/>
                    <a:gd name="connsiteX1286" fmla="*/ 2241014 w 2918007"/>
                    <a:gd name="connsiteY1286" fmla="*/ 926438 h 2013279"/>
                    <a:gd name="connsiteX1287" fmla="*/ 2238020 w 2918007"/>
                    <a:gd name="connsiteY1287" fmla="*/ 914586 h 2013279"/>
                    <a:gd name="connsiteX1288" fmla="*/ 2234832 w 2918007"/>
                    <a:gd name="connsiteY1288" fmla="*/ 901179 h 2013279"/>
                    <a:gd name="connsiteX1289" fmla="*/ 2229687 w 2918007"/>
                    <a:gd name="connsiteY1289" fmla="*/ 868102 h 2013279"/>
                    <a:gd name="connsiteX1290" fmla="*/ 2257425 w 2918007"/>
                    <a:gd name="connsiteY1290" fmla="*/ 652611 h 2013279"/>
                    <a:gd name="connsiteX1291" fmla="*/ 2330778 w 2918007"/>
                    <a:gd name="connsiteY1291" fmla="*/ 607050 h 2013279"/>
                    <a:gd name="connsiteX1292" fmla="*/ 2307354 w 2918007"/>
                    <a:gd name="connsiteY1292" fmla="*/ 604048 h 2013279"/>
                    <a:gd name="connsiteX1293" fmla="*/ 726277 w 2918007"/>
                    <a:gd name="connsiteY1293" fmla="*/ 595968 h 2013279"/>
                    <a:gd name="connsiteX1294" fmla="*/ 722665 w 2918007"/>
                    <a:gd name="connsiteY1294" fmla="*/ 600691 h 2013279"/>
                    <a:gd name="connsiteX1295" fmla="*/ 722662 w 2918007"/>
                    <a:gd name="connsiteY1295" fmla="*/ 600695 h 2013279"/>
                    <a:gd name="connsiteX1296" fmla="*/ 711337 w 2918007"/>
                    <a:gd name="connsiteY1296" fmla="*/ 613602 h 2013279"/>
                    <a:gd name="connsiteX1297" fmla="*/ 683745 w 2918007"/>
                    <a:gd name="connsiteY1297" fmla="*/ 637835 h 2013279"/>
                    <a:gd name="connsiteX1298" fmla="*/ 706683 w 2918007"/>
                    <a:gd name="connsiteY1298" fmla="*/ 618906 h 2013279"/>
                    <a:gd name="connsiteX1299" fmla="*/ 711337 w 2918007"/>
                    <a:gd name="connsiteY1299" fmla="*/ 613602 h 2013279"/>
                    <a:gd name="connsiteX1300" fmla="*/ 713102 w 2918007"/>
                    <a:gd name="connsiteY1300" fmla="*/ 612053 h 2013279"/>
                    <a:gd name="connsiteX1301" fmla="*/ 722662 w 2918007"/>
                    <a:gd name="connsiteY1301" fmla="*/ 600695 h 2013279"/>
                    <a:gd name="connsiteX1302" fmla="*/ 722666 w 2918007"/>
                    <a:gd name="connsiteY1302" fmla="*/ 600691 h 2013279"/>
                    <a:gd name="connsiteX1303" fmla="*/ 1932811 w 2918007"/>
                    <a:gd name="connsiteY1303" fmla="*/ 591889 h 2013279"/>
                    <a:gd name="connsiteX1304" fmla="*/ 1873405 w 2918007"/>
                    <a:gd name="connsiteY1304" fmla="*/ 632909 h 2013279"/>
                    <a:gd name="connsiteX1305" fmla="*/ 1859953 w 2918007"/>
                    <a:gd name="connsiteY1305" fmla="*/ 663548 h 2013279"/>
                    <a:gd name="connsiteX1306" fmla="*/ 1855690 w 2918007"/>
                    <a:gd name="connsiteY1306" fmla="*/ 669208 h 2013279"/>
                    <a:gd name="connsiteX1307" fmla="*/ 1845833 w 2918007"/>
                    <a:gd name="connsiteY1307" fmla="*/ 678556 h 2013279"/>
                    <a:gd name="connsiteX1308" fmla="*/ 1842261 w 2918007"/>
                    <a:gd name="connsiteY1308" fmla="*/ 680770 h 2013279"/>
                    <a:gd name="connsiteX1309" fmla="*/ 1832405 w 2918007"/>
                    <a:gd name="connsiteY1309" fmla="*/ 683039 h 2013279"/>
                    <a:gd name="connsiteX1310" fmla="*/ 1832405 w 2918007"/>
                    <a:gd name="connsiteY1310" fmla="*/ 683039 h 2013279"/>
                    <a:gd name="connsiteX1311" fmla="*/ 1840571 w 2918007"/>
                    <a:gd name="connsiteY1311" fmla="*/ 681818 h 2013279"/>
                    <a:gd name="connsiteX1312" fmla="*/ 1842261 w 2918007"/>
                    <a:gd name="connsiteY1312" fmla="*/ 680770 h 2013279"/>
                    <a:gd name="connsiteX1313" fmla="*/ 1843895 w 2918007"/>
                    <a:gd name="connsiteY1313" fmla="*/ 680394 h 2013279"/>
                    <a:gd name="connsiteX1314" fmla="*/ 1845833 w 2918007"/>
                    <a:gd name="connsiteY1314" fmla="*/ 678556 h 2013279"/>
                    <a:gd name="connsiteX1315" fmla="*/ 1851118 w 2918007"/>
                    <a:gd name="connsiteY1315" fmla="*/ 675279 h 2013279"/>
                    <a:gd name="connsiteX1316" fmla="*/ 1855690 w 2918007"/>
                    <a:gd name="connsiteY1316" fmla="*/ 669208 h 2013279"/>
                    <a:gd name="connsiteX1317" fmla="*/ 1858736 w 2918007"/>
                    <a:gd name="connsiteY1317" fmla="*/ 666320 h 2013279"/>
                    <a:gd name="connsiteX1318" fmla="*/ 1859953 w 2918007"/>
                    <a:gd name="connsiteY1318" fmla="*/ 663548 h 2013279"/>
                    <a:gd name="connsiteX1319" fmla="*/ 1862559 w 2918007"/>
                    <a:gd name="connsiteY1319" fmla="*/ 660089 h 2013279"/>
                    <a:gd name="connsiteX1320" fmla="*/ 1873406 w 2918007"/>
                    <a:gd name="connsiteY1320" fmla="*/ 632909 h 2013279"/>
                    <a:gd name="connsiteX1321" fmla="*/ 1897185 w 2918007"/>
                    <a:gd name="connsiteY1321" fmla="*/ 600768 h 2013279"/>
                    <a:gd name="connsiteX1322" fmla="*/ 1932811 w 2918007"/>
                    <a:gd name="connsiteY1322" fmla="*/ 591889 h 2013279"/>
                    <a:gd name="connsiteX1323" fmla="*/ 451361 w 2918007"/>
                    <a:gd name="connsiteY1323" fmla="*/ 579960 h 2013279"/>
                    <a:gd name="connsiteX1324" fmla="*/ 431422 w 2918007"/>
                    <a:gd name="connsiteY1324" fmla="*/ 581574 h 2013279"/>
                    <a:gd name="connsiteX1325" fmla="*/ 431423 w 2918007"/>
                    <a:gd name="connsiteY1325" fmla="*/ 581574 h 2013279"/>
                    <a:gd name="connsiteX1326" fmla="*/ 537889 w 2918007"/>
                    <a:gd name="connsiteY1326" fmla="*/ 574419 h 2013279"/>
                    <a:gd name="connsiteX1327" fmla="*/ 557065 w 2918007"/>
                    <a:gd name="connsiteY1327" fmla="*/ 577228 h 2013279"/>
                    <a:gd name="connsiteX1328" fmla="*/ 580806 w 2918007"/>
                    <a:gd name="connsiteY1328" fmla="*/ 595968 h 2013279"/>
                    <a:gd name="connsiteX1329" fmla="*/ 537889 w 2918007"/>
                    <a:gd name="connsiteY1329" fmla="*/ 574419 h 2013279"/>
                    <a:gd name="connsiteX1330" fmla="*/ 773740 w 2918007"/>
                    <a:gd name="connsiteY1330" fmla="*/ 569493 h 2013279"/>
                    <a:gd name="connsiteX1331" fmla="*/ 774875 w 2918007"/>
                    <a:gd name="connsiteY1331" fmla="*/ 574803 h 2013279"/>
                    <a:gd name="connsiteX1332" fmla="*/ 775099 w 2918007"/>
                    <a:gd name="connsiteY1332" fmla="*/ 578074 h 2013279"/>
                    <a:gd name="connsiteX1333" fmla="*/ 774153 w 2918007"/>
                    <a:gd name="connsiteY1333" fmla="*/ 587305 h 2013279"/>
                    <a:gd name="connsiteX1334" fmla="*/ 772800 w 2918007"/>
                    <a:gd name="connsiteY1334" fmla="*/ 591350 h 2013279"/>
                    <a:gd name="connsiteX1335" fmla="*/ 760478 w 2918007"/>
                    <a:gd name="connsiteY1335" fmla="*/ 600662 h 2013279"/>
                    <a:gd name="connsiteX1336" fmla="*/ 771949 w 2918007"/>
                    <a:gd name="connsiteY1336" fmla="*/ 593893 h 2013279"/>
                    <a:gd name="connsiteX1337" fmla="*/ 772800 w 2918007"/>
                    <a:gd name="connsiteY1337" fmla="*/ 591350 h 2013279"/>
                    <a:gd name="connsiteX1338" fmla="*/ 773817 w 2918007"/>
                    <a:gd name="connsiteY1338" fmla="*/ 590580 h 2013279"/>
                    <a:gd name="connsiteX1339" fmla="*/ 774153 w 2918007"/>
                    <a:gd name="connsiteY1339" fmla="*/ 587305 h 2013279"/>
                    <a:gd name="connsiteX1340" fmla="*/ 775463 w 2918007"/>
                    <a:gd name="connsiteY1340" fmla="*/ 583389 h 2013279"/>
                    <a:gd name="connsiteX1341" fmla="*/ 775099 w 2918007"/>
                    <a:gd name="connsiteY1341" fmla="*/ 578074 h 2013279"/>
                    <a:gd name="connsiteX1342" fmla="*/ 775252 w 2918007"/>
                    <a:gd name="connsiteY1342" fmla="*/ 576573 h 2013279"/>
                    <a:gd name="connsiteX1343" fmla="*/ 774875 w 2918007"/>
                    <a:gd name="connsiteY1343" fmla="*/ 574803 h 2013279"/>
                    <a:gd name="connsiteX1344" fmla="*/ 774801 w 2918007"/>
                    <a:gd name="connsiteY1344" fmla="*/ 573730 h 2013279"/>
                    <a:gd name="connsiteX1345" fmla="*/ 773740 w 2918007"/>
                    <a:gd name="connsiteY1345" fmla="*/ 569493 h 2013279"/>
                    <a:gd name="connsiteX1346" fmla="*/ 390953 w 2918007"/>
                    <a:gd name="connsiteY1346" fmla="*/ 527011 h 2013279"/>
                    <a:gd name="connsiteX1347" fmla="*/ 335246 w 2918007"/>
                    <a:gd name="connsiteY1347" fmla="*/ 586809 h 2013279"/>
                    <a:gd name="connsiteX1348" fmla="*/ 327799 w 2918007"/>
                    <a:gd name="connsiteY1348" fmla="*/ 599892 h 2013279"/>
                    <a:gd name="connsiteX1349" fmla="*/ 325383 w 2918007"/>
                    <a:gd name="connsiteY1349" fmla="*/ 603400 h 2013279"/>
                    <a:gd name="connsiteX1350" fmla="*/ 319755 w 2918007"/>
                    <a:gd name="connsiteY1350" fmla="*/ 614021 h 2013279"/>
                    <a:gd name="connsiteX1351" fmla="*/ 317880 w 2918007"/>
                    <a:gd name="connsiteY1351" fmla="*/ 617315 h 2013279"/>
                    <a:gd name="connsiteX1352" fmla="*/ 315820 w 2918007"/>
                    <a:gd name="connsiteY1352" fmla="*/ 621448 h 2013279"/>
                    <a:gd name="connsiteX1353" fmla="*/ 315131 w 2918007"/>
                    <a:gd name="connsiteY1353" fmla="*/ 622747 h 2013279"/>
                    <a:gd name="connsiteX1354" fmla="*/ 314090 w 2918007"/>
                    <a:gd name="connsiteY1354" fmla="*/ 624918 h 2013279"/>
                    <a:gd name="connsiteX1355" fmla="*/ 313109 w 2918007"/>
                    <a:gd name="connsiteY1355" fmla="*/ 626885 h 2013279"/>
                    <a:gd name="connsiteX1356" fmla="*/ 311437 w 2918007"/>
                    <a:gd name="connsiteY1356" fmla="*/ 630446 h 2013279"/>
                    <a:gd name="connsiteX1357" fmla="*/ 259043 w 2918007"/>
                    <a:gd name="connsiteY1357" fmla="*/ 756662 h 2013279"/>
                    <a:gd name="connsiteX1358" fmla="*/ 259012 w 2918007"/>
                    <a:gd name="connsiteY1358" fmla="*/ 756691 h 2013279"/>
                    <a:gd name="connsiteX1359" fmla="*/ 206741 w 2918007"/>
                    <a:gd name="connsiteY1359" fmla="*/ 803126 h 2013279"/>
                    <a:gd name="connsiteX1360" fmla="*/ 203351 w 2918007"/>
                    <a:gd name="connsiteY1360" fmla="*/ 807716 h 2013279"/>
                    <a:gd name="connsiteX1361" fmla="*/ 200581 w 2918007"/>
                    <a:gd name="connsiteY1361" fmla="*/ 810256 h 2013279"/>
                    <a:gd name="connsiteX1362" fmla="*/ 188925 w 2918007"/>
                    <a:gd name="connsiteY1362" fmla="*/ 827247 h 2013279"/>
                    <a:gd name="connsiteX1363" fmla="*/ 170002 w 2918007"/>
                    <a:gd name="connsiteY1363" fmla="*/ 852866 h 2013279"/>
                    <a:gd name="connsiteX1364" fmla="*/ 165453 w 2918007"/>
                    <a:gd name="connsiteY1364" fmla="*/ 861463 h 2013279"/>
                    <a:gd name="connsiteX1365" fmla="*/ 162113 w 2918007"/>
                    <a:gd name="connsiteY1365" fmla="*/ 866331 h 2013279"/>
                    <a:gd name="connsiteX1366" fmla="*/ 154938 w 2918007"/>
                    <a:gd name="connsiteY1366" fmla="*/ 881335 h 2013279"/>
                    <a:gd name="connsiteX1367" fmla="*/ 147044 w 2918007"/>
                    <a:gd name="connsiteY1367" fmla="*/ 896253 h 2013279"/>
                    <a:gd name="connsiteX1368" fmla="*/ 143176 w 2918007"/>
                    <a:gd name="connsiteY1368" fmla="*/ 905929 h 2013279"/>
                    <a:gd name="connsiteX1369" fmla="*/ 140982 w 2918007"/>
                    <a:gd name="connsiteY1369" fmla="*/ 910517 h 2013279"/>
                    <a:gd name="connsiteX1370" fmla="*/ 134529 w 2918007"/>
                    <a:gd name="connsiteY1370" fmla="*/ 928439 h 2013279"/>
                    <a:gd name="connsiteX1371" fmla="*/ 134530 w 2918007"/>
                    <a:gd name="connsiteY1371" fmla="*/ 928438 h 2013279"/>
                    <a:gd name="connsiteX1372" fmla="*/ 136088 w 2918007"/>
                    <a:gd name="connsiteY1372" fmla="*/ 923659 h 2013279"/>
                    <a:gd name="connsiteX1373" fmla="*/ 143176 w 2918007"/>
                    <a:gd name="connsiteY1373" fmla="*/ 905929 h 2013279"/>
                    <a:gd name="connsiteX1374" fmla="*/ 154938 w 2918007"/>
                    <a:gd name="connsiteY1374" fmla="*/ 881335 h 2013279"/>
                    <a:gd name="connsiteX1375" fmla="*/ 165453 w 2918007"/>
                    <a:gd name="connsiteY1375" fmla="*/ 861463 h 2013279"/>
                    <a:gd name="connsiteX1376" fmla="*/ 188925 w 2918007"/>
                    <a:gd name="connsiteY1376" fmla="*/ 827247 h 2013279"/>
                    <a:gd name="connsiteX1377" fmla="*/ 203351 w 2918007"/>
                    <a:gd name="connsiteY1377" fmla="*/ 807716 h 2013279"/>
                    <a:gd name="connsiteX1378" fmla="*/ 259012 w 2918007"/>
                    <a:gd name="connsiteY1378" fmla="*/ 756691 h 2013279"/>
                    <a:gd name="connsiteX1379" fmla="*/ 259044 w 2918007"/>
                    <a:gd name="connsiteY1379" fmla="*/ 756662 h 2013279"/>
                    <a:gd name="connsiteX1380" fmla="*/ 311438 w 2918007"/>
                    <a:gd name="connsiteY1380" fmla="*/ 630446 h 2013279"/>
                    <a:gd name="connsiteX1381" fmla="*/ 314090 w 2918007"/>
                    <a:gd name="connsiteY1381" fmla="*/ 624918 h 2013279"/>
                    <a:gd name="connsiteX1382" fmla="*/ 315820 w 2918007"/>
                    <a:gd name="connsiteY1382" fmla="*/ 621448 h 2013279"/>
                    <a:gd name="connsiteX1383" fmla="*/ 319755 w 2918007"/>
                    <a:gd name="connsiteY1383" fmla="*/ 614021 h 2013279"/>
                    <a:gd name="connsiteX1384" fmla="*/ 327799 w 2918007"/>
                    <a:gd name="connsiteY1384" fmla="*/ 599892 h 2013279"/>
                    <a:gd name="connsiteX1385" fmla="*/ 360587 w 2918007"/>
                    <a:gd name="connsiteY1385" fmla="*/ 552264 h 2013279"/>
                    <a:gd name="connsiteX1386" fmla="*/ 390953 w 2918007"/>
                    <a:gd name="connsiteY1386" fmla="*/ 527012 h 2013279"/>
                    <a:gd name="connsiteX1387" fmla="*/ 2482913 w 2918007"/>
                    <a:gd name="connsiteY1387" fmla="*/ 510050 h 2013279"/>
                    <a:gd name="connsiteX1388" fmla="*/ 2459605 w 2918007"/>
                    <a:gd name="connsiteY1388" fmla="*/ 512234 h 2013279"/>
                    <a:gd name="connsiteX1389" fmla="*/ 2415840 w 2918007"/>
                    <a:gd name="connsiteY1389" fmla="*/ 650764 h 2013279"/>
                    <a:gd name="connsiteX1390" fmla="*/ 2463303 w 2918007"/>
                    <a:gd name="connsiteY1390" fmla="*/ 846552 h 2013279"/>
                    <a:gd name="connsiteX1391" fmla="*/ 2463292 w 2918007"/>
                    <a:gd name="connsiteY1391" fmla="*/ 846603 h 2013279"/>
                    <a:gd name="connsiteX1392" fmla="*/ 2453259 w 2918007"/>
                    <a:gd name="connsiteY1392" fmla="*/ 887244 h 2013279"/>
                    <a:gd name="connsiteX1393" fmla="*/ 2450799 w 2918007"/>
                    <a:gd name="connsiteY1393" fmla="*/ 894743 h 2013279"/>
                    <a:gd name="connsiteX1394" fmla="*/ 2441577 w 2918007"/>
                    <a:gd name="connsiteY1394" fmla="*/ 915485 h 2013279"/>
                    <a:gd name="connsiteX1395" fmla="*/ 2441568 w 2918007"/>
                    <a:gd name="connsiteY1395" fmla="*/ 915503 h 2013279"/>
                    <a:gd name="connsiteX1396" fmla="*/ 2441561 w 2918007"/>
                    <a:gd name="connsiteY1396" fmla="*/ 915510 h 2013279"/>
                    <a:gd name="connsiteX1397" fmla="*/ 2433896 w 2918007"/>
                    <a:gd name="connsiteY1397" fmla="*/ 922911 h 2013279"/>
                    <a:gd name="connsiteX1398" fmla="*/ 2425684 w 2918007"/>
                    <a:gd name="connsiteY1398" fmla="*/ 924388 h 2013279"/>
                    <a:gd name="connsiteX1399" fmla="*/ 2425684 w 2918007"/>
                    <a:gd name="connsiteY1399" fmla="*/ 924388 h 2013279"/>
                    <a:gd name="connsiteX1400" fmla="*/ 2432432 w 2918007"/>
                    <a:gd name="connsiteY1400" fmla="*/ 924325 h 2013279"/>
                    <a:gd name="connsiteX1401" fmla="*/ 2433896 w 2918007"/>
                    <a:gd name="connsiteY1401" fmla="*/ 922911 h 2013279"/>
                    <a:gd name="connsiteX1402" fmla="*/ 2435257 w 2918007"/>
                    <a:gd name="connsiteY1402" fmla="*/ 922666 h 2013279"/>
                    <a:gd name="connsiteX1403" fmla="*/ 2441561 w 2918007"/>
                    <a:gd name="connsiteY1403" fmla="*/ 915510 h 2013279"/>
                    <a:gd name="connsiteX1404" fmla="*/ 2441569 w 2918007"/>
                    <a:gd name="connsiteY1404" fmla="*/ 915503 h 2013279"/>
                    <a:gd name="connsiteX1405" fmla="*/ 2441577 w 2918007"/>
                    <a:gd name="connsiteY1405" fmla="*/ 915485 h 2013279"/>
                    <a:gd name="connsiteX1406" fmla="*/ 2448529 w 2918007"/>
                    <a:gd name="connsiteY1406" fmla="*/ 901666 h 2013279"/>
                    <a:gd name="connsiteX1407" fmla="*/ 2450799 w 2918007"/>
                    <a:gd name="connsiteY1407" fmla="*/ 894743 h 2013279"/>
                    <a:gd name="connsiteX1408" fmla="*/ 2452168 w 2918007"/>
                    <a:gd name="connsiteY1408" fmla="*/ 891665 h 2013279"/>
                    <a:gd name="connsiteX1409" fmla="*/ 2453259 w 2918007"/>
                    <a:gd name="connsiteY1409" fmla="*/ 887244 h 2013279"/>
                    <a:gd name="connsiteX1410" fmla="*/ 2455865 w 2918007"/>
                    <a:gd name="connsiteY1410" fmla="*/ 879300 h 2013279"/>
                    <a:gd name="connsiteX1411" fmla="*/ 2463292 w 2918007"/>
                    <a:gd name="connsiteY1411" fmla="*/ 846603 h 2013279"/>
                    <a:gd name="connsiteX1412" fmla="*/ 2463304 w 2918007"/>
                    <a:gd name="connsiteY1412" fmla="*/ 846552 h 2013279"/>
                    <a:gd name="connsiteX1413" fmla="*/ 2415841 w 2918007"/>
                    <a:gd name="connsiteY1413" fmla="*/ 650764 h 2013279"/>
                    <a:gd name="connsiteX1414" fmla="*/ 2459606 w 2918007"/>
                    <a:gd name="connsiteY1414" fmla="*/ 512234 h 2013279"/>
                    <a:gd name="connsiteX1415" fmla="*/ 2482913 w 2918007"/>
                    <a:gd name="connsiteY1415" fmla="*/ 510050 h 2013279"/>
                    <a:gd name="connsiteX1416" fmla="*/ 924143 w 2918007"/>
                    <a:gd name="connsiteY1416" fmla="*/ 503617 h 2013279"/>
                    <a:gd name="connsiteX1417" fmla="*/ 924671 w 2918007"/>
                    <a:gd name="connsiteY1417" fmla="*/ 535113 h 2013279"/>
                    <a:gd name="connsiteX1418" fmla="*/ 922723 w 2918007"/>
                    <a:gd name="connsiteY1418" fmla="*/ 546340 h 2013279"/>
                    <a:gd name="connsiteX1419" fmla="*/ 916921 w 2918007"/>
                    <a:gd name="connsiteY1419" fmla="*/ 571367 h 2013279"/>
                    <a:gd name="connsiteX1420" fmla="*/ 912178 w 2918007"/>
                    <a:gd name="connsiteY1420" fmla="*/ 583579 h 2013279"/>
                    <a:gd name="connsiteX1421" fmla="*/ 901596 w 2918007"/>
                    <a:gd name="connsiteY1421" fmla="*/ 602588 h 2013279"/>
                    <a:gd name="connsiteX1422" fmla="*/ 891880 w 2918007"/>
                    <a:gd name="connsiteY1422" fmla="*/ 614081 h 2013279"/>
                    <a:gd name="connsiteX1423" fmla="*/ 888291 w 2918007"/>
                    <a:gd name="connsiteY1423" fmla="*/ 616775 h 2013279"/>
                    <a:gd name="connsiteX1424" fmla="*/ 872308 w 2918007"/>
                    <a:gd name="connsiteY1424" fmla="*/ 620413 h 2013279"/>
                    <a:gd name="connsiteX1425" fmla="*/ 885791 w 2918007"/>
                    <a:gd name="connsiteY1425" fmla="*/ 618650 h 2013279"/>
                    <a:gd name="connsiteX1426" fmla="*/ 888291 w 2918007"/>
                    <a:gd name="connsiteY1426" fmla="*/ 616775 h 2013279"/>
                    <a:gd name="connsiteX1427" fmla="*/ 889916 w 2918007"/>
                    <a:gd name="connsiteY1427" fmla="*/ 616405 h 2013279"/>
                    <a:gd name="connsiteX1428" fmla="*/ 891880 w 2918007"/>
                    <a:gd name="connsiteY1428" fmla="*/ 614081 h 2013279"/>
                    <a:gd name="connsiteX1429" fmla="*/ 897578 w 2918007"/>
                    <a:gd name="connsiteY1429" fmla="*/ 609805 h 2013279"/>
                    <a:gd name="connsiteX1430" fmla="*/ 901596 w 2918007"/>
                    <a:gd name="connsiteY1430" fmla="*/ 602588 h 2013279"/>
                    <a:gd name="connsiteX1431" fmla="*/ 907516 w 2918007"/>
                    <a:gd name="connsiteY1431" fmla="*/ 595584 h 2013279"/>
                    <a:gd name="connsiteX1432" fmla="*/ 912178 w 2918007"/>
                    <a:gd name="connsiteY1432" fmla="*/ 583579 h 2013279"/>
                    <a:gd name="connsiteX1433" fmla="*/ 915454 w 2918007"/>
                    <a:gd name="connsiteY1433" fmla="*/ 577696 h 2013279"/>
                    <a:gd name="connsiteX1434" fmla="*/ 916921 w 2918007"/>
                    <a:gd name="connsiteY1434" fmla="*/ 571367 h 2013279"/>
                    <a:gd name="connsiteX1435" fmla="*/ 919558 w 2918007"/>
                    <a:gd name="connsiteY1435" fmla="*/ 564576 h 2013279"/>
                    <a:gd name="connsiteX1436" fmla="*/ 922723 w 2918007"/>
                    <a:gd name="connsiteY1436" fmla="*/ 546340 h 2013279"/>
                    <a:gd name="connsiteX1437" fmla="*/ 924715 w 2918007"/>
                    <a:gd name="connsiteY1437" fmla="*/ 537745 h 2013279"/>
                    <a:gd name="connsiteX1438" fmla="*/ 924671 w 2918007"/>
                    <a:gd name="connsiteY1438" fmla="*/ 535113 h 2013279"/>
                    <a:gd name="connsiteX1439" fmla="*/ 925335 w 2918007"/>
                    <a:gd name="connsiteY1439" fmla="*/ 531284 h 2013279"/>
                    <a:gd name="connsiteX1440" fmla="*/ 1014140 w 2918007"/>
                    <a:gd name="connsiteY1440" fmla="*/ 479603 h 2013279"/>
                    <a:gd name="connsiteX1441" fmla="*/ 1014140 w 2918007"/>
                    <a:gd name="connsiteY1441" fmla="*/ 479603 h 2013279"/>
                    <a:gd name="connsiteX1442" fmla="*/ 1040596 w 2918007"/>
                    <a:gd name="connsiteY1442" fmla="*/ 497891 h 2013279"/>
                    <a:gd name="connsiteX1443" fmla="*/ 1040600 w 2918007"/>
                    <a:gd name="connsiteY1443" fmla="*/ 497903 h 2013279"/>
                    <a:gd name="connsiteX1444" fmla="*/ 1049394 w 2918007"/>
                    <a:gd name="connsiteY1444" fmla="*/ 527843 h 2013279"/>
                    <a:gd name="connsiteX1445" fmla="*/ 1050160 w 2918007"/>
                    <a:gd name="connsiteY1445" fmla="*/ 537563 h 2013279"/>
                    <a:gd name="connsiteX1446" fmla="*/ 1050268 w 2918007"/>
                    <a:gd name="connsiteY1446" fmla="*/ 557925 h 2013279"/>
                    <a:gd name="connsiteX1447" fmla="*/ 1049828 w 2918007"/>
                    <a:gd name="connsiteY1447" fmla="*/ 565554 h 2013279"/>
                    <a:gd name="connsiteX1448" fmla="*/ 1049438 w 2918007"/>
                    <a:gd name="connsiteY1448" fmla="*/ 569236 h 2013279"/>
                    <a:gd name="connsiteX1449" fmla="*/ 1048657 w 2918007"/>
                    <a:gd name="connsiteY1449" fmla="*/ 575035 h 2013279"/>
                    <a:gd name="connsiteX1450" fmla="*/ 1027083 w 2918007"/>
                    <a:gd name="connsiteY1450" fmla="*/ 680317 h 2013279"/>
                    <a:gd name="connsiteX1451" fmla="*/ 1090573 w 2918007"/>
                    <a:gd name="connsiteY1451" fmla="*/ 901964 h 2013279"/>
                    <a:gd name="connsiteX1452" fmla="*/ 1090577 w 2918007"/>
                    <a:gd name="connsiteY1452" fmla="*/ 902036 h 2013279"/>
                    <a:gd name="connsiteX1453" fmla="*/ 1093248 w 2918007"/>
                    <a:gd name="connsiteY1453" fmla="*/ 961372 h 2013279"/>
                    <a:gd name="connsiteX1454" fmla="*/ 1094078 w 2918007"/>
                    <a:gd name="connsiteY1454" fmla="*/ 966130 h 2013279"/>
                    <a:gd name="connsiteX1455" fmla="*/ 1094307 w 2918007"/>
                    <a:gd name="connsiteY1455" fmla="*/ 970326 h 2013279"/>
                    <a:gd name="connsiteX1456" fmla="*/ 1097240 w 2918007"/>
                    <a:gd name="connsiteY1456" fmla="*/ 984245 h 2013279"/>
                    <a:gd name="connsiteX1457" fmla="*/ 1101953 w 2918007"/>
                    <a:gd name="connsiteY1457" fmla="*/ 1011247 h 2013279"/>
                    <a:gd name="connsiteX1458" fmla="*/ 1104609 w 2918007"/>
                    <a:gd name="connsiteY1458" fmla="*/ 1019219 h 2013279"/>
                    <a:gd name="connsiteX1459" fmla="*/ 1106013 w 2918007"/>
                    <a:gd name="connsiteY1459" fmla="*/ 1025879 h 2013279"/>
                    <a:gd name="connsiteX1460" fmla="*/ 1110362 w 2918007"/>
                    <a:gd name="connsiteY1460" fmla="*/ 1036484 h 2013279"/>
                    <a:gd name="connsiteX1461" fmla="*/ 1115637 w 2918007"/>
                    <a:gd name="connsiteY1461" fmla="*/ 1052317 h 2013279"/>
                    <a:gd name="connsiteX1462" fmla="*/ 1120896 w 2918007"/>
                    <a:gd name="connsiteY1462" fmla="*/ 1062173 h 2013279"/>
                    <a:gd name="connsiteX1463" fmla="*/ 1124014 w 2918007"/>
                    <a:gd name="connsiteY1463" fmla="*/ 1069778 h 2013279"/>
                    <a:gd name="connsiteX1464" fmla="*/ 1128443 w 2918007"/>
                    <a:gd name="connsiteY1464" fmla="*/ 1076316 h 2013279"/>
                    <a:gd name="connsiteX1465" fmla="*/ 1133243 w 2918007"/>
                    <a:gd name="connsiteY1465" fmla="*/ 1085310 h 2013279"/>
                    <a:gd name="connsiteX1466" fmla="*/ 1137662 w 2918007"/>
                    <a:gd name="connsiteY1466" fmla="*/ 1089926 h 2013279"/>
                    <a:gd name="connsiteX1467" fmla="*/ 1146638 w 2918007"/>
                    <a:gd name="connsiteY1467" fmla="*/ 1103177 h 2013279"/>
                    <a:gd name="connsiteX1468" fmla="*/ 1172210 w 2918007"/>
                    <a:gd name="connsiteY1468" fmla="*/ 1127233 h 2013279"/>
                    <a:gd name="connsiteX1469" fmla="*/ 1174910 w 2918007"/>
                    <a:gd name="connsiteY1469" fmla="*/ 1128829 h 2013279"/>
                    <a:gd name="connsiteX1470" fmla="*/ 1176007 w 2918007"/>
                    <a:gd name="connsiteY1470" fmla="*/ 1129974 h 2013279"/>
                    <a:gd name="connsiteX1471" fmla="*/ 1179808 w 2918007"/>
                    <a:gd name="connsiteY1471" fmla="*/ 1131724 h 2013279"/>
                    <a:gd name="connsiteX1472" fmla="*/ 1199055 w 2918007"/>
                    <a:gd name="connsiteY1472" fmla="*/ 1143099 h 2013279"/>
                    <a:gd name="connsiteX1473" fmla="*/ 1210075 w 2918007"/>
                    <a:gd name="connsiteY1473" fmla="*/ 1145656 h 2013279"/>
                    <a:gd name="connsiteX1474" fmla="*/ 1221810 w 2918007"/>
                    <a:gd name="connsiteY1474" fmla="*/ 1151058 h 2013279"/>
                    <a:gd name="connsiteX1475" fmla="*/ 1249867 w 2918007"/>
                    <a:gd name="connsiteY1475" fmla="*/ 1154887 h 2013279"/>
                    <a:gd name="connsiteX1476" fmla="*/ 1249867 w 2918007"/>
                    <a:gd name="connsiteY1476" fmla="*/ 1154888 h 2013279"/>
                    <a:gd name="connsiteX1477" fmla="*/ 1249868 w 2918007"/>
                    <a:gd name="connsiteY1477" fmla="*/ 1154888 h 2013279"/>
                    <a:gd name="connsiteX1478" fmla="*/ 1249867 w 2918007"/>
                    <a:gd name="connsiteY1478" fmla="*/ 1154887 h 2013279"/>
                    <a:gd name="connsiteX1479" fmla="*/ 1210075 w 2918007"/>
                    <a:gd name="connsiteY1479" fmla="*/ 1145656 h 2013279"/>
                    <a:gd name="connsiteX1480" fmla="*/ 1179808 w 2918007"/>
                    <a:gd name="connsiteY1480" fmla="*/ 1131724 h 2013279"/>
                    <a:gd name="connsiteX1481" fmla="*/ 1174910 w 2918007"/>
                    <a:gd name="connsiteY1481" fmla="*/ 1128829 h 2013279"/>
                    <a:gd name="connsiteX1482" fmla="*/ 1137662 w 2918007"/>
                    <a:gd name="connsiteY1482" fmla="*/ 1089926 h 2013279"/>
                    <a:gd name="connsiteX1483" fmla="*/ 1128443 w 2918007"/>
                    <a:gd name="connsiteY1483" fmla="*/ 1076316 h 2013279"/>
                    <a:gd name="connsiteX1484" fmla="*/ 1120896 w 2918007"/>
                    <a:gd name="connsiteY1484" fmla="*/ 1062173 h 2013279"/>
                    <a:gd name="connsiteX1485" fmla="*/ 1110362 w 2918007"/>
                    <a:gd name="connsiteY1485" fmla="*/ 1036484 h 2013279"/>
                    <a:gd name="connsiteX1486" fmla="*/ 1104609 w 2918007"/>
                    <a:gd name="connsiteY1486" fmla="*/ 1019219 h 2013279"/>
                    <a:gd name="connsiteX1487" fmla="*/ 1097240 w 2918007"/>
                    <a:gd name="connsiteY1487" fmla="*/ 984245 h 2013279"/>
                    <a:gd name="connsiteX1488" fmla="*/ 1094078 w 2918007"/>
                    <a:gd name="connsiteY1488" fmla="*/ 966130 h 2013279"/>
                    <a:gd name="connsiteX1489" fmla="*/ 1090577 w 2918007"/>
                    <a:gd name="connsiteY1489" fmla="*/ 902036 h 2013279"/>
                    <a:gd name="connsiteX1490" fmla="*/ 1090574 w 2918007"/>
                    <a:gd name="connsiteY1490" fmla="*/ 901964 h 2013279"/>
                    <a:gd name="connsiteX1491" fmla="*/ 1027084 w 2918007"/>
                    <a:gd name="connsiteY1491" fmla="*/ 680317 h 2013279"/>
                    <a:gd name="connsiteX1492" fmla="*/ 1048658 w 2918007"/>
                    <a:gd name="connsiteY1492" fmla="*/ 575035 h 2013279"/>
                    <a:gd name="connsiteX1493" fmla="*/ 1049222 w 2918007"/>
                    <a:gd name="connsiteY1493" fmla="*/ 571263 h 2013279"/>
                    <a:gd name="connsiteX1494" fmla="*/ 1049438 w 2918007"/>
                    <a:gd name="connsiteY1494" fmla="*/ 569236 h 2013279"/>
                    <a:gd name="connsiteX1495" fmla="*/ 1049750 w 2918007"/>
                    <a:gd name="connsiteY1495" fmla="*/ 566914 h 2013279"/>
                    <a:gd name="connsiteX1496" fmla="*/ 1049828 w 2918007"/>
                    <a:gd name="connsiteY1496" fmla="*/ 565554 h 2013279"/>
                    <a:gd name="connsiteX1497" fmla="*/ 1050285 w 2918007"/>
                    <a:gd name="connsiteY1497" fmla="*/ 561249 h 2013279"/>
                    <a:gd name="connsiteX1498" fmla="*/ 1050268 w 2918007"/>
                    <a:gd name="connsiteY1498" fmla="*/ 557925 h 2013279"/>
                    <a:gd name="connsiteX1499" fmla="*/ 1050900 w 2918007"/>
                    <a:gd name="connsiteY1499" fmla="*/ 546950 h 2013279"/>
                    <a:gd name="connsiteX1500" fmla="*/ 1050160 w 2918007"/>
                    <a:gd name="connsiteY1500" fmla="*/ 537563 h 2013279"/>
                    <a:gd name="connsiteX1501" fmla="*/ 1050122 w 2918007"/>
                    <a:gd name="connsiteY1501" fmla="*/ 530320 h 2013279"/>
                    <a:gd name="connsiteX1502" fmla="*/ 1049394 w 2918007"/>
                    <a:gd name="connsiteY1502" fmla="*/ 527843 h 2013279"/>
                    <a:gd name="connsiteX1503" fmla="*/ 1048913 w 2918007"/>
                    <a:gd name="connsiteY1503" fmla="*/ 521743 h 2013279"/>
                    <a:gd name="connsiteX1504" fmla="*/ 1040600 w 2918007"/>
                    <a:gd name="connsiteY1504" fmla="*/ 497903 h 2013279"/>
                    <a:gd name="connsiteX1505" fmla="*/ 1040597 w 2918007"/>
                    <a:gd name="connsiteY1505" fmla="*/ 497891 h 2013279"/>
                    <a:gd name="connsiteX1506" fmla="*/ 1014140 w 2918007"/>
                    <a:gd name="connsiteY1506" fmla="*/ 479603 h 2013279"/>
                    <a:gd name="connsiteX1507" fmla="*/ 2005933 w 2918007"/>
                    <a:gd name="connsiteY1507" fmla="*/ 437121 h 2013279"/>
                    <a:gd name="connsiteX1508" fmla="*/ 2005933 w 2918007"/>
                    <a:gd name="connsiteY1508" fmla="*/ 437121 h 2013279"/>
                    <a:gd name="connsiteX1509" fmla="*/ 2024244 w 2918007"/>
                    <a:gd name="connsiteY1509" fmla="*/ 442561 h 2013279"/>
                    <a:gd name="connsiteX1510" fmla="*/ 2049537 w 2918007"/>
                    <a:gd name="connsiteY1510" fmla="*/ 466329 h 2013279"/>
                    <a:gd name="connsiteX1511" fmla="*/ 2069847 w 2918007"/>
                    <a:gd name="connsiteY1511" fmla="*/ 494202 h 2013279"/>
                    <a:gd name="connsiteX1512" fmla="*/ 2081254 w 2918007"/>
                    <a:gd name="connsiteY1512" fmla="*/ 512574 h 2013279"/>
                    <a:gd name="connsiteX1513" fmla="*/ 2097459 w 2918007"/>
                    <a:gd name="connsiteY1513" fmla="*/ 548567 h 2013279"/>
                    <a:gd name="connsiteX1514" fmla="*/ 2104426 w 2918007"/>
                    <a:gd name="connsiteY1514" fmla="*/ 565629 h 2013279"/>
                    <a:gd name="connsiteX1515" fmla="*/ 2113178 w 2918007"/>
                    <a:gd name="connsiteY1515" fmla="*/ 610697 h 2013279"/>
                    <a:gd name="connsiteX1516" fmla="*/ 2113186 w 2918007"/>
                    <a:gd name="connsiteY1516" fmla="*/ 610744 h 2013279"/>
                    <a:gd name="connsiteX1517" fmla="*/ 2131062 w 2918007"/>
                    <a:gd name="connsiteY1517" fmla="*/ 714180 h 2013279"/>
                    <a:gd name="connsiteX1518" fmla="*/ 2150787 w 2918007"/>
                    <a:gd name="connsiteY1518" fmla="*/ 731419 h 2013279"/>
                    <a:gd name="connsiteX1519" fmla="*/ 2101474 w 2918007"/>
                    <a:gd name="connsiteY1519" fmla="*/ 747427 h 2013279"/>
                    <a:gd name="connsiteX1520" fmla="*/ 1952921 w 2918007"/>
                    <a:gd name="connsiteY1520" fmla="*/ 907505 h 2013279"/>
                    <a:gd name="connsiteX1521" fmla="*/ 1928881 w 2918007"/>
                    <a:gd name="connsiteY1521" fmla="*/ 978925 h 2013279"/>
                    <a:gd name="connsiteX1522" fmla="*/ 2073736 w 2918007"/>
                    <a:gd name="connsiteY1522" fmla="*/ 1060196 h 2013279"/>
                    <a:gd name="connsiteX1523" fmla="*/ 2073743 w 2918007"/>
                    <a:gd name="connsiteY1523" fmla="*/ 1060198 h 2013279"/>
                    <a:gd name="connsiteX1524" fmla="*/ 2097783 w 2918007"/>
                    <a:gd name="connsiteY1524" fmla="*/ 1066644 h 2013279"/>
                    <a:gd name="connsiteX1525" fmla="*/ 2100829 w 2918007"/>
                    <a:gd name="connsiteY1525" fmla="*/ 1068805 h 2013279"/>
                    <a:gd name="connsiteX1526" fmla="*/ 2103045 w 2918007"/>
                    <a:gd name="connsiteY1526" fmla="*/ 1072843 h 2013279"/>
                    <a:gd name="connsiteX1527" fmla="*/ 2098094 w 2918007"/>
                    <a:gd name="connsiteY1527" fmla="*/ 1081062 h 2013279"/>
                    <a:gd name="connsiteX1528" fmla="*/ 2093461 w 2918007"/>
                    <a:gd name="connsiteY1528" fmla="*/ 1083592 h 2013279"/>
                    <a:gd name="connsiteX1529" fmla="*/ 2093462 w 2918007"/>
                    <a:gd name="connsiteY1529" fmla="*/ 1083592 h 2013279"/>
                    <a:gd name="connsiteX1530" fmla="*/ 2104172 w 2918007"/>
                    <a:gd name="connsiteY1530" fmla="*/ 1074895 h 2013279"/>
                    <a:gd name="connsiteX1531" fmla="*/ 2103045 w 2918007"/>
                    <a:gd name="connsiteY1531" fmla="*/ 1072843 h 2013279"/>
                    <a:gd name="connsiteX1532" fmla="*/ 2104086 w 2918007"/>
                    <a:gd name="connsiteY1532" fmla="*/ 1071116 h 2013279"/>
                    <a:gd name="connsiteX1533" fmla="*/ 2100829 w 2918007"/>
                    <a:gd name="connsiteY1533" fmla="*/ 1068805 h 2013279"/>
                    <a:gd name="connsiteX1534" fmla="*/ 2099963 w 2918007"/>
                    <a:gd name="connsiteY1534" fmla="*/ 1067228 h 2013279"/>
                    <a:gd name="connsiteX1535" fmla="*/ 2097783 w 2918007"/>
                    <a:gd name="connsiteY1535" fmla="*/ 1066644 h 2013279"/>
                    <a:gd name="connsiteX1536" fmla="*/ 2095928 w 2918007"/>
                    <a:gd name="connsiteY1536" fmla="*/ 1065327 h 2013279"/>
                    <a:gd name="connsiteX1537" fmla="*/ 2073743 w 2918007"/>
                    <a:gd name="connsiteY1537" fmla="*/ 1060198 h 2013279"/>
                    <a:gd name="connsiteX1538" fmla="*/ 2073737 w 2918007"/>
                    <a:gd name="connsiteY1538" fmla="*/ 1060196 h 2013279"/>
                    <a:gd name="connsiteX1539" fmla="*/ 1928882 w 2918007"/>
                    <a:gd name="connsiteY1539" fmla="*/ 978925 h 2013279"/>
                    <a:gd name="connsiteX1540" fmla="*/ 1952922 w 2918007"/>
                    <a:gd name="connsiteY1540" fmla="*/ 907505 h 2013279"/>
                    <a:gd name="connsiteX1541" fmla="*/ 2101475 w 2918007"/>
                    <a:gd name="connsiteY1541" fmla="*/ 747427 h 2013279"/>
                    <a:gd name="connsiteX1542" fmla="*/ 2150788 w 2918007"/>
                    <a:gd name="connsiteY1542" fmla="*/ 731419 h 2013279"/>
                    <a:gd name="connsiteX1543" fmla="*/ 2131063 w 2918007"/>
                    <a:gd name="connsiteY1543" fmla="*/ 714180 h 2013279"/>
                    <a:gd name="connsiteX1544" fmla="*/ 2113187 w 2918007"/>
                    <a:gd name="connsiteY1544" fmla="*/ 610744 h 2013279"/>
                    <a:gd name="connsiteX1545" fmla="*/ 2113178 w 2918007"/>
                    <a:gd name="connsiteY1545" fmla="*/ 610697 h 2013279"/>
                    <a:gd name="connsiteX1546" fmla="*/ 2106098 w 2918007"/>
                    <a:gd name="connsiteY1546" fmla="*/ 569726 h 2013279"/>
                    <a:gd name="connsiteX1547" fmla="*/ 2104426 w 2918007"/>
                    <a:gd name="connsiteY1547" fmla="*/ 565629 h 2013279"/>
                    <a:gd name="connsiteX1548" fmla="*/ 2103883 w 2918007"/>
                    <a:gd name="connsiteY1548" fmla="*/ 562836 h 2013279"/>
                    <a:gd name="connsiteX1549" fmla="*/ 2097459 w 2918007"/>
                    <a:gd name="connsiteY1549" fmla="*/ 548567 h 2013279"/>
                    <a:gd name="connsiteX1550" fmla="*/ 2085660 w 2918007"/>
                    <a:gd name="connsiteY1550" fmla="*/ 519670 h 2013279"/>
                    <a:gd name="connsiteX1551" fmla="*/ 2081254 w 2918007"/>
                    <a:gd name="connsiteY1551" fmla="*/ 512574 h 2013279"/>
                    <a:gd name="connsiteX1552" fmla="*/ 2078052 w 2918007"/>
                    <a:gd name="connsiteY1552" fmla="*/ 505462 h 2013279"/>
                    <a:gd name="connsiteX1553" fmla="*/ 2069847 w 2918007"/>
                    <a:gd name="connsiteY1553" fmla="*/ 494202 h 2013279"/>
                    <a:gd name="connsiteX1554" fmla="*/ 2056749 w 2918007"/>
                    <a:gd name="connsiteY1554" fmla="*/ 473106 h 2013279"/>
                    <a:gd name="connsiteX1555" fmla="*/ 2049537 w 2918007"/>
                    <a:gd name="connsiteY1555" fmla="*/ 466329 h 2013279"/>
                    <a:gd name="connsiteX1556" fmla="*/ 2042975 w 2918007"/>
                    <a:gd name="connsiteY1556" fmla="*/ 457323 h 2013279"/>
                    <a:gd name="connsiteX1557" fmla="*/ 2005933 w 2918007"/>
                    <a:gd name="connsiteY1557" fmla="*/ 437121 h 2013279"/>
                    <a:gd name="connsiteX1558" fmla="*/ 702237 w 2918007"/>
                    <a:gd name="connsiteY1558" fmla="*/ 416803 h 2013279"/>
                    <a:gd name="connsiteX1559" fmla="*/ 705907 w 2918007"/>
                    <a:gd name="connsiteY1559" fmla="*/ 417178 h 2013279"/>
                    <a:gd name="connsiteX1560" fmla="*/ 705909 w 2918007"/>
                    <a:gd name="connsiteY1560" fmla="*/ 417180 h 2013279"/>
                    <a:gd name="connsiteX1561" fmla="*/ 712474 w 2918007"/>
                    <a:gd name="connsiteY1561" fmla="*/ 422995 h 2013279"/>
                    <a:gd name="connsiteX1562" fmla="*/ 714429 w 2918007"/>
                    <a:gd name="connsiteY1562" fmla="*/ 426794 h 2013279"/>
                    <a:gd name="connsiteX1563" fmla="*/ 718821 w 2918007"/>
                    <a:gd name="connsiteY1563" fmla="*/ 441180 h 2013279"/>
                    <a:gd name="connsiteX1564" fmla="*/ 720598 w 2918007"/>
                    <a:gd name="connsiteY1564" fmla="*/ 451547 h 2013279"/>
                    <a:gd name="connsiteX1565" fmla="*/ 721049 w 2918007"/>
                    <a:gd name="connsiteY1565" fmla="*/ 457921 h 2013279"/>
                    <a:gd name="connsiteX1566" fmla="*/ 720729 w 2918007"/>
                    <a:gd name="connsiteY1566" fmla="*/ 490685 h 2013279"/>
                    <a:gd name="connsiteX1567" fmla="*/ 721528 w 2918007"/>
                    <a:gd name="connsiteY1567" fmla="*/ 464707 h 2013279"/>
                    <a:gd name="connsiteX1568" fmla="*/ 721049 w 2918007"/>
                    <a:gd name="connsiteY1568" fmla="*/ 457921 h 2013279"/>
                    <a:gd name="connsiteX1569" fmla="*/ 721083 w 2918007"/>
                    <a:gd name="connsiteY1569" fmla="*/ 454374 h 2013279"/>
                    <a:gd name="connsiteX1570" fmla="*/ 720598 w 2918007"/>
                    <a:gd name="connsiteY1570" fmla="*/ 451547 h 2013279"/>
                    <a:gd name="connsiteX1571" fmla="*/ 720181 w 2918007"/>
                    <a:gd name="connsiteY1571" fmla="*/ 445634 h 2013279"/>
                    <a:gd name="connsiteX1572" fmla="*/ 718821 w 2918007"/>
                    <a:gd name="connsiteY1572" fmla="*/ 441180 h 2013279"/>
                    <a:gd name="connsiteX1573" fmla="*/ 717317 w 2918007"/>
                    <a:gd name="connsiteY1573" fmla="*/ 432406 h 2013279"/>
                    <a:gd name="connsiteX1574" fmla="*/ 714429 w 2918007"/>
                    <a:gd name="connsiteY1574" fmla="*/ 426794 h 2013279"/>
                    <a:gd name="connsiteX1575" fmla="*/ 713564 w 2918007"/>
                    <a:gd name="connsiteY1575" fmla="*/ 423960 h 2013279"/>
                    <a:gd name="connsiteX1576" fmla="*/ 712474 w 2918007"/>
                    <a:gd name="connsiteY1576" fmla="*/ 422995 h 2013279"/>
                    <a:gd name="connsiteX1577" fmla="*/ 711551 w 2918007"/>
                    <a:gd name="connsiteY1577" fmla="*/ 421200 h 2013279"/>
                    <a:gd name="connsiteX1578" fmla="*/ 705909 w 2918007"/>
                    <a:gd name="connsiteY1578" fmla="*/ 417180 h 2013279"/>
                    <a:gd name="connsiteX1579" fmla="*/ 705907 w 2918007"/>
                    <a:gd name="connsiteY1579" fmla="*/ 417178 h 2013279"/>
                    <a:gd name="connsiteX1580" fmla="*/ 702237 w 2918007"/>
                    <a:gd name="connsiteY1580" fmla="*/ 416803 h 2013279"/>
                    <a:gd name="connsiteX1581" fmla="*/ 2390433 w 2918007"/>
                    <a:gd name="connsiteY1581" fmla="*/ 412599 h 2013279"/>
                    <a:gd name="connsiteX1582" fmla="*/ 2350501 w 2918007"/>
                    <a:gd name="connsiteY1582" fmla="*/ 422960 h 2013279"/>
                    <a:gd name="connsiteX1583" fmla="*/ 2295025 w 2918007"/>
                    <a:gd name="connsiteY1583" fmla="*/ 553486 h 2013279"/>
                    <a:gd name="connsiteX1584" fmla="*/ 2295000 w 2918007"/>
                    <a:gd name="connsiteY1584" fmla="*/ 553516 h 2013279"/>
                    <a:gd name="connsiteX1585" fmla="*/ 2275528 w 2918007"/>
                    <a:gd name="connsiteY1585" fmla="*/ 576033 h 2013279"/>
                    <a:gd name="connsiteX1586" fmla="*/ 2273410 w 2918007"/>
                    <a:gd name="connsiteY1586" fmla="*/ 579494 h 2013279"/>
                    <a:gd name="connsiteX1587" fmla="*/ 2271448 w 2918007"/>
                    <a:gd name="connsiteY1587" fmla="*/ 581855 h 2013279"/>
                    <a:gd name="connsiteX1588" fmla="*/ 2269925 w 2918007"/>
                    <a:gd name="connsiteY1588" fmla="*/ 585188 h 2013279"/>
                    <a:gd name="connsiteX1589" fmla="*/ 2266204 w 2918007"/>
                    <a:gd name="connsiteY1589" fmla="*/ 591267 h 2013279"/>
                    <a:gd name="connsiteX1590" fmla="*/ 2266031 w 2918007"/>
                    <a:gd name="connsiteY1590" fmla="*/ 593710 h 2013279"/>
                    <a:gd name="connsiteX1591" fmla="*/ 2264051 w 2918007"/>
                    <a:gd name="connsiteY1591" fmla="*/ 598046 h 2013279"/>
                    <a:gd name="connsiteX1592" fmla="*/ 2267287 w 2918007"/>
                    <a:gd name="connsiteY1592" fmla="*/ 607050 h 2013279"/>
                    <a:gd name="connsiteX1593" fmla="*/ 2267288 w 2918007"/>
                    <a:gd name="connsiteY1593" fmla="*/ 607050 h 2013279"/>
                    <a:gd name="connsiteX1594" fmla="*/ 2265208 w 2918007"/>
                    <a:gd name="connsiteY1594" fmla="*/ 605347 h 2013279"/>
                    <a:gd name="connsiteX1595" fmla="*/ 2266031 w 2918007"/>
                    <a:gd name="connsiteY1595" fmla="*/ 593710 h 2013279"/>
                    <a:gd name="connsiteX1596" fmla="*/ 2269925 w 2918007"/>
                    <a:gd name="connsiteY1596" fmla="*/ 585188 h 2013279"/>
                    <a:gd name="connsiteX1597" fmla="*/ 2273410 w 2918007"/>
                    <a:gd name="connsiteY1597" fmla="*/ 579494 h 2013279"/>
                    <a:gd name="connsiteX1598" fmla="*/ 2295000 w 2918007"/>
                    <a:gd name="connsiteY1598" fmla="*/ 553516 h 2013279"/>
                    <a:gd name="connsiteX1599" fmla="*/ 2295026 w 2918007"/>
                    <a:gd name="connsiteY1599" fmla="*/ 553486 h 2013279"/>
                    <a:gd name="connsiteX1600" fmla="*/ 2350502 w 2918007"/>
                    <a:gd name="connsiteY1600" fmla="*/ 422960 h 2013279"/>
                    <a:gd name="connsiteX1601" fmla="*/ 2390433 w 2918007"/>
                    <a:gd name="connsiteY1601" fmla="*/ 412599 h 2013279"/>
                    <a:gd name="connsiteX1602" fmla="*/ 1963939 w 2918007"/>
                    <a:gd name="connsiteY1602" fmla="*/ 378169 h 2013279"/>
                    <a:gd name="connsiteX1603" fmla="*/ 1912855 w 2918007"/>
                    <a:gd name="connsiteY1603" fmla="*/ 417419 h 2013279"/>
                    <a:gd name="connsiteX1604" fmla="*/ 1966482 w 2918007"/>
                    <a:gd name="connsiteY1604" fmla="*/ 553486 h 2013279"/>
                    <a:gd name="connsiteX1605" fmla="*/ 2021958 w 2918007"/>
                    <a:gd name="connsiteY1605" fmla="*/ 632909 h 2013279"/>
                    <a:gd name="connsiteX1606" fmla="*/ 2019057 w 2918007"/>
                    <a:gd name="connsiteY1606" fmla="*/ 647243 h 2013279"/>
                    <a:gd name="connsiteX1607" fmla="*/ 2015158 w 2918007"/>
                    <a:gd name="connsiteY1607" fmla="*/ 654188 h 2013279"/>
                    <a:gd name="connsiteX1608" fmla="*/ 2015159 w 2918007"/>
                    <a:gd name="connsiteY1608" fmla="*/ 654189 h 2013279"/>
                    <a:gd name="connsiteX1609" fmla="*/ 2021959 w 2918007"/>
                    <a:gd name="connsiteY1609" fmla="*/ 632909 h 2013279"/>
                    <a:gd name="connsiteX1610" fmla="*/ 1966483 w 2918007"/>
                    <a:gd name="connsiteY1610" fmla="*/ 553486 h 2013279"/>
                    <a:gd name="connsiteX1611" fmla="*/ 1912856 w 2918007"/>
                    <a:gd name="connsiteY1611" fmla="*/ 417419 h 2013279"/>
                    <a:gd name="connsiteX1612" fmla="*/ 1931377 w 2918007"/>
                    <a:gd name="connsiteY1612" fmla="*/ 390579 h 2013279"/>
                    <a:gd name="connsiteX1613" fmla="*/ 1963940 w 2918007"/>
                    <a:gd name="connsiteY1613" fmla="*/ 378169 h 2013279"/>
                    <a:gd name="connsiteX1614" fmla="*/ 1376701 w 2918007"/>
                    <a:gd name="connsiteY1614" fmla="*/ 374570 h 2013279"/>
                    <a:gd name="connsiteX1615" fmla="*/ 1376700 w 2918007"/>
                    <a:gd name="connsiteY1615" fmla="*/ 374571 h 2013279"/>
                    <a:gd name="connsiteX1616" fmla="*/ 1388912 w 2918007"/>
                    <a:gd name="connsiteY1616" fmla="*/ 376783 h 2013279"/>
                    <a:gd name="connsiteX1617" fmla="*/ 1407404 w 2918007"/>
                    <a:gd name="connsiteY1617" fmla="*/ 427270 h 2013279"/>
                    <a:gd name="connsiteX1618" fmla="*/ 1446315 w 2918007"/>
                    <a:gd name="connsiteY1618" fmla="*/ 466751 h 2013279"/>
                    <a:gd name="connsiteX1619" fmla="*/ 1446315 w 2918007"/>
                    <a:gd name="connsiteY1619" fmla="*/ 466750 h 2013279"/>
                    <a:gd name="connsiteX1620" fmla="*/ 1427640 w 2918007"/>
                    <a:gd name="connsiteY1620" fmla="*/ 458929 h 2013279"/>
                    <a:gd name="connsiteX1621" fmla="*/ 1407405 w 2918007"/>
                    <a:gd name="connsiteY1621" fmla="*/ 427270 h 2013279"/>
                    <a:gd name="connsiteX1622" fmla="*/ 1388913 w 2918007"/>
                    <a:gd name="connsiteY1622" fmla="*/ 376783 h 2013279"/>
                    <a:gd name="connsiteX1623" fmla="*/ 1376701 w 2918007"/>
                    <a:gd name="connsiteY1623" fmla="*/ 374570 h 2013279"/>
                    <a:gd name="connsiteX1624" fmla="*/ 2162702 w 2918007"/>
                    <a:gd name="connsiteY1624" fmla="*/ 330126 h 2013279"/>
                    <a:gd name="connsiteX1625" fmla="*/ 2162702 w 2918007"/>
                    <a:gd name="connsiteY1625" fmla="*/ 330126 h 2013279"/>
                    <a:gd name="connsiteX1626" fmla="*/ 2198250 w 2918007"/>
                    <a:gd name="connsiteY1626" fmla="*/ 339842 h 2013279"/>
                    <a:gd name="connsiteX1627" fmla="*/ 2235564 w 2918007"/>
                    <a:gd name="connsiteY1627" fmla="*/ 358774 h 2013279"/>
                    <a:gd name="connsiteX1628" fmla="*/ 2242980 w 2918007"/>
                    <a:gd name="connsiteY1628" fmla="*/ 363926 h 2013279"/>
                    <a:gd name="connsiteX1629" fmla="*/ 2254374 w 2918007"/>
                    <a:gd name="connsiteY1629" fmla="*/ 373450 h 2013279"/>
                    <a:gd name="connsiteX1630" fmla="*/ 2266805 w 2918007"/>
                    <a:gd name="connsiteY1630" fmla="*/ 386930 h 2013279"/>
                    <a:gd name="connsiteX1631" fmla="*/ 2266815 w 2918007"/>
                    <a:gd name="connsiteY1631" fmla="*/ 386942 h 2013279"/>
                    <a:gd name="connsiteX1632" fmla="*/ 2277149 w 2918007"/>
                    <a:gd name="connsiteY1632" fmla="*/ 391560 h 2013279"/>
                    <a:gd name="connsiteX1633" fmla="*/ 2277150 w 2918007"/>
                    <a:gd name="connsiteY1633" fmla="*/ 391560 h 2013279"/>
                    <a:gd name="connsiteX1634" fmla="*/ 2266816 w 2918007"/>
                    <a:gd name="connsiteY1634" fmla="*/ 386942 h 2013279"/>
                    <a:gd name="connsiteX1635" fmla="*/ 2266805 w 2918007"/>
                    <a:gd name="connsiteY1635" fmla="*/ 386930 h 2013279"/>
                    <a:gd name="connsiteX1636" fmla="*/ 2257810 w 2918007"/>
                    <a:gd name="connsiteY1636" fmla="*/ 376322 h 2013279"/>
                    <a:gd name="connsiteX1637" fmla="*/ 2254374 w 2918007"/>
                    <a:gd name="connsiteY1637" fmla="*/ 373450 h 2013279"/>
                    <a:gd name="connsiteX1638" fmla="*/ 2250249 w 2918007"/>
                    <a:gd name="connsiteY1638" fmla="*/ 368977 h 2013279"/>
                    <a:gd name="connsiteX1639" fmla="*/ 2242980 w 2918007"/>
                    <a:gd name="connsiteY1639" fmla="*/ 363926 h 2013279"/>
                    <a:gd name="connsiteX1640" fmla="*/ 2238750 w 2918007"/>
                    <a:gd name="connsiteY1640" fmla="*/ 360391 h 2013279"/>
                    <a:gd name="connsiteX1641" fmla="*/ 2235564 w 2918007"/>
                    <a:gd name="connsiteY1641" fmla="*/ 358774 h 2013279"/>
                    <a:gd name="connsiteX1642" fmla="*/ 2231080 w 2918007"/>
                    <a:gd name="connsiteY1642" fmla="*/ 355659 h 2013279"/>
                    <a:gd name="connsiteX1643" fmla="*/ 2198251 w 2918007"/>
                    <a:gd name="connsiteY1643" fmla="*/ 339842 h 2013279"/>
                    <a:gd name="connsiteX1644" fmla="*/ 2162702 w 2918007"/>
                    <a:gd name="connsiteY1644" fmla="*/ 330126 h 2013279"/>
                    <a:gd name="connsiteX1645" fmla="*/ 1722646 w 2918007"/>
                    <a:gd name="connsiteY1645" fmla="*/ 308865 h 2013279"/>
                    <a:gd name="connsiteX1646" fmla="*/ 1634240 w 2918007"/>
                    <a:gd name="connsiteY1646" fmla="*/ 321372 h 2013279"/>
                    <a:gd name="connsiteX1647" fmla="*/ 1722646 w 2918007"/>
                    <a:gd name="connsiteY1647" fmla="*/ 308865 h 2013279"/>
                    <a:gd name="connsiteX1648" fmla="*/ 2276677 w 2918007"/>
                    <a:gd name="connsiteY1648" fmla="*/ 307057 h 2013279"/>
                    <a:gd name="connsiteX1649" fmla="*/ 2261739 w 2918007"/>
                    <a:gd name="connsiteY1649" fmla="*/ 308442 h 2013279"/>
                    <a:gd name="connsiteX1650" fmla="*/ 2201515 w 2918007"/>
                    <a:gd name="connsiteY1650" fmla="*/ 313492 h 2013279"/>
                    <a:gd name="connsiteX1651" fmla="*/ 2201515 w 2918007"/>
                    <a:gd name="connsiteY1651" fmla="*/ 313492 h 2013279"/>
                    <a:gd name="connsiteX1652" fmla="*/ 2261740 w 2918007"/>
                    <a:gd name="connsiteY1652" fmla="*/ 308442 h 2013279"/>
                    <a:gd name="connsiteX1653" fmla="*/ 2276678 w 2918007"/>
                    <a:gd name="connsiteY1653" fmla="*/ 307057 h 2013279"/>
                    <a:gd name="connsiteX1654" fmla="*/ 1491852 w 2918007"/>
                    <a:gd name="connsiteY1654" fmla="*/ 284430 h 2013279"/>
                    <a:gd name="connsiteX1655" fmla="*/ 1491852 w 2918007"/>
                    <a:gd name="connsiteY1655" fmla="*/ 284430 h 2013279"/>
                    <a:gd name="connsiteX1656" fmla="*/ 1528527 w 2918007"/>
                    <a:gd name="connsiteY1656" fmla="*/ 291683 h 2013279"/>
                    <a:gd name="connsiteX1657" fmla="*/ 1528528 w 2918007"/>
                    <a:gd name="connsiteY1657" fmla="*/ 291683 h 2013279"/>
                    <a:gd name="connsiteX1658" fmla="*/ 2045959 w 2918007"/>
                    <a:gd name="connsiteY1658" fmla="*/ 268836 h 2013279"/>
                    <a:gd name="connsiteX1659" fmla="*/ 2000798 w 2918007"/>
                    <a:gd name="connsiteY1659" fmla="*/ 296574 h 2013279"/>
                    <a:gd name="connsiteX1660" fmla="*/ 1999405 w 2918007"/>
                    <a:gd name="connsiteY1660" fmla="*/ 303145 h 2013279"/>
                    <a:gd name="connsiteX1661" fmla="*/ 1996823 w 2918007"/>
                    <a:gd name="connsiteY1661" fmla="*/ 306490 h 2013279"/>
                    <a:gd name="connsiteX1662" fmla="*/ 1997476 w 2918007"/>
                    <a:gd name="connsiteY1662" fmla="*/ 312248 h 2013279"/>
                    <a:gd name="connsiteX1663" fmla="*/ 1996746 w 2918007"/>
                    <a:gd name="connsiteY1663" fmla="*/ 315691 h 2013279"/>
                    <a:gd name="connsiteX1664" fmla="*/ 1997997 w 2918007"/>
                    <a:gd name="connsiteY1664" fmla="*/ 316846 h 2013279"/>
                    <a:gd name="connsiteX1665" fmla="*/ 1998324 w 2918007"/>
                    <a:gd name="connsiteY1665" fmla="*/ 319727 h 2013279"/>
                    <a:gd name="connsiteX1666" fmla="*/ 2010243 w 2918007"/>
                    <a:gd name="connsiteY1666" fmla="*/ 328141 h 2013279"/>
                    <a:gd name="connsiteX1667" fmla="*/ 2010246 w 2918007"/>
                    <a:gd name="connsiteY1667" fmla="*/ 328144 h 2013279"/>
                    <a:gd name="connsiteX1668" fmla="*/ 2152636 w 2918007"/>
                    <a:gd name="connsiteY1668" fmla="*/ 405105 h 2013279"/>
                    <a:gd name="connsiteX1669" fmla="*/ 2152644 w 2918007"/>
                    <a:gd name="connsiteY1669" fmla="*/ 405111 h 2013279"/>
                    <a:gd name="connsiteX1670" fmla="*/ 2174052 w 2918007"/>
                    <a:gd name="connsiteY1670" fmla="*/ 422941 h 2013279"/>
                    <a:gd name="connsiteX1671" fmla="*/ 2178554 w 2918007"/>
                    <a:gd name="connsiteY1671" fmla="*/ 436361 h 2013279"/>
                    <a:gd name="connsiteX1672" fmla="*/ 2162499 w 2918007"/>
                    <a:gd name="connsiteY1672" fmla="*/ 440815 h 2013279"/>
                    <a:gd name="connsiteX1673" fmla="*/ 2162499 w 2918007"/>
                    <a:gd name="connsiteY1673" fmla="*/ 440815 h 2013279"/>
                    <a:gd name="connsiteX1674" fmla="*/ 2177679 w 2918007"/>
                    <a:gd name="connsiteY1674" fmla="*/ 425961 h 2013279"/>
                    <a:gd name="connsiteX1675" fmla="*/ 2174052 w 2918007"/>
                    <a:gd name="connsiteY1675" fmla="*/ 422941 h 2013279"/>
                    <a:gd name="connsiteX1676" fmla="*/ 2173039 w 2918007"/>
                    <a:gd name="connsiteY1676" fmla="*/ 419921 h 2013279"/>
                    <a:gd name="connsiteX1677" fmla="*/ 2152644 w 2918007"/>
                    <a:gd name="connsiteY1677" fmla="*/ 405111 h 2013279"/>
                    <a:gd name="connsiteX1678" fmla="*/ 2152637 w 2918007"/>
                    <a:gd name="connsiteY1678" fmla="*/ 405105 h 2013279"/>
                    <a:gd name="connsiteX1679" fmla="*/ 2010247 w 2918007"/>
                    <a:gd name="connsiteY1679" fmla="*/ 328144 h 2013279"/>
                    <a:gd name="connsiteX1680" fmla="*/ 2010243 w 2918007"/>
                    <a:gd name="connsiteY1680" fmla="*/ 328141 h 2013279"/>
                    <a:gd name="connsiteX1681" fmla="*/ 1997997 w 2918007"/>
                    <a:gd name="connsiteY1681" fmla="*/ 316846 h 2013279"/>
                    <a:gd name="connsiteX1682" fmla="*/ 1997476 w 2918007"/>
                    <a:gd name="connsiteY1682" fmla="*/ 312248 h 2013279"/>
                    <a:gd name="connsiteX1683" fmla="*/ 1999405 w 2918007"/>
                    <a:gd name="connsiteY1683" fmla="*/ 303145 h 2013279"/>
                    <a:gd name="connsiteX1684" fmla="*/ 2018504 w 2918007"/>
                    <a:gd name="connsiteY1684" fmla="*/ 278415 h 2013279"/>
                    <a:gd name="connsiteX1685" fmla="*/ 2045960 w 2918007"/>
                    <a:gd name="connsiteY1685" fmla="*/ 268836 h 2013279"/>
                    <a:gd name="connsiteX1686" fmla="*/ 1742188 w 2918007"/>
                    <a:gd name="connsiteY1686" fmla="*/ 244411 h 2013279"/>
                    <a:gd name="connsiteX1687" fmla="*/ 1782072 w 2918007"/>
                    <a:gd name="connsiteY1687" fmla="*/ 251164 h 2013279"/>
                    <a:gd name="connsiteX1688" fmla="*/ 1798204 w 2918007"/>
                    <a:gd name="connsiteY1688" fmla="*/ 255493 h 2013279"/>
                    <a:gd name="connsiteX1689" fmla="*/ 1846861 w 2918007"/>
                    <a:gd name="connsiteY1689" fmla="*/ 264921 h 2013279"/>
                    <a:gd name="connsiteX1690" fmla="*/ 1846861 w 2918007"/>
                    <a:gd name="connsiteY1690" fmla="*/ 264920 h 2013279"/>
                    <a:gd name="connsiteX1691" fmla="*/ 1826983 w 2918007"/>
                    <a:gd name="connsiteY1691" fmla="*/ 264406 h 2013279"/>
                    <a:gd name="connsiteX1692" fmla="*/ 1798205 w 2918007"/>
                    <a:gd name="connsiteY1692" fmla="*/ 255493 h 2013279"/>
                    <a:gd name="connsiteX1693" fmla="*/ 1742189 w 2918007"/>
                    <a:gd name="connsiteY1693" fmla="*/ 244411 h 2013279"/>
                    <a:gd name="connsiteX1694" fmla="*/ 1258331 w 2918007"/>
                    <a:gd name="connsiteY1694" fmla="*/ 208229 h 2013279"/>
                    <a:gd name="connsiteX1695" fmla="*/ 1235624 w 2918007"/>
                    <a:gd name="connsiteY1695" fmla="*/ 208510 h 2013279"/>
                    <a:gd name="connsiteX1696" fmla="*/ 1228251 w 2918007"/>
                    <a:gd name="connsiteY1696" fmla="*/ 210998 h 2013279"/>
                    <a:gd name="connsiteX1697" fmla="*/ 1224160 w 2918007"/>
                    <a:gd name="connsiteY1697" fmla="*/ 211375 h 2013279"/>
                    <a:gd name="connsiteX1698" fmla="*/ 1216328 w 2918007"/>
                    <a:gd name="connsiteY1698" fmla="*/ 215022 h 2013279"/>
                    <a:gd name="connsiteX1699" fmla="*/ 1207474 w 2918007"/>
                    <a:gd name="connsiteY1699" fmla="*/ 218011 h 2013279"/>
                    <a:gd name="connsiteX1700" fmla="*/ 1197153 w 2918007"/>
                    <a:gd name="connsiteY1700" fmla="*/ 223954 h 2013279"/>
                    <a:gd name="connsiteX1701" fmla="*/ 1192085 w 2918007"/>
                    <a:gd name="connsiteY1701" fmla="*/ 226314 h 2013279"/>
                    <a:gd name="connsiteX1702" fmla="*/ 1187324 w 2918007"/>
                    <a:gd name="connsiteY1702" fmla="*/ 229613 h 2013279"/>
                    <a:gd name="connsiteX1703" fmla="*/ 1182930 w 2918007"/>
                    <a:gd name="connsiteY1703" fmla="*/ 232143 h 2013279"/>
                    <a:gd name="connsiteX1704" fmla="*/ 1171833 w 2918007"/>
                    <a:gd name="connsiteY1704" fmla="*/ 240347 h 2013279"/>
                    <a:gd name="connsiteX1705" fmla="*/ 1168299 w 2918007"/>
                    <a:gd name="connsiteY1705" fmla="*/ 242796 h 2013279"/>
                    <a:gd name="connsiteX1706" fmla="*/ 1166591 w 2918007"/>
                    <a:gd name="connsiteY1706" fmla="*/ 244223 h 2013279"/>
                    <a:gd name="connsiteX1707" fmla="*/ 1165576 w 2918007"/>
                    <a:gd name="connsiteY1707" fmla="*/ 244973 h 2013279"/>
                    <a:gd name="connsiteX1708" fmla="*/ 1159034 w 2918007"/>
                    <a:gd name="connsiteY1708" fmla="*/ 250535 h 2013279"/>
                    <a:gd name="connsiteX1709" fmla="*/ 1158994 w 2918007"/>
                    <a:gd name="connsiteY1709" fmla="*/ 250568 h 2013279"/>
                    <a:gd name="connsiteX1710" fmla="*/ 1000578 w 2918007"/>
                    <a:gd name="connsiteY1710" fmla="*/ 419266 h 2013279"/>
                    <a:gd name="connsiteX1711" fmla="*/ 966676 w 2918007"/>
                    <a:gd name="connsiteY1711" fmla="*/ 540556 h 2013279"/>
                    <a:gd name="connsiteX1712" fmla="*/ 959020 w 2918007"/>
                    <a:gd name="connsiteY1712" fmla="*/ 574964 h 2013279"/>
                    <a:gd name="connsiteX1713" fmla="*/ 958252 w 2918007"/>
                    <a:gd name="connsiteY1713" fmla="*/ 583939 h 2013279"/>
                    <a:gd name="connsiteX1714" fmla="*/ 957341 w 2918007"/>
                    <a:gd name="connsiteY1714" fmla="*/ 588629 h 2013279"/>
                    <a:gd name="connsiteX1715" fmla="*/ 957531 w 2918007"/>
                    <a:gd name="connsiteY1715" fmla="*/ 592353 h 2013279"/>
                    <a:gd name="connsiteX1716" fmla="*/ 956862 w 2918007"/>
                    <a:gd name="connsiteY1716" fmla="*/ 600172 h 2013279"/>
                    <a:gd name="connsiteX1717" fmla="*/ 963517 w 2918007"/>
                    <a:gd name="connsiteY1717" fmla="*/ 628677 h 2013279"/>
                    <a:gd name="connsiteX1718" fmla="*/ 965238 w 2918007"/>
                    <a:gd name="connsiteY1718" fmla="*/ 629924 h 2013279"/>
                    <a:gd name="connsiteX1719" fmla="*/ 966461 w 2918007"/>
                    <a:gd name="connsiteY1719" fmla="*/ 632274 h 2013279"/>
                    <a:gd name="connsiteX1720" fmla="*/ 975601 w 2918007"/>
                    <a:gd name="connsiteY1720" fmla="*/ 637438 h 2013279"/>
                    <a:gd name="connsiteX1721" fmla="*/ 975604 w 2918007"/>
                    <a:gd name="connsiteY1721" fmla="*/ 637440 h 2013279"/>
                    <a:gd name="connsiteX1722" fmla="*/ 982086 w 2918007"/>
                    <a:gd name="connsiteY1722" fmla="*/ 637835 h 2013279"/>
                    <a:gd name="connsiteX1723" fmla="*/ 982086 w 2918007"/>
                    <a:gd name="connsiteY1723" fmla="*/ 637835 h 2013279"/>
                    <a:gd name="connsiteX1724" fmla="*/ 975605 w 2918007"/>
                    <a:gd name="connsiteY1724" fmla="*/ 637440 h 2013279"/>
                    <a:gd name="connsiteX1725" fmla="*/ 975601 w 2918007"/>
                    <a:gd name="connsiteY1725" fmla="*/ 637438 h 2013279"/>
                    <a:gd name="connsiteX1726" fmla="*/ 965238 w 2918007"/>
                    <a:gd name="connsiteY1726" fmla="*/ 629924 h 2013279"/>
                    <a:gd name="connsiteX1727" fmla="*/ 958821 w 2918007"/>
                    <a:gd name="connsiteY1727" fmla="*/ 617603 h 2013279"/>
                    <a:gd name="connsiteX1728" fmla="*/ 957531 w 2918007"/>
                    <a:gd name="connsiteY1728" fmla="*/ 592353 h 2013279"/>
                    <a:gd name="connsiteX1729" fmla="*/ 958252 w 2918007"/>
                    <a:gd name="connsiteY1729" fmla="*/ 583939 h 2013279"/>
                    <a:gd name="connsiteX1730" fmla="*/ 966677 w 2918007"/>
                    <a:gd name="connsiteY1730" fmla="*/ 540556 h 2013279"/>
                    <a:gd name="connsiteX1731" fmla="*/ 1000579 w 2918007"/>
                    <a:gd name="connsiteY1731" fmla="*/ 419266 h 2013279"/>
                    <a:gd name="connsiteX1732" fmla="*/ 1158995 w 2918007"/>
                    <a:gd name="connsiteY1732" fmla="*/ 250568 h 2013279"/>
                    <a:gd name="connsiteX1733" fmla="*/ 1159034 w 2918007"/>
                    <a:gd name="connsiteY1733" fmla="*/ 250535 h 2013279"/>
                    <a:gd name="connsiteX1734" fmla="*/ 1166591 w 2918007"/>
                    <a:gd name="connsiteY1734" fmla="*/ 244223 h 2013279"/>
                    <a:gd name="connsiteX1735" fmla="*/ 1171833 w 2918007"/>
                    <a:gd name="connsiteY1735" fmla="*/ 240347 h 2013279"/>
                    <a:gd name="connsiteX1736" fmla="*/ 1187324 w 2918007"/>
                    <a:gd name="connsiteY1736" fmla="*/ 229613 h 2013279"/>
                    <a:gd name="connsiteX1737" fmla="*/ 1197153 w 2918007"/>
                    <a:gd name="connsiteY1737" fmla="*/ 223954 h 2013279"/>
                    <a:gd name="connsiteX1738" fmla="*/ 1216328 w 2918007"/>
                    <a:gd name="connsiteY1738" fmla="*/ 215022 h 2013279"/>
                    <a:gd name="connsiteX1739" fmla="*/ 1228251 w 2918007"/>
                    <a:gd name="connsiteY1739" fmla="*/ 210998 h 2013279"/>
                    <a:gd name="connsiteX1740" fmla="*/ 1240946 w 2918007"/>
                    <a:gd name="connsiteY1740" fmla="*/ 169855 h 2013279"/>
                    <a:gd name="connsiteX1741" fmla="*/ 1195047 w 2918007"/>
                    <a:gd name="connsiteY1741" fmla="*/ 173960 h 2013279"/>
                    <a:gd name="connsiteX1742" fmla="*/ 1187197 w 2918007"/>
                    <a:gd name="connsiteY1742" fmla="*/ 176966 h 2013279"/>
                    <a:gd name="connsiteX1743" fmla="*/ 1182340 w 2918007"/>
                    <a:gd name="connsiteY1743" fmla="*/ 177609 h 2013279"/>
                    <a:gd name="connsiteX1744" fmla="*/ 1174148 w 2918007"/>
                    <a:gd name="connsiteY1744" fmla="*/ 181965 h 2013279"/>
                    <a:gd name="connsiteX1745" fmla="*/ 1160387 w 2918007"/>
                    <a:gd name="connsiteY1745" fmla="*/ 187236 h 2013279"/>
                    <a:gd name="connsiteX1746" fmla="*/ 1152591 w 2918007"/>
                    <a:gd name="connsiteY1746" fmla="*/ 193427 h 2013279"/>
                    <a:gd name="connsiteX1747" fmla="*/ 1142573 w 2918007"/>
                    <a:gd name="connsiteY1747" fmla="*/ 198754 h 2013279"/>
                    <a:gd name="connsiteX1748" fmla="*/ 1117081 w 2918007"/>
                    <a:gd name="connsiteY1748" fmla="*/ 221627 h 2013279"/>
                    <a:gd name="connsiteX1749" fmla="*/ 1117078 w 2918007"/>
                    <a:gd name="connsiteY1749" fmla="*/ 221630 h 2013279"/>
                    <a:gd name="connsiteX1750" fmla="*/ 1006125 w 2918007"/>
                    <a:gd name="connsiteY1750" fmla="*/ 350925 h 2013279"/>
                    <a:gd name="connsiteX1751" fmla="*/ 919887 w 2918007"/>
                    <a:gd name="connsiteY1751" fmla="*/ 432760 h 2013279"/>
                    <a:gd name="connsiteX1752" fmla="*/ 1006125 w 2918007"/>
                    <a:gd name="connsiteY1752" fmla="*/ 350925 h 2013279"/>
                    <a:gd name="connsiteX1753" fmla="*/ 1117078 w 2918007"/>
                    <a:gd name="connsiteY1753" fmla="*/ 221630 h 2013279"/>
                    <a:gd name="connsiteX1754" fmla="*/ 1117081 w 2918007"/>
                    <a:gd name="connsiteY1754" fmla="*/ 221627 h 2013279"/>
                    <a:gd name="connsiteX1755" fmla="*/ 1152591 w 2918007"/>
                    <a:gd name="connsiteY1755" fmla="*/ 193427 h 2013279"/>
                    <a:gd name="connsiteX1756" fmla="*/ 1174148 w 2918007"/>
                    <a:gd name="connsiteY1756" fmla="*/ 181965 h 2013279"/>
                    <a:gd name="connsiteX1757" fmla="*/ 1187197 w 2918007"/>
                    <a:gd name="connsiteY1757" fmla="*/ 176966 h 2013279"/>
                    <a:gd name="connsiteX1758" fmla="*/ 1240946 w 2918007"/>
                    <a:gd name="connsiteY1758" fmla="*/ 169855 h 2013279"/>
                    <a:gd name="connsiteX1759" fmla="*/ 1250154 w 2918007"/>
                    <a:gd name="connsiteY1759" fmla="*/ 106699 h 2013279"/>
                    <a:gd name="connsiteX1760" fmla="*/ 1301999 w 2918007"/>
                    <a:gd name="connsiteY1760" fmla="*/ 118811 h 2013279"/>
                    <a:gd name="connsiteX1761" fmla="*/ 1302001 w 2918007"/>
                    <a:gd name="connsiteY1761" fmla="*/ 118813 h 2013279"/>
                    <a:gd name="connsiteX1762" fmla="*/ 1327415 w 2918007"/>
                    <a:gd name="connsiteY1762" fmla="*/ 138605 h 2013279"/>
                    <a:gd name="connsiteX1763" fmla="*/ 1330640 w 2918007"/>
                    <a:gd name="connsiteY1763" fmla="*/ 144977 h 2013279"/>
                    <a:gd name="connsiteX1764" fmla="*/ 1333005 w 2918007"/>
                    <a:gd name="connsiteY1764" fmla="*/ 156715 h 2013279"/>
                    <a:gd name="connsiteX1765" fmla="*/ 1327830 w 2918007"/>
                    <a:gd name="connsiteY1765" fmla="*/ 180110 h 2013279"/>
                    <a:gd name="connsiteX1766" fmla="*/ 1322957 w 2918007"/>
                    <a:gd name="connsiteY1766" fmla="*/ 187152 h 2013279"/>
                    <a:gd name="connsiteX1767" fmla="*/ 1322957 w 2918007"/>
                    <a:gd name="connsiteY1767" fmla="*/ 187152 h 2013279"/>
                    <a:gd name="connsiteX1768" fmla="*/ 1334206 w 2918007"/>
                    <a:gd name="connsiteY1768" fmla="*/ 162678 h 2013279"/>
                    <a:gd name="connsiteX1769" fmla="*/ 1333005 w 2918007"/>
                    <a:gd name="connsiteY1769" fmla="*/ 156715 h 2013279"/>
                    <a:gd name="connsiteX1770" fmla="*/ 1334093 w 2918007"/>
                    <a:gd name="connsiteY1770" fmla="*/ 151798 h 2013279"/>
                    <a:gd name="connsiteX1771" fmla="*/ 1330640 w 2918007"/>
                    <a:gd name="connsiteY1771" fmla="*/ 144977 h 2013279"/>
                    <a:gd name="connsiteX1772" fmla="*/ 1329718 w 2918007"/>
                    <a:gd name="connsiteY1772" fmla="*/ 140398 h 2013279"/>
                    <a:gd name="connsiteX1773" fmla="*/ 1327415 w 2918007"/>
                    <a:gd name="connsiteY1773" fmla="*/ 138605 h 2013279"/>
                    <a:gd name="connsiteX1774" fmla="*/ 1325449 w 2918007"/>
                    <a:gd name="connsiteY1774" fmla="*/ 134720 h 2013279"/>
                    <a:gd name="connsiteX1775" fmla="*/ 1302001 w 2918007"/>
                    <a:gd name="connsiteY1775" fmla="*/ 118813 h 2013279"/>
                    <a:gd name="connsiteX1776" fmla="*/ 1301999 w 2918007"/>
                    <a:gd name="connsiteY1776" fmla="*/ 118811 h 2013279"/>
                    <a:gd name="connsiteX1777" fmla="*/ 1250154 w 2918007"/>
                    <a:gd name="connsiteY1777" fmla="*/ 106699 h 2013279"/>
                    <a:gd name="connsiteX1778" fmla="*/ 1563370 w 2918007"/>
                    <a:gd name="connsiteY1778" fmla="*/ 77426 h 2013279"/>
                    <a:gd name="connsiteX1779" fmla="*/ 1522116 w 2918007"/>
                    <a:gd name="connsiteY1779" fmla="*/ 79997 h 2013279"/>
                    <a:gd name="connsiteX1780" fmla="*/ 1519315 w 2918007"/>
                    <a:gd name="connsiteY1780" fmla="*/ 80733 h 2013279"/>
                    <a:gd name="connsiteX1781" fmla="*/ 1516864 w 2918007"/>
                    <a:gd name="connsiteY1781" fmla="*/ 80917 h 2013279"/>
                    <a:gd name="connsiteX1782" fmla="*/ 1512508 w 2918007"/>
                    <a:gd name="connsiteY1782" fmla="*/ 82522 h 2013279"/>
                    <a:gd name="connsiteX1783" fmla="*/ 1488353 w 2918007"/>
                    <a:gd name="connsiteY1783" fmla="*/ 88869 h 2013279"/>
                    <a:gd name="connsiteX1784" fmla="*/ 1477324 w 2918007"/>
                    <a:gd name="connsiteY1784" fmla="*/ 95483 h 2013279"/>
                    <a:gd name="connsiteX1785" fmla="*/ 1464426 w 2918007"/>
                    <a:gd name="connsiteY1785" fmla="*/ 100234 h 2013279"/>
                    <a:gd name="connsiteX1786" fmla="*/ 1447183 w 2918007"/>
                    <a:gd name="connsiteY1786" fmla="*/ 113555 h 2013279"/>
                    <a:gd name="connsiteX1787" fmla="*/ 1438286 w 2918007"/>
                    <a:gd name="connsiteY1787" fmla="*/ 118890 h 2013279"/>
                    <a:gd name="connsiteX1788" fmla="*/ 1431677 w 2918007"/>
                    <a:gd name="connsiteY1788" fmla="*/ 125534 h 2013279"/>
                    <a:gd name="connsiteX1789" fmla="*/ 1427160 w 2918007"/>
                    <a:gd name="connsiteY1789" fmla="*/ 129023 h 2013279"/>
                    <a:gd name="connsiteX1790" fmla="*/ 1405024 w 2918007"/>
                    <a:gd name="connsiteY1790" fmla="*/ 152329 h 2013279"/>
                    <a:gd name="connsiteX1791" fmla="*/ 1403139 w 2918007"/>
                    <a:gd name="connsiteY1791" fmla="*/ 154225 h 2013279"/>
                    <a:gd name="connsiteX1792" fmla="*/ 1372886 w 2918007"/>
                    <a:gd name="connsiteY1792" fmla="*/ 181611 h 2013279"/>
                    <a:gd name="connsiteX1793" fmla="*/ 1343915 w 2918007"/>
                    <a:gd name="connsiteY1793" fmla="*/ 345383 h 2013279"/>
                    <a:gd name="connsiteX1794" fmla="*/ 1296452 w 2918007"/>
                    <a:gd name="connsiteY1794" fmla="*/ 427270 h 2013279"/>
                    <a:gd name="connsiteX1795" fmla="*/ 1251454 w 2918007"/>
                    <a:gd name="connsiteY1795" fmla="*/ 530089 h 2013279"/>
                    <a:gd name="connsiteX1796" fmla="*/ 1232962 w 2918007"/>
                    <a:gd name="connsiteY1796" fmla="*/ 711717 h 2013279"/>
                    <a:gd name="connsiteX1797" fmla="*/ 1283507 w 2918007"/>
                    <a:gd name="connsiteY1797" fmla="*/ 938906 h 2013279"/>
                    <a:gd name="connsiteX1798" fmla="*/ 1283525 w 2918007"/>
                    <a:gd name="connsiteY1798" fmla="*/ 938921 h 2013279"/>
                    <a:gd name="connsiteX1799" fmla="*/ 1312878 w 2918007"/>
                    <a:gd name="connsiteY1799" fmla="*/ 964229 h 2013279"/>
                    <a:gd name="connsiteX1800" fmla="*/ 1317923 w 2918007"/>
                    <a:gd name="connsiteY1800" fmla="*/ 970009 h 2013279"/>
                    <a:gd name="connsiteX1801" fmla="*/ 1324020 w 2918007"/>
                    <a:gd name="connsiteY1801" fmla="*/ 978931 h 2013279"/>
                    <a:gd name="connsiteX1802" fmla="*/ 1327369 w 2918007"/>
                    <a:gd name="connsiteY1802" fmla="*/ 991979 h 2013279"/>
                    <a:gd name="connsiteX1803" fmla="*/ 1325423 w 2918007"/>
                    <a:gd name="connsiteY1803" fmla="*/ 994317 h 2013279"/>
                    <a:gd name="connsiteX1804" fmla="*/ 1325424 w 2918007"/>
                    <a:gd name="connsiteY1804" fmla="*/ 994317 h 2013279"/>
                    <a:gd name="connsiteX1805" fmla="*/ 1327119 w 2918007"/>
                    <a:gd name="connsiteY1805" fmla="*/ 983466 h 2013279"/>
                    <a:gd name="connsiteX1806" fmla="*/ 1324020 w 2918007"/>
                    <a:gd name="connsiteY1806" fmla="*/ 978931 h 2013279"/>
                    <a:gd name="connsiteX1807" fmla="*/ 1323316 w 2918007"/>
                    <a:gd name="connsiteY1807" fmla="*/ 976190 h 2013279"/>
                    <a:gd name="connsiteX1808" fmla="*/ 1317923 w 2918007"/>
                    <a:gd name="connsiteY1808" fmla="*/ 970009 h 2013279"/>
                    <a:gd name="connsiteX1809" fmla="*/ 1315542 w 2918007"/>
                    <a:gd name="connsiteY1809" fmla="*/ 966525 h 2013279"/>
                    <a:gd name="connsiteX1810" fmla="*/ 1312878 w 2918007"/>
                    <a:gd name="connsiteY1810" fmla="*/ 964229 h 2013279"/>
                    <a:gd name="connsiteX1811" fmla="*/ 1309807 w 2918007"/>
                    <a:gd name="connsiteY1811" fmla="*/ 960709 h 2013279"/>
                    <a:gd name="connsiteX1812" fmla="*/ 1283525 w 2918007"/>
                    <a:gd name="connsiteY1812" fmla="*/ 938921 h 2013279"/>
                    <a:gd name="connsiteX1813" fmla="*/ 1283508 w 2918007"/>
                    <a:gd name="connsiteY1813" fmla="*/ 938906 h 2013279"/>
                    <a:gd name="connsiteX1814" fmla="*/ 1232963 w 2918007"/>
                    <a:gd name="connsiteY1814" fmla="*/ 711717 h 2013279"/>
                    <a:gd name="connsiteX1815" fmla="*/ 1251455 w 2918007"/>
                    <a:gd name="connsiteY1815" fmla="*/ 530089 h 2013279"/>
                    <a:gd name="connsiteX1816" fmla="*/ 1296453 w 2918007"/>
                    <a:gd name="connsiteY1816" fmla="*/ 427270 h 2013279"/>
                    <a:gd name="connsiteX1817" fmla="*/ 1343916 w 2918007"/>
                    <a:gd name="connsiteY1817" fmla="*/ 345383 h 2013279"/>
                    <a:gd name="connsiteX1818" fmla="*/ 1372887 w 2918007"/>
                    <a:gd name="connsiteY1818" fmla="*/ 181611 h 2013279"/>
                    <a:gd name="connsiteX1819" fmla="*/ 1398752 w 2918007"/>
                    <a:gd name="connsiteY1819" fmla="*/ 158933 h 2013279"/>
                    <a:gd name="connsiteX1820" fmla="*/ 1405024 w 2918007"/>
                    <a:gd name="connsiteY1820" fmla="*/ 152329 h 2013279"/>
                    <a:gd name="connsiteX1821" fmla="*/ 1431677 w 2918007"/>
                    <a:gd name="connsiteY1821" fmla="*/ 125534 h 2013279"/>
                    <a:gd name="connsiteX1822" fmla="*/ 1447183 w 2918007"/>
                    <a:gd name="connsiteY1822" fmla="*/ 113555 h 2013279"/>
                    <a:gd name="connsiteX1823" fmla="*/ 1477324 w 2918007"/>
                    <a:gd name="connsiteY1823" fmla="*/ 95483 h 2013279"/>
                    <a:gd name="connsiteX1824" fmla="*/ 1512508 w 2918007"/>
                    <a:gd name="connsiteY1824" fmla="*/ 82522 h 2013279"/>
                    <a:gd name="connsiteX1825" fmla="*/ 1519315 w 2918007"/>
                    <a:gd name="connsiteY1825" fmla="*/ 80733 h 2013279"/>
                    <a:gd name="connsiteX1826" fmla="*/ 1563370 w 2918007"/>
                    <a:gd name="connsiteY1826" fmla="*/ 77426 h 2013279"/>
                    <a:gd name="connsiteX1827" fmla="*/ 1758754 w 2918007"/>
                    <a:gd name="connsiteY1827" fmla="*/ 70787 h 2013279"/>
                    <a:gd name="connsiteX1828" fmla="*/ 1728001 w 2918007"/>
                    <a:gd name="connsiteY1828" fmla="*/ 75520 h 2013279"/>
                    <a:gd name="connsiteX1829" fmla="*/ 1727998 w 2918007"/>
                    <a:gd name="connsiteY1829" fmla="*/ 75525 h 2013279"/>
                    <a:gd name="connsiteX1830" fmla="*/ 1720376 w 2918007"/>
                    <a:gd name="connsiteY1830" fmla="*/ 84789 h 2013279"/>
                    <a:gd name="connsiteX1831" fmla="*/ 1720467 w 2918007"/>
                    <a:gd name="connsiteY1831" fmla="*/ 87354 h 2013279"/>
                    <a:gd name="connsiteX1832" fmla="*/ 1719843 w 2918007"/>
                    <a:gd name="connsiteY1832" fmla="*/ 88334 h 2013279"/>
                    <a:gd name="connsiteX1833" fmla="*/ 1720613 w 2918007"/>
                    <a:gd name="connsiteY1833" fmla="*/ 91443 h 2013279"/>
                    <a:gd name="connsiteX1834" fmla="*/ 1720753 w 2918007"/>
                    <a:gd name="connsiteY1834" fmla="*/ 95390 h 2013279"/>
                    <a:gd name="connsiteX1835" fmla="*/ 1722774 w 2918007"/>
                    <a:gd name="connsiteY1835" fmla="*/ 100181 h 2013279"/>
                    <a:gd name="connsiteX1836" fmla="*/ 1723128 w 2918007"/>
                    <a:gd name="connsiteY1836" fmla="*/ 101610 h 2013279"/>
                    <a:gd name="connsiteX1837" fmla="*/ 1724025 w 2918007"/>
                    <a:gd name="connsiteY1837" fmla="*/ 103145 h 2013279"/>
                    <a:gd name="connsiteX1838" fmla="*/ 1724431 w 2918007"/>
                    <a:gd name="connsiteY1838" fmla="*/ 104108 h 2013279"/>
                    <a:gd name="connsiteX1839" fmla="*/ 1726687 w 2918007"/>
                    <a:gd name="connsiteY1839" fmla="*/ 107704 h 2013279"/>
                    <a:gd name="connsiteX1840" fmla="*/ 1726701 w 2918007"/>
                    <a:gd name="connsiteY1840" fmla="*/ 107728 h 2013279"/>
                    <a:gd name="connsiteX1841" fmla="*/ 1726708 w 2918007"/>
                    <a:gd name="connsiteY1841" fmla="*/ 107741 h 2013279"/>
                    <a:gd name="connsiteX1842" fmla="*/ 1741857 w 2918007"/>
                    <a:gd name="connsiteY1842" fmla="*/ 142460 h 2013279"/>
                    <a:gd name="connsiteX1843" fmla="*/ 1742335 w 2918007"/>
                    <a:gd name="connsiteY1843" fmla="*/ 152329 h 2013279"/>
                    <a:gd name="connsiteX1844" fmla="*/ 1738549 w 2918007"/>
                    <a:gd name="connsiteY1844" fmla="*/ 175334 h 2013279"/>
                    <a:gd name="connsiteX1845" fmla="*/ 1735331 w 2918007"/>
                    <a:gd name="connsiteY1845" fmla="*/ 183550 h 2013279"/>
                    <a:gd name="connsiteX1846" fmla="*/ 1715961 w 2918007"/>
                    <a:gd name="connsiteY1846" fmla="*/ 206248 h 2013279"/>
                    <a:gd name="connsiteX1847" fmla="*/ 1715952 w 2918007"/>
                    <a:gd name="connsiteY1847" fmla="*/ 206257 h 2013279"/>
                    <a:gd name="connsiteX1848" fmla="*/ 1684786 w 2918007"/>
                    <a:gd name="connsiteY1848" fmla="*/ 216089 h 2013279"/>
                    <a:gd name="connsiteX1849" fmla="*/ 1684786 w 2918007"/>
                    <a:gd name="connsiteY1849" fmla="*/ 216089 h 2013279"/>
                    <a:gd name="connsiteX1850" fmla="*/ 1715953 w 2918007"/>
                    <a:gd name="connsiteY1850" fmla="*/ 206257 h 2013279"/>
                    <a:gd name="connsiteX1851" fmla="*/ 1715961 w 2918007"/>
                    <a:gd name="connsiteY1851" fmla="*/ 206248 h 2013279"/>
                    <a:gd name="connsiteX1852" fmla="*/ 1733462 w 2918007"/>
                    <a:gd name="connsiteY1852" fmla="*/ 188322 h 2013279"/>
                    <a:gd name="connsiteX1853" fmla="*/ 1735331 w 2918007"/>
                    <a:gd name="connsiteY1853" fmla="*/ 183550 h 2013279"/>
                    <a:gd name="connsiteX1854" fmla="*/ 1737643 w 2918007"/>
                    <a:gd name="connsiteY1854" fmla="*/ 180841 h 2013279"/>
                    <a:gd name="connsiteX1855" fmla="*/ 1738549 w 2918007"/>
                    <a:gd name="connsiteY1855" fmla="*/ 175334 h 2013279"/>
                    <a:gd name="connsiteX1856" fmla="*/ 1742910 w 2918007"/>
                    <a:gd name="connsiteY1856" fmla="*/ 164201 h 2013279"/>
                    <a:gd name="connsiteX1857" fmla="*/ 1742335 w 2918007"/>
                    <a:gd name="connsiteY1857" fmla="*/ 152329 h 2013279"/>
                    <a:gd name="connsiteX1858" fmla="*/ 1743383 w 2918007"/>
                    <a:gd name="connsiteY1858" fmla="*/ 145959 h 2013279"/>
                    <a:gd name="connsiteX1859" fmla="*/ 1741857 w 2918007"/>
                    <a:gd name="connsiteY1859" fmla="*/ 142460 h 2013279"/>
                    <a:gd name="connsiteX1860" fmla="*/ 1741567 w 2918007"/>
                    <a:gd name="connsiteY1860" fmla="*/ 136476 h 2013279"/>
                    <a:gd name="connsiteX1861" fmla="*/ 1726708 w 2918007"/>
                    <a:gd name="connsiteY1861" fmla="*/ 107741 h 2013279"/>
                    <a:gd name="connsiteX1862" fmla="*/ 1726702 w 2918007"/>
                    <a:gd name="connsiteY1862" fmla="*/ 107728 h 2013279"/>
                    <a:gd name="connsiteX1863" fmla="*/ 1726687 w 2918007"/>
                    <a:gd name="connsiteY1863" fmla="*/ 107704 h 2013279"/>
                    <a:gd name="connsiteX1864" fmla="*/ 1724025 w 2918007"/>
                    <a:gd name="connsiteY1864" fmla="*/ 103145 h 2013279"/>
                    <a:gd name="connsiteX1865" fmla="*/ 1722774 w 2918007"/>
                    <a:gd name="connsiteY1865" fmla="*/ 100181 h 2013279"/>
                    <a:gd name="connsiteX1866" fmla="*/ 1720613 w 2918007"/>
                    <a:gd name="connsiteY1866" fmla="*/ 91443 h 2013279"/>
                    <a:gd name="connsiteX1867" fmla="*/ 1720467 w 2918007"/>
                    <a:gd name="connsiteY1867" fmla="*/ 87354 h 2013279"/>
                    <a:gd name="connsiteX1868" fmla="*/ 1727998 w 2918007"/>
                    <a:gd name="connsiteY1868" fmla="*/ 75525 h 2013279"/>
                    <a:gd name="connsiteX1869" fmla="*/ 1728002 w 2918007"/>
                    <a:gd name="connsiteY1869" fmla="*/ 75520 h 2013279"/>
                    <a:gd name="connsiteX1870" fmla="*/ 1758754 w 2918007"/>
                    <a:gd name="connsiteY1870" fmla="*/ 70787 h 2013279"/>
                    <a:gd name="connsiteX1871" fmla="*/ 1761849 w 2918007"/>
                    <a:gd name="connsiteY1871" fmla="*/ 144 h 2013279"/>
                    <a:gd name="connsiteX1872" fmla="*/ 1877103 w 2918007"/>
                    <a:gd name="connsiteY1872" fmla="*/ 39387 h 2013279"/>
                    <a:gd name="connsiteX1873" fmla="*/ 2079284 w 2918007"/>
                    <a:gd name="connsiteY1873" fmla="*/ 86795 h 2013279"/>
                    <a:gd name="connsiteX1874" fmla="*/ 2253726 w 2918007"/>
                    <a:gd name="connsiteY1874" fmla="*/ 185920 h 2013279"/>
                    <a:gd name="connsiteX1875" fmla="*/ 2463303 w 2918007"/>
                    <a:gd name="connsiteY1875" fmla="*/ 355850 h 2013279"/>
                    <a:gd name="connsiteX1876" fmla="*/ 2704934 w 2918007"/>
                    <a:gd name="connsiteY1876" fmla="*/ 660615 h 2013279"/>
                    <a:gd name="connsiteX1877" fmla="*/ 2867664 w 2918007"/>
                    <a:gd name="connsiteY1877" fmla="*/ 937674 h 2013279"/>
                    <a:gd name="connsiteX1878" fmla="*/ 2796161 w 2918007"/>
                    <a:gd name="connsiteY1878" fmla="*/ 1585992 h 2013279"/>
                    <a:gd name="connsiteX1879" fmla="*/ 2665484 w 2918007"/>
                    <a:gd name="connsiteY1879" fmla="*/ 1582298 h 2013279"/>
                    <a:gd name="connsiteX1880" fmla="*/ 2447893 w 2918007"/>
                    <a:gd name="connsiteY1880" fmla="*/ 1633400 h 2013279"/>
                    <a:gd name="connsiteX1881" fmla="*/ 2304888 w 2918007"/>
                    <a:gd name="connsiteY1881" fmla="*/ 1724522 h 2013279"/>
                    <a:gd name="connsiteX1882" fmla="*/ 2095310 w 2918007"/>
                    <a:gd name="connsiteY1882" fmla="*/ 1799636 h 2013279"/>
                    <a:gd name="connsiteX1883" fmla="*/ 1877103 w 2918007"/>
                    <a:gd name="connsiteY1883" fmla="*/ 1847044 h 2013279"/>
                    <a:gd name="connsiteX1884" fmla="*/ 1445621 w 2918007"/>
                    <a:gd name="connsiteY1884" fmla="*/ 1965871 h 2013279"/>
                    <a:gd name="connsiteX1885" fmla="*/ 1243441 w 2918007"/>
                    <a:gd name="connsiteY1885" fmla="*/ 2013279 h 2013279"/>
                    <a:gd name="connsiteX1886" fmla="*/ 811957 w 2918007"/>
                    <a:gd name="connsiteY1886" fmla="*/ 1902456 h 2013279"/>
                    <a:gd name="connsiteX1887" fmla="*/ 705319 w 2918007"/>
                    <a:gd name="connsiteY1887" fmla="*/ 1763926 h 2013279"/>
                    <a:gd name="connsiteX1888" fmla="*/ 558615 w 2918007"/>
                    <a:gd name="connsiteY1888" fmla="*/ 1744224 h 2013279"/>
                    <a:gd name="connsiteX1889" fmla="*/ 67341 w 2918007"/>
                    <a:gd name="connsiteY1889" fmla="*/ 1424067 h 2013279"/>
                    <a:gd name="connsiteX1890" fmla="*/ 11865 w 2918007"/>
                    <a:gd name="connsiteY1890" fmla="*/ 1238129 h 2013279"/>
                    <a:gd name="connsiteX1891" fmla="*/ 59328 w 2918007"/>
                    <a:gd name="connsiteY1891" fmla="*/ 1024486 h 2013279"/>
                    <a:gd name="connsiteX1892" fmla="*/ 178294 w 2918007"/>
                    <a:gd name="connsiteY1892" fmla="*/ 724031 h 2013279"/>
                    <a:gd name="connsiteX1893" fmla="*/ 238085 w 2918007"/>
                    <a:gd name="connsiteY1893" fmla="*/ 640913 h 2013279"/>
                    <a:gd name="connsiteX1894" fmla="*/ 344723 w 2918007"/>
                    <a:gd name="connsiteY1894" fmla="*/ 478372 h 2013279"/>
                    <a:gd name="connsiteX1895" fmla="*/ 511152 w 2918007"/>
                    <a:gd name="connsiteY1895" fmla="*/ 347846 h 2013279"/>
                    <a:gd name="connsiteX1896" fmla="*/ 776206 w 2918007"/>
                    <a:gd name="connsiteY1896" fmla="*/ 225324 h 2013279"/>
                    <a:gd name="connsiteX1897" fmla="*/ 994414 w 2918007"/>
                    <a:gd name="connsiteY1897" fmla="*/ 134203 h 2013279"/>
                    <a:gd name="connsiteX1898" fmla="*/ 1188581 w 2918007"/>
                    <a:gd name="connsiteY1898" fmla="*/ 39387 h 2013279"/>
                    <a:gd name="connsiteX1899" fmla="*/ 1378433 w 2918007"/>
                    <a:gd name="connsiteY1899" fmla="*/ 70787 h 2013279"/>
                    <a:gd name="connsiteX1900" fmla="*/ 1655814 w 2918007"/>
                    <a:gd name="connsiteY1900" fmla="*/ 19685 h 2013279"/>
                    <a:gd name="connsiteX1901" fmla="*/ 1761849 w 2918007"/>
                    <a:gd name="connsiteY1901" fmla="*/ 144 h 201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Lst>
                  <a:rect l="l" t="t" r="r" b="b"/>
                  <a:pathLst>
                    <a:path w="2918007" h="2013279">
                      <a:moveTo>
                        <a:pt x="919617" y="1842840"/>
                      </a:moveTo>
                      <a:lnTo>
                        <a:pt x="946395" y="1843537"/>
                      </a:lnTo>
                      <a:cubicBezTo>
                        <a:pt x="955561" y="1845197"/>
                        <a:pt x="964981" y="1848661"/>
                        <a:pt x="974689" y="1855048"/>
                      </a:cubicBezTo>
                      <a:cubicBezTo>
                        <a:pt x="1013214" y="1880907"/>
                        <a:pt x="1048811" y="1890758"/>
                        <a:pt x="1080710" y="1890450"/>
                      </a:cubicBezTo>
                      <a:lnTo>
                        <a:pt x="1080710" y="1890450"/>
                      </a:lnTo>
                      <a:lnTo>
                        <a:pt x="1030185" y="1882561"/>
                      </a:lnTo>
                      <a:cubicBezTo>
                        <a:pt x="1012483" y="1876905"/>
                        <a:pt x="993952" y="1867978"/>
                        <a:pt x="974690" y="1855048"/>
                      </a:cubicBezTo>
                      <a:cubicBezTo>
                        <a:pt x="955273" y="1842273"/>
                        <a:pt x="937011" y="1841195"/>
                        <a:pt x="919617" y="1842840"/>
                      </a:cubicBezTo>
                      <a:close/>
                      <a:moveTo>
                        <a:pt x="1312420" y="1839964"/>
                      </a:moveTo>
                      <a:lnTo>
                        <a:pt x="1352544" y="1841503"/>
                      </a:lnTo>
                      <a:lnTo>
                        <a:pt x="1352544" y="1841503"/>
                      </a:lnTo>
                      <a:lnTo>
                        <a:pt x="1312421" y="1839964"/>
                      </a:lnTo>
                      <a:close/>
                      <a:moveTo>
                        <a:pt x="1403032" y="1782012"/>
                      </a:moveTo>
                      <a:lnTo>
                        <a:pt x="1403034" y="1782014"/>
                      </a:lnTo>
                      <a:lnTo>
                        <a:pt x="1411936" y="1798116"/>
                      </a:lnTo>
                      <a:lnTo>
                        <a:pt x="1413421" y="1803975"/>
                      </a:lnTo>
                      <a:lnTo>
                        <a:pt x="1416034" y="1835335"/>
                      </a:lnTo>
                      <a:lnTo>
                        <a:pt x="1416034" y="1835346"/>
                      </a:lnTo>
                      <a:cubicBezTo>
                        <a:pt x="1414185" y="1871056"/>
                        <a:pt x="1313095" y="1887063"/>
                        <a:pt x="1259467" y="1890757"/>
                      </a:cubicBezTo>
                      <a:cubicBezTo>
                        <a:pt x="1205840" y="1894452"/>
                        <a:pt x="1198443" y="1926467"/>
                        <a:pt x="1210155" y="1942475"/>
                      </a:cubicBezTo>
                      <a:cubicBezTo>
                        <a:pt x="1213083" y="1946323"/>
                        <a:pt x="1217514" y="1950595"/>
                        <a:pt x="1224246" y="1953933"/>
                      </a:cubicBezTo>
                      <a:lnTo>
                        <a:pt x="1224246" y="1953933"/>
                      </a:lnTo>
                      <a:lnTo>
                        <a:pt x="1228713" y="1954871"/>
                      </a:lnTo>
                      <a:lnTo>
                        <a:pt x="1252148" y="1959791"/>
                      </a:lnTo>
                      <a:lnTo>
                        <a:pt x="1252148" y="1959791"/>
                      </a:lnTo>
                      <a:lnTo>
                        <a:pt x="1228713" y="1954871"/>
                      </a:lnTo>
                      <a:lnTo>
                        <a:pt x="1224246" y="1953933"/>
                      </a:lnTo>
                      <a:lnTo>
                        <a:pt x="1224246" y="1953933"/>
                      </a:lnTo>
                      <a:lnTo>
                        <a:pt x="1210156" y="1942475"/>
                      </a:lnTo>
                      <a:cubicBezTo>
                        <a:pt x="1198444" y="1926467"/>
                        <a:pt x="1205841" y="1894452"/>
                        <a:pt x="1259468" y="1890757"/>
                      </a:cubicBezTo>
                      <a:cubicBezTo>
                        <a:pt x="1313096" y="1887063"/>
                        <a:pt x="1414186" y="1871056"/>
                        <a:pt x="1416035" y="1835346"/>
                      </a:cubicBezTo>
                      <a:lnTo>
                        <a:pt x="1416034" y="1835335"/>
                      </a:lnTo>
                      <a:lnTo>
                        <a:pt x="1415090" y="1810565"/>
                      </a:lnTo>
                      <a:lnTo>
                        <a:pt x="1413421" y="1803975"/>
                      </a:lnTo>
                      <a:lnTo>
                        <a:pt x="1413109" y="1800238"/>
                      </a:lnTo>
                      <a:lnTo>
                        <a:pt x="1411936" y="1798116"/>
                      </a:lnTo>
                      <a:lnTo>
                        <a:pt x="1410332" y="1791786"/>
                      </a:lnTo>
                      <a:lnTo>
                        <a:pt x="1403034" y="1782014"/>
                      </a:lnTo>
                      <a:lnTo>
                        <a:pt x="1403033" y="1782012"/>
                      </a:lnTo>
                      <a:close/>
                      <a:moveTo>
                        <a:pt x="1499248" y="1696816"/>
                      </a:moveTo>
                      <a:cubicBezTo>
                        <a:pt x="1460723" y="1695893"/>
                        <a:pt x="1438379" y="1701434"/>
                        <a:pt x="1417806" y="1712132"/>
                      </a:cubicBezTo>
                      <a:lnTo>
                        <a:pt x="1405848" y="1719670"/>
                      </a:lnTo>
                      <a:lnTo>
                        <a:pt x="1402485" y="1721101"/>
                      </a:lnTo>
                      <a:lnTo>
                        <a:pt x="1347578" y="1757996"/>
                      </a:lnTo>
                      <a:lnTo>
                        <a:pt x="1346997" y="1758385"/>
                      </a:lnTo>
                      <a:lnTo>
                        <a:pt x="1312122" y="1775875"/>
                      </a:lnTo>
                      <a:lnTo>
                        <a:pt x="1312122" y="1775875"/>
                      </a:lnTo>
                      <a:lnTo>
                        <a:pt x="1297300" y="1775932"/>
                      </a:lnTo>
                      <a:lnTo>
                        <a:pt x="1312122" y="1775875"/>
                      </a:lnTo>
                      <a:lnTo>
                        <a:pt x="1312122" y="1775875"/>
                      </a:lnTo>
                      <a:cubicBezTo>
                        <a:pt x="1319953" y="1773508"/>
                        <a:pt x="1331125" y="1768236"/>
                        <a:pt x="1346998" y="1758385"/>
                      </a:cubicBezTo>
                      <a:lnTo>
                        <a:pt x="1347578" y="1757996"/>
                      </a:lnTo>
                      <a:lnTo>
                        <a:pt x="1386476" y="1731882"/>
                      </a:lnTo>
                      <a:lnTo>
                        <a:pt x="1405848" y="1719670"/>
                      </a:lnTo>
                      <a:lnTo>
                        <a:pt x="1451796" y="1700116"/>
                      </a:lnTo>
                      <a:lnTo>
                        <a:pt x="1499248" y="1696816"/>
                      </a:lnTo>
                      <a:close/>
                      <a:moveTo>
                        <a:pt x="2079592" y="1655104"/>
                      </a:moveTo>
                      <a:lnTo>
                        <a:pt x="2089127" y="1660087"/>
                      </a:lnTo>
                      <a:cubicBezTo>
                        <a:pt x="2091727" y="1661953"/>
                        <a:pt x="2093461" y="1663569"/>
                        <a:pt x="2093461" y="1663569"/>
                      </a:cubicBezTo>
                      <a:lnTo>
                        <a:pt x="2093466" y="1663573"/>
                      </a:lnTo>
                      <a:lnTo>
                        <a:pt x="2115252" y="1687244"/>
                      </a:lnTo>
                      <a:lnTo>
                        <a:pt x="2116852" y="1690459"/>
                      </a:lnTo>
                      <a:lnTo>
                        <a:pt x="2116752" y="1701539"/>
                      </a:lnTo>
                      <a:lnTo>
                        <a:pt x="2114804" y="1717519"/>
                      </a:lnTo>
                      <a:lnTo>
                        <a:pt x="2114752" y="1717783"/>
                      </a:lnTo>
                      <a:lnTo>
                        <a:pt x="2111000" y="1729487"/>
                      </a:lnTo>
                      <a:lnTo>
                        <a:pt x="2112139" y="1731085"/>
                      </a:lnTo>
                      <a:lnTo>
                        <a:pt x="2111404" y="1734825"/>
                      </a:lnTo>
                      <a:cubicBezTo>
                        <a:pt x="2113224" y="1738876"/>
                        <a:pt x="2119504" y="1740992"/>
                        <a:pt x="2134760" y="1740530"/>
                      </a:cubicBezTo>
                      <a:lnTo>
                        <a:pt x="2134760" y="1740530"/>
                      </a:lnTo>
                      <a:lnTo>
                        <a:pt x="2118045" y="1739370"/>
                      </a:lnTo>
                      <a:lnTo>
                        <a:pt x="2112139" y="1731085"/>
                      </a:lnTo>
                      <a:lnTo>
                        <a:pt x="2114752" y="1717783"/>
                      </a:lnTo>
                      <a:lnTo>
                        <a:pt x="2116659" y="1711833"/>
                      </a:lnTo>
                      <a:lnTo>
                        <a:pt x="2116752" y="1701539"/>
                      </a:lnTo>
                      <a:lnTo>
                        <a:pt x="2117857" y="1692478"/>
                      </a:lnTo>
                      <a:lnTo>
                        <a:pt x="2116852" y="1690459"/>
                      </a:lnTo>
                      <a:lnTo>
                        <a:pt x="2116865" y="1688996"/>
                      </a:lnTo>
                      <a:lnTo>
                        <a:pt x="2115252" y="1687244"/>
                      </a:lnTo>
                      <a:lnTo>
                        <a:pt x="2110784" y="1678265"/>
                      </a:lnTo>
                      <a:lnTo>
                        <a:pt x="2093466" y="1663573"/>
                      </a:lnTo>
                      <a:lnTo>
                        <a:pt x="2093462" y="1663569"/>
                      </a:lnTo>
                      <a:cubicBezTo>
                        <a:pt x="2093462" y="1663569"/>
                        <a:pt x="2086528" y="1657105"/>
                        <a:pt x="2079593" y="1655104"/>
                      </a:cubicBezTo>
                      <a:close/>
                      <a:moveTo>
                        <a:pt x="289776" y="1591004"/>
                      </a:moveTo>
                      <a:cubicBezTo>
                        <a:pt x="309482" y="1597873"/>
                        <a:pt x="346716" y="1607243"/>
                        <a:pt x="392773" y="1601644"/>
                      </a:cubicBezTo>
                      <a:lnTo>
                        <a:pt x="392773" y="1601644"/>
                      </a:lnTo>
                      <a:lnTo>
                        <a:pt x="331393" y="1600999"/>
                      </a:lnTo>
                      <a:cubicBezTo>
                        <a:pt x="313864" y="1598498"/>
                        <a:pt x="299629" y="1594439"/>
                        <a:pt x="289776" y="1591004"/>
                      </a:cubicBezTo>
                      <a:close/>
                      <a:moveTo>
                        <a:pt x="2232084" y="1584289"/>
                      </a:moveTo>
                      <a:lnTo>
                        <a:pt x="2232081" y="1584290"/>
                      </a:lnTo>
                      <a:lnTo>
                        <a:pt x="2172593" y="1592226"/>
                      </a:lnTo>
                      <a:lnTo>
                        <a:pt x="2147248" y="1597613"/>
                      </a:lnTo>
                      <a:lnTo>
                        <a:pt x="2142293" y="1598391"/>
                      </a:lnTo>
                      <a:cubicBezTo>
                        <a:pt x="2112319" y="1604866"/>
                        <a:pt x="2083830" y="1611851"/>
                        <a:pt x="2061408" y="1615545"/>
                      </a:cubicBezTo>
                      <a:cubicBezTo>
                        <a:pt x="2002233" y="1626012"/>
                        <a:pt x="1980659" y="1643251"/>
                        <a:pt x="1980659" y="1706667"/>
                      </a:cubicBezTo>
                      <a:lnTo>
                        <a:pt x="1978131" y="1739592"/>
                      </a:lnTo>
                      <a:lnTo>
                        <a:pt x="1976523" y="1746054"/>
                      </a:lnTo>
                      <a:lnTo>
                        <a:pt x="1971531" y="1757635"/>
                      </a:lnTo>
                      <a:lnTo>
                        <a:pt x="1969185" y="1760677"/>
                      </a:lnTo>
                      <a:lnTo>
                        <a:pt x="1959596" y="1764157"/>
                      </a:lnTo>
                      <a:lnTo>
                        <a:pt x="1959597" y="1764157"/>
                      </a:lnTo>
                      <a:cubicBezTo>
                        <a:pt x="1962609" y="1764388"/>
                        <a:pt x="1965431" y="1763883"/>
                        <a:pt x="1967971" y="1762252"/>
                      </a:cubicBezTo>
                      <a:lnTo>
                        <a:pt x="1969185" y="1760677"/>
                      </a:lnTo>
                      <a:lnTo>
                        <a:pt x="1970411" y="1760232"/>
                      </a:lnTo>
                      <a:lnTo>
                        <a:pt x="1971531" y="1757635"/>
                      </a:lnTo>
                      <a:lnTo>
                        <a:pt x="1974647" y="1753594"/>
                      </a:lnTo>
                      <a:lnTo>
                        <a:pt x="1976523" y="1746054"/>
                      </a:lnTo>
                      <a:lnTo>
                        <a:pt x="1977876" y="1742916"/>
                      </a:lnTo>
                      <a:lnTo>
                        <a:pt x="1978131" y="1739592"/>
                      </a:lnTo>
                      <a:lnTo>
                        <a:pt x="1979063" y="1735845"/>
                      </a:lnTo>
                      <a:cubicBezTo>
                        <a:pt x="1980097" y="1728154"/>
                        <a:pt x="1980660" y="1718558"/>
                        <a:pt x="1980660" y="1706667"/>
                      </a:cubicBezTo>
                      <a:cubicBezTo>
                        <a:pt x="1980660" y="1643251"/>
                        <a:pt x="2002234" y="1626012"/>
                        <a:pt x="2061409" y="1615545"/>
                      </a:cubicBezTo>
                      <a:cubicBezTo>
                        <a:pt x="2076357" y="1613082"/>
                        <a:pt x="2094001" y="1609157"/>
                        <a:pt x="2112985" y="1604895"/>
                      </a:cubicBezTo>
                      <a:lnTo>
                        <a:pt x="2147248" y="1597613"/>
                      </a:lnTo>
                      <a:lnTo>
                        <a:pt x="2232081" y="1584290"/>
                      </a:lnTo>
                      <a:lnTo>
                        <a:pt x="2232085" y="1584289"/>
                      </a:lnTo>
                      <a:close/>
                      <a:moveTo>
                        <a:pt x="1522672" y="1576141"/>
                      </a:moveTo>
                      <a:lnTo>
                        <a:pt x="1522671" y="1576141"/>
                      </a:lnTo>
                      <a:lnTo>
                        <a:pt x="1541086" y="1594140"/>
                      </a:lnTo>
                      <a:lnTo>
                        <a:pt x="1566281" y="1629863"/>
                      </a:lnTo>
                      <a:lnTo>
                        <a:pt x="1573075" y="1640544"/>
                      </a:lnTo>
                      <a:lnTo>
                        <a:pt x="1576192" y="1645623"/>
                      </a:lnTo>
                      <a:lnTo>
                        <a:pt x="1580518" y="1652941"/>
                      </a:lnTo>
                      <a:lnTo>
                        <a:pt x="1580613" y="1653102"/>
                      </a:lnTo>
                      <a:lnTo>
                        <a:pt x="1580665" y="1653155"/>
                      </a:lnTo>
                      <a:lnTo>
                        <a:pt x="1617078" y="1690618"/>
                      </a:lnTo>
                      <a:lnTo>
                        <a:pt x="1624194" y="1697080"/>
                      </a:lnTo>
                      <a:lnTo>
                        <a:pt x="1628623" y="1701549"/>
                      </a:lnTo>
                      <a:lnTo>
                        <a:pt x="1636422" y="1708185"/>
                      </a:lnTo>
                      <a:lnTo>
                        <a:pt x="1650764" y="1721209"/>
                      </a:lnTo>
                      <a:lnTo>
                        <a:pt x="1658267" y="1726770"/>
                      </a:lnTo>
                      <a:lnTo>
                        <a:pt x="1671590" y="1738106"/>
                      </a:lnTo>
                      <a:cubicBezTo>
                        <a:pt x="1698462" y="1758885"/>
                        <a:pt x="1721693" y="1772854"/>
                        <a:pt x="1740724" y="1782243"/>
                      </a:cubicBezTo>
                      <a:lnTo>
                        <a:pt x="1746978" y="1784615"/>
                      </a:lnTo>
                      <a:lnTo>
                        <a:pt x="1754203" y="1788461"/>
                      </a:lnTo>
                      <a:lnTo>
                        <a:pt x="1784658" y="1798903"/>
                      </a:lnTo>
                      <a:lnTo>
                        <a:pt x="1784662" y="1798905"/>
                      </a:lnTo>
                      <a:lnTo>
                        <a:pt x="1784663" y="1798905"/>
                      </a:lnTo>
                      <a:lnTo>
                        <a:pt x="1785936" y="1799118"/>
                      </a:lnTo>
                      <a:lnTo>
                        <a:pt x="1800053" y="1801483"/>
                      </a:lnTo>
                      <a:lnTo>
                        <a:pt x="1800054" y="1801483"/>
                      </a:lnTo>
                      <a:lnTo>
                        <a:pt x="1785936" y="1799118"/>
                      </a:lnTo>
                      <a:lnTo>
                        <a:pt x="1784663" y="1798905"/>
                      </a:lnTo>
                      <a:lnTo>
                        <a:pt x="1784663" y="1798905"/>
                      </a:lnTo>
                      <a:lnTo>
                        <a:pt x="1784658" y="1798903"/>
                      </a:lnTo>
                      <a:lnTo>
                        <a:pt x="1746978" y="1784615"/>
                      </a:lnTo>
                      <a:lnTo>
                        <a:pt x="1709098" y="1764446"/>
                      </a:lnTo>
                      <a:lnTo>
                        <a:pt x="1658267" y="1726770"/>
                      </a:lnTo>
                      <a:lnTo>
                        <a:pt x="1636422" y="1708185"/>
                      </a:lnTo>
                      <a:lnTo>
                        <a:pt x="1624194" y="1697080"/>
                      </a:lnTo>
                      <a:lnTo>
                        <a:pt x="1580665" y="1653155"/>
                      </a:lnTo>
                      <a:lnTo>
                        <a:pt x="1580614" y="1653102"/>
                      </a:lnTo>
                      <a:lnTo>
                        <a:pt x="1580518" y="1652941"/>
                      </a:lnTo>
                      <a:lnTo>
                        <a:pt x="1577167" y="1647213"/>
                      </a:lnTo>
                      <a:lnTo>
                        <a:pt x="1576192" y="1645623"/>
                      </a:lnTo>
                      <a:lnTo>
                        <a:pt x="1574681" y="1643068"/>
                      </a:lnTo>
                      <a:lnTo>
                        <a:pt x="1573075" y="1640544"/>
                      </a:lnTo>
                      <a:lnTo>
                        <a:pt x="1568131" y="1632485"/>
                      </a:lnTo>
                      <a:lnTo>
                        <a:pt x="1566281" y="1629863"/>
                      </a:lnTo>
                      <a:lnTo>
                        <a:pt x="1559965" y="1619932"/>
                      </a:lnTo>
                      <a:cubicBezTo>
                        <a:pt x="1548253" y="1602461"/>
                        <a:pt x="1533768" y="1583221"/>
                        <a:pt x="1522672" y="1576141"/>
                      </a:cubicBezTo>
                      <a:close/>
                      <a:moveTo>
                        <a:pt x="506760" y="1570139"/>
                      </a:moveTo>
                      <a:lnTo>
                        <a:pt x="506760" y="1570139"/>
                      </a:lnTo>
                      <a:lnTo>
                        <a:pt x="520992" y="1573342"/>
                      </a:lnTo>
                      <a:cubicBezTo>
                        <a:pt x="534518" y="1579402"/>
                        <a:pt x="544978" y="1595074"/>
                        <a:pt x="543822" y="1629706"/>
                      </a:cubicBezTo>
                      <a:cubicBezTo>
                        <a:pt x="543206" y="1652794"/>
                        <a:pt x="530222" y="1665993"/>
                        <a:pt x="510054" y="1671688"/>
                      </a:cubicBezTo>
                      <a:lnTo>
                        <a:pt x="475062" y="1674902"/>
                      </a:lnTo>
                      <a:lnTo>
                        <a:pt x="475062" y="1674902"/>
                      </a:lnTo>
                      <a:cubicBezTo>
                        <a:pt x="514148" y="1676720"/>
                        <a:pt x="542898" y="1664339"/>
                        <a:pt x="543822" y="1629706"/>
                      </a:cubicBezTo>
                      <a:cubicBezTo>
                        <a:pt x="545363" y="1583530"/>
                        <a:pt x="526254" y="1571062"/>
                        <a:pt x="506760" y="1570139"/>
                      </a:cubicBezTo>
                      <a:close/>
                      <a:moveTo>
                        <a:pt x="2203394" y="1547435"/>
                      </a:moveTo>
                      <a:lnTo>
                        <a:pt x="2253726" y="1548436"/>
                      </a:lnTo>
                      <a:lnTo>
                        <a:pt x="2253734" y="1548438"/>
                      </a:lnTo>
                      <a:lnTo>
                        <a:pt x="2283955" y="1559558"/>
                      </a:lnTo>
                      <a:lnTo>
                        <a:pt x="2288138" y="1563215"/>
                      </a:lnTo>
                      <a:lnTo>
                        <a:pt x="2291836" y="1569999"/>
                      </a:lnTo>
                      <a:lnTo>
                        <a:pt x="2288138" y="1583674"/>
                      </a:lnTo>
                      <a:lnTo>
                        <a:pt x="2283313" y="1587840"/>
                      </a:lnTo>
                      <a:lnTo>
                        <a:pt x="2283314" y="1587840"/>
                      </a:lnTo>
                      <a:cubicBezTo>
                        <a:pt x="2283314" y="1587840"/>
                        <a:pt x="2292714" y="1581529"/>
                        <a:pt x="2293716" y="1573448"/>
                      </a:cubicBezTo>
                      <a:lnTo>
                        <a:pt x="2291836" y="1569999"/>
                      </a:lnTo>
                      <a:lnTo>
                        <a:pt x="2292614" y="1567126"/>
                      </a:lnTo>
                      <a:lnTo>
                        <a:pt x="2288138" y="1563215"/>
                      </a:lnTo>
                      <a:lnTo>
                        <a:pt x="2286695" y="1560566"/>
                      </a:lnTo>
                      <a:lnTo>
                        <a:pt x="2283955" y="1559558"/>
                      </a:lnTo>
                      <a:lnTo>
                        <a:pt x="2281406" y="1557330"/>
                      </a:lnTo>
                      <a:lnTo>
                        <a:pt x="2253734" y="1548438"/>
                      </a:lnTo>
                      <a:lnTo>
                        <a:pt x="2253727" y="1548436"/>
                      </a:lnTo>
                      <a:cubicBezTo>
                        <a:pt x="2236930" y="1545049"/>
                        <a:pt x="2220095" y="1545203"/>
                        <a:pt x="2203394" y="1547435"/>
                      </a:cubicBezTo>
                      <a:close/>
                      <a:moveTo>
                        <a:pt x="989426" y="1534746"/>
                      </a:moveTo>
                      <a:lnTo>
                        <a:pt x="994414" y="1534890"/>
                      </a:lnTo>
                      <a:lnTo>
                        <a:pt x="1021357" y="1548766"/>
                      </a:lnTo>
                      <a:lnTo>
                        <a:pt x="1027313" y="1560173"/>
                      </a:lnTo>
                      <a:lnTo>
                        <a:pt x="1034865" y="1577065"/>
                      </a:lnTo>
                      <a:lnTo>
                        <a:pt x="1036500" y="1580109"/>
                      </a:lnTo>
                      <a:lnTo>
                        <a:pt x="1042287" y="1594415"/>
                      </a:lnTo>
                      <a:lnTo>
                        <a:pt x="1045707" y="1597251"/>
                      </a:lnTo>
                      <a:lnTo>
                        <a:pt x="1048763" y="1602943"/>
                      </a:lnTo>
                      <a:cubicBezTo>
                        <a:pt x="1052158" y="1606262"/>
                        <a:pt x="1056331" y="1608874"/>
                        <a:pt x="1061639" y="1610464"/>
                      </a:cubicBezTo>
                      <a:lnTo>
                        <a:pt x="1061640" y="1610464"/>
                      </a:lnTo>
                      <a:lnTo>
                        <a:pt x="1079977" y="1611756"/>
                      </a:lnTo>
                      <a:lnTo>
                        <a:pt x="1081327" y="1611851"/>
                      </a:lnTo>
                      <a:lnTo>
                        <a:pt x="1081327" y="1611851"/>
                      </a:lnTo>
                      <a:lnTo>
                        <a:pt x="1079977" y="1611756"/>
                      </a:lnTo>
                      <a:lnTo>
                        <a:pt x="1061640" y="1610464"/>
                      </a:lnTo>
                      <a:lnTo>
                        <a:pt x="1061640" y="1610464"/>
                      </a:lnTo>
                      <a:lnTo>
                        <a:pt x="1045707" y="1597251"/>
                      </a:lnTo>
                      <a:lnTo>
                        <a:pt x="1036500" y="1580109"/>
                      </a:lnTo>
                      <a:lnTo>
                        <a:pt x="1032297" y="1569716"/>
                      </a:lnTo>
                      <a:lnTo>
                        <a:pt x="1027313" y="1560173"/>
                      </a:lnTo>
                      <a:lnTo>
                        <a:pt x="1022470" y="1549340"/>
                      </a:lnTo>
                      <a:lnTo>
                        <a:pt x="1021357" y="1548766"/>
                      </a:lnTo>
                      <a:lnTo>
                        <a:pt x="1020172" y="1546497"/>
                      </a:lnTo>
                      <a:cubicBezTo>
                        <a:pt x="1014497" y="1540130"/>
                        <a:pt x="1006550" y="1535698"/>
                        <a:pt x="994415" y="1534890"/>
                      </a:cubicBezTo>
                      <a:cubicBezTo>
                        <a:pt x="994415" y="1534890"/>
                        <a:pt x="992296" y="1534620"/>
                        <a:pt x="989426" y="1534746"/>
                      </a:cubicBezTo>
                      <a:close/>
                      <a:moveTo>
                        <a:pt x="1798204" y="1483173"/>
                      </a:moveTo>
                      <a:lnTo>
                        <a:pt x="1750510" y="1483740"/>
                      </a:lnTo>
                      <a:lnTo>
                        <a:pt x="1750511" y="1483740"/>
                      </a:lnTo>
                      <a:close/>
                      <a:moveTo>
                        <a:pt x="1566975" y="1449156"/>
                      </a:moveTo>
                      <a:lnTo>
                        <a:pt x="1529034" y="1450063"/>
                      </a:lnTo>
                      <a:lnTo>
                        <a:pt x="1521929" y="1450233"/>
                      </a:lnTo>
                      <a:lnTo>
                        <a:pt x="1516975" y="1450767"/>
                      </a:lnTo>
                      <a:lnTo>
                        <a:pt x="1473359" y="1455467"/>
                      </a:lnTo>
                      <a:cubicBezTo>
                        <a:pt x="1404322" y="1463471"/>
                        <a:pt x="1390145" y="1510879"/>
                        <a:pt x="1301383" y="1534890"/>
                      </a:cubicBezTo>
                      <a:cubicBezTo>
                        <a:pt x="1212004" y="1558287"/>
                        <a:pt x="1148515" y="1598306"/>
                        <a:pt x="1148515" y="1598306"/>
                      </a:cubicBezTo>
                      <a:cubicBezTo>
                        <a:pt x="1077628" y="1673420"/>
                        <a:pt x="1033864" y="1704820"/>
                        <a:pt x="952498" y="1716518"/>
                      </a:cubicBezTo>
                      <a:lnTo>
                        <a:pt x="909764" y="1718058"/>
                      </a:lnTo>
                      <a:cubicBezTo>
                        <a:pt x="918750" y="1719674"/>
                        <a:pt x="932311" y="1719597"/>
                        <a:pt x="952499" y="1716518"/>
                      </a:cubicBezTo>
                      <a:cubicBezTo>
                        <a:pt x="1033865" y="1704820"/>
                        <a:pt x="1077629" y="1673420"/>
                        <a:pt x="1148516" y="1598306"/>
                      </a:cubicBezTo>
                      <a:cubicBezTo>
                        <a:pt x="1148516" y="1598306"/>
                        <a:pt x="1212005" y="1558287"/>
                        <a:pt x="1301384" y="1534890"/>
                      </a:cubicBezTo>
                      <a:cubicBezTo>
                        <a:pt x="1390146" y="1510879"/>
                        <a:pt x="1404323" y="1463471"/>
                        <a:pt x="1473360" y="1455467"/>
                      </a:cubicBezTo>
                      <a:lnTo>
                        <a:pt x="1516975" y="1450767"/>
                      </a:lnTo>
                      <a:lnTo>
                        <a:pt x="1521930" y="1450233"/>
                      </a:lnTo>
                      <a:lnTo>
                        <a:pt x="1529034" y="1450063"/>
                      </a:lnTo>
                      <a:lnTo>
                        <a:pt x="1566975" y="1449156"/>
                      </a:lnTo>
                      <a:close/>
                      <a:moveTo>
                        <a:pt x="786454" y="1421835"/>
                      </a:moveTo>
                      <a:cubicBezTo>
                        <a:pt x="779172" y="1420334"/>
                        <a:pt x="769117" y="1421296"/>
                        <a:pt x="755248" y="1426530"/>
                      </a:cubicBezTo>
                      <a:lnTo>
                        <a:pt x="736786" y="1426943"/>
                      </a:lnTo>
                      <a:lnTo>
                        <a:pt x="736786" y="1426943"/>
                      </a:lnTo>
                      <a:cubicBezTo>
                        <a:pt x="748161" y="1426876"/>
                        <a:pt x="755249" y="1426530"/>
                        <a:pt x="755249" y="1426530"/>
                      </a:cubicBezTo>
                      <a:lnTo>
                        <a:pt x="786454" y="1421835"/>
                      </a:lnTo>
                      <a:close/>
                      <a:moveTo>
                        <a:pt x="2099009" y="1376659"/>
                      </a:moveTo>
                      <a:lnTo>
                        <a:pt x="2120265" y="1381382"/>
                      </a:lnTo>
                      <a:lnTo>
                        <a:pt x="2122596" y="1393508"/>
                      </a:lnTo>
                      <a:lnTo>
                        <a:pt x="2121071" y="1396565"/>
                      </a:lnTo>
                      <a:lnTo>
                        <a:pt x="2116884" y="1401902"/>
                      </a:lnTo>
                      <a:cubicBezTo>
                        <a:pt x="2053395" y="1443769"/>
                        <a:pt x="1857378" y="1378506"/>
                        <a:pt x="1875254" y="1507185"/>
                      </a:cubicBezTo>
                      <a:lnTo>
                        <a:pt x="1875262" y="1507214"/>
                      </a:lnTo>
                      <a:lnTo>
                        <a:pt x="1882616" y="1538957"/>
                      </a:lnTo>
                      <a:lnTo>
                        <a:pt x="1885021" y="1543882"/>
                      </a:lnTo>
                      <a:lnTo>
                        <a:pt x="1886034" y="1547689"/>
                      </a:lnTo>
                      <a:lnTo>
                        <a:pt x="1889193" y="1552426"/>
                      </a:lnTo>
                      <a:lnTo>
                        <a:pt x="1894160" y="1562598"/>
                      </a:lnTo>
                      <a:lnTo>
                        <a:pt x="1898216" y="1565956"/>
                      </a:lnTo>
                      <a:lnTo>
                        <a:pt x="1903821" y="1574361"/>
                      </a:lnTo>
                      <a:cubicBezTo>
                        <a:pt x="1917632" y="1588089"/>
                        <a:pt x="1934968" y="1594265"/>
                        <a:pt x="1953537" y="1596228"/>
                      </a:cubicBezTo>
                      <a:lnTo>
                        <a:pt x="1953538" y="1596228"/>
                      </a:lnTo>
                      <a:lnTo>
                        <a:pt x="1926896" y="1589707"/>
                      </a:lnTo>
                      <a:lnTo>
                        <a:pt x="1898216" y="1565956"/>
                      </a:lnTo>
                      <a:lnTo>
                        <a:pt x="1889193" y="1552426"/>
                      </a:lnTo>
                      <a:lnTo>
                        <a:pt x="1885021" y="1543882"/>
                      </a:lnTo>
                      <a:lnTo>
                        <a:pt x="1875262" y="1507214"/>
                      </a:lnTo>
                      <a:lnTo>
                        <a:pt x="1875255" y="1507185"/>
                      </a:lnTo>
                      <a:cubicBezTo>
                        <a:pt x="1857379" y="1378506"/>
                        <a:pt x="2053396" y="1443769"/>
                        <a:pt x="2116885" y="1401902"/>
                      </a:cubicBezTo>
                      <a:cubicBezTo>
                        <a:pt x="2116885" y="1401902"/>
                        <a:pt x="2118503" y="1400439"/>
                        <a:pt x="2120246" y="1398217"/>
                      </a:cubicBezTo>
                      <a:lnTo>
                        <a:pt x="2121071" y="1396565"/>
                      </a:lnTo>
                      <a:lnTo>
                        <a:pt x="2122768" y="1394402"/>
                      </a:lnTo>
                      <a:lnTo>
                        <a:pt x="2122596" y="1393508"/>
                      </a:lnTo>
                      <a:lnTo>
                        <a:pt x="2124359" y="1389973"/>
                      </a:lnTo>
                      <a:cubicBezTo>
                        <a:pt x="2125361" y="1383893"/>
                        <a:pt x="2120892" y="1377582"/>
                        <a:pt x="2099010" y="1376659"/>
                      </a:cubicBezTo>
                      <a:close/>
                      <a:moveTo>
                        <a:pt x="602255" y="1376380"/>
                      </a:moveTo>
                      <a:lnTo>
                        <a:pt x="631351" y="1381584"/>
                      </a:lnTo>
                      <a:cubicBezTo>
                        <a:pt x="651076" y="1386817"/>
                        <a:pt x="689910" y="1392205"/>
                        <a:pt x="734060" y="1390973"/>
                      </a:cubicBezTo>
                      <a:lnTo>
                        <a:pt x="734060" y="1390973"/>
                      </a:lnTo>
                      <a:lnTo>
                        <a:pt x="673547" y="1388703"/>
                      </a:lnTo>
                      <a:cubicBezTo>
                        <a:pt x="655854" y="1386856"/>
                        <a:pt x="641215" y="1384201"/>
                        <a:pt x="631352" y="1381584"/>
                      </a:cubicBezTo>
                      <a:cubicBezTo>
                        <a:pt x="621490" y="1378967"/>
                        <a:pt x="611280" y="1377159"/>
                        <a:pt x="602256" y="1376380"/>
                      </a:cubicBezTo>
                      <a:close/>
                      <a:moveTo>
                        <a:pt x="1133105" y="1339718"/>
                      </a:moveTo>
                      <a:lnTo>
                        <a:pt x="1149459" y="1347135"/>
                      </a:lnTo>
                      <a:lnTo>
                        <a:pt x="1149464" y="1347150"/>
                      </a:lnTo>
                      <a:lnTo>
                        <a:pt x="1155365" y="1367673"/>
                      </a:lnTo>
                      <a:lnTo>
                        <a:pt x="1156844" y="1380140"/>
                      </a:lnTo>
                      <a:lnTo>
                        <a:pt x="1158590" y="1397987"/>
                      </a:lnTo>
                      <a:lnTo>
                        <a:pt x="1164537" y="1426510"/>
                      </a:lnTo>
                      <a:lnTo>
                        <a:pt x="1164541" y="1426530"/>
                      </a:lnTo>
                      <a:lnTo>
                        <a:pt x="1164558" y="1426562"/>
                      </a:lnTo>
                      <a:lnTo>
                        <a:pt x="1178873" y="1455380"/>
                      </a:lnTo>
                      <a:lnTo>
                        <a:pt x="1190453" y="1476316"/>
                      </a:lnTo>
                      <a:lnTo>
                        <a:pt x="1195535" y="1486112"/>
                      </a:lnTo>
                      <a:lnTo>
                        <a:pt x="1201985" y="1505913"/>
                      </a:lnTo>
                      <a:lnTo>
                        <a:pt x="1201988" y="1505924"/>
                      </a:lnTo>
                      <a:lnTo>
                        <a:pt x="1188581" y="1510879"/>
                      </a:lnTo>
                      <a:lnTo>
                        <a:pt x="1188582" y="1510879"/>
                      </a:lnTo>
                      <a:cubicBezTo>
                        <a:pt x="1197674" y="1512880"/>
                        <a:pt x="1201526" y="1510763"/>
                        <a:pt x="1201989" y="1505924"/>
                      </a:cubicBezTo>
                      <a:lnTo>
                        <a:pt x="1201985" y="1505913"/>
                      </a:lnTo>
                      <a:lnTo>
                        <a:pt x="1198087" y="1491031"/>
                      </a:lnTo>
                      <a:lnTo>
                        <a:pt x="1195535" y="1486112"/>
                      </a:lnTo>
                      <a:lnTo>
                        <a:pt x="1195054" y="1484635"/>
                      </a:lnTo>
                      <a:lnTo>
                        <a:pt x="1190453" y="1476316"/>
                      </a:lnTo>
                      <a:lnTo>
                        <a:pt x="1187425" y="1470480"/>
                      </a:lnTo>
                      <a:lnTo>
                        <a:pt x="1164558" y="1426562"/>
                      </a:lnTo>
                      <a:lnTo>
                        <a:pt x="1164542" y="1426530"/>
                      </a:lnTo>
                      <a:lnTo>
                        <a:pt x="1164537" y="1426510"/>
                      </a:lnTo>
                      <a:lnTo>
                        <a:pt x="1157195" y="1383098"/>
                      </a:lnTo>
                      <a:lnTo>
                        <a:pt x="1156844" y="1380140"/>
                      </a:lnTo>
                      <a:lnTo>
                        <a:pt x="1155758" y="1369040"/>
                      </a:lnTo>
                      <a:lnTo>
                        <a:pt x="1155365" y="1367673"/>
                      </a:lnTo>
                      <a:lnTo>
                        <a:pt x="1154765" y="1362612"/>
                      </a:lnTo>
                      <a:lnTo>
                        <a:pt x="1149464" y="1347150"/>
                      </a:lnTo>
                      <a:lnTo>
                        <a:pt x="1149459" y="1347135"/>
                      </a:lnTo>
                      <a:cubicBezTo>
                        <a:pt x="1146050" y="1341834"/>
                        <a:pt x="1140965" y="1338948"/>
                        <a:pt x="1133106" y="1339718"/>
                      </a:cubicBezTo>
                      <a:close/>
                      <a:moveTo>
                        <a:pt x="185076" y="1331714"/>
                      </a:moveTo>
                      <a:lnTo>
                        <a:pt x="229280" y="1341324"/>
                      </a:lnTo>
                      <a:cubicBezTo>
                        <a:pt x="242367" y="1343479"/>
                        <a:pt x="253910" y="1344643"/>
                        <a:pt x="264225" y="1344989"/>
                      </a:cubicBezTo>
                      <a:lnTo>
                        <a:pt x="264225" y="1344989"/>
                      </a:lnTo>
                      <a:lnTo>
                        <a:pt x="229281" y="1341324"/>
                      </a:lnTo>
                      <a:cubicBezTo>
                        <a:pt x="216195" y="1339169"/>
                        <a:pt x="201565" y="1336023"/>
                        <a:pt x="185076" y="1331714"/>
                      </a:cubicBezTo>
                      <a:close/>
                      <a:moveTo>
                        <a:pt x="1069254" y="1312314"/>
                      </a:moveTo>
                      <a:cubicBezTo>
                        <a:pt x="1055420" y="1311283"/>
                        <a:pt x="1042903" y="1311515"/>
                        <a:pt x="1031589" y="1312711"/>
                      </a:cubicBezTo>
                      <a:lnTo>
                        <a:pt x="1029025" y="1313231"/>
                      </a:lnTo>
                      <a:lnTo>
                        <a:pt x="1026814" y="1313281"/>
                      </a:lnTo>
                      <a:lnTo>
                        <a:pt x="1022870" y="1314480"/>
                      </a:lnTo>
                      <a:lnTo>
                        <a:pt x="1001144" y="1318888"/>
                      </a:lnTo>
                      <a:lnTo>
                        <a:pt x="991719" y="1323946"/>
                      </a:lnTo>
                      <a:lnTo>
                        <a:pt x="980282" y="1327421"/>
                      </a:lnTo>
                      <a:lnTo>
                        <a:pt x="966848" y="1337292"/>
                      </a:lnTo>
                      <a:lnTo>
                        <a:pt x="959205" y="1341393"/>
                      </a:lnTo>
                      <a:lnTo>
                        <a:pt x="955423" y="1345686"/>
                      </a:lnTo>
                      <a:lnTo>
                        <a:pt x="951271" y="1348736"/>
                      </a:lnTo>
                      <a:lnTo>
                        <a:pt x="941420" y="1361580"/>
                      </a:lnTo>
                      <a:lnTo>
                        <a:pt x="938015" y="1365445"/>
                      </a:lnTo>
                      <a:lnTo>
                        <a:pt x="937074" y="1367247"/>
                      </a:lnTo>
                      <a:lnTo>
                        <a:pt x="936367" y="1368168"/>
                      </a:lnTo>
                      <a:lnTo>
                        <a:pt x="932176" y="1376621"/>
                      </a:lnTo>
                      <a:lnTo>
                        <a:pt x="932156" y="1376659"/>
                      </a:lnTo>
                      <a:cubicBezTo>
                        <a:pt x="839695" y="1410522"/>
                        <a:pt x="821203" y="1500412"/>
                        <a:pt x="821203" y="1500412"/>
                      </a:cubicBezTo>
                      <a:cubicBezTo>
                        <a:pt x="834764" y="1519498"/>
                        <a:pt x="826135" y="1562596"/>
                        <a:pt x="826135" y="1562596"/>
                      </a:cubicBezTo>
                      <a:cubicBezTo>
                        <a:pt x="778671" y="1598306"/>
                        <a:pt x="778671" y="1688812"/>
                        <a:pt x="778671" y="1688812"/>
                      </a:cubicBezTo>
                      <a:cubicBezTo>
                        <a:pt x="782370" y="1704512"/>
                        <a:pt x="786068" y="1718700"/>
                        <a:pt x="789771" y="1731514"/>
                      </a:cubicBezTo>
                      <a:lnTo>
                        <a:pt x="793560" y="1743252"/>
                      </a:lnTo>
                      <a:lnTo>
                        <a:pt x="795330" y="1749724"/>
                      </a:lnTo>
                      <a:lnTo>
                        <a:pt x="797268" y="1754737"/>
                      </a:lnTo>
                      <a:lnTo>
                        <a:pt x="800898" y="1765981"/>
                      </a:lnTo>
                      <a:lnTo>
                        <a:pt x="804874" y="1774412"/>
                      </a:lnTo>
                      <a:lnTo>
                        <a:pt x="812080" y="1793054"/>
                      </a:lnTo>
                      <a:lnTo>
                        <a:pt x="819852" y="1806177"/>
                      </a:lnTo>
                      <a:lnTo>
                        <a:pt x="823342" y="1813575"/>
                      </a:lnTo>
                      <a:lnTo>
                        <a:pt x="825829" y="1816267"/>
                      </a:lnTo>
                      <a:lnTo>
                        <a:pt x="829013" y="1821642"/>
                      </a:lnTo>
                      <a:lnTo>
                        <a:pt x="846210" y="1838318"/>
                      </a:lnTo>
                      <a:lnTo>
                        <a:pt x="846218" y="1838327"/>
                      </a:lnTo>
                      <a:cubicBezTo>
                        <a:pt x="853940" y="1843518"/>
                        <a:pt x="861770" y="1846024"/>
                        <a:pt x="869745" y="1846967"/>
                      </a:cubicBezTo>
                      <a:lnTo>
                        <a:pt x="869746" y="1846967"/>
                      </a:lnTo>
                      <a:lnTo>
                        <a:pt x="846219" y="1838327"/>
                      </a:lnTo>
                      <a:lnTo>
                        <a:pt x="846210" y="1838318"/>
                      </a:lnTo>
                      <a:lnTo>
                        <a:pt x="825829" y="1816267"/>
                      </a:lnTo>
                      <a:lnTo>
                        <a:pt x="819852" y="1806177"/>
                      </a:lnTo>
                      <a:lnTo>
                        <a:pt x="804874" y="1774412"/>
                      </a:lnTo>
                      <a:lnTo>
                        <a:pt x="797268" y="1754737"/>
                      </a:lnTo>
                      <a:lnTo>
                        <a:pt x="793560" y="1743252"/>
                      </a:lnTo>
                      <a:lnTo>
                        <a:pt x="778672" y="1688812"/>
                      </a:lnTo>
                      <a:cubicBezTo>
                        <a:pt x="778672" y="1688812"/>
                        <a:pt x="778672" y="1598306"/>
                        <a:pt x="826136" y="1562596"/>
                      </a:cubicBezTo>
                      <a:cubicBezTo>
                        <a:pt x="826136" y="1562596"/>
                        <a:pt x="834765" y="1519498"/>
                        <a:pt x="821204" y="1500412"/>
                      </a:cubicBezTo>
                      <a:cubicBezTo>
                        <a:pt x="821204" y="1500412"/>
                        <a:pt x="839696" y="1410522"/>
                        <a:pt x="932157" y="1376659"/>
                      </a:cubicBezTo>
                      <a:lnTo>
                        <a:pt x="932176" y="1376621"/>
                      </a:lnTo>
                      <a:lnTo>
                        <a:pt x="937074" y="1367247"/>
                      </a:lnTo>
                      <a:lnTo>
                        <a:pt x="941420" y="1361580"/>
                      </a:lnTo>
                      <a:lnTo>
                        <a:pt x="955423" y="1345686"/>
                      </a:lnTo>
                      <a:lnTo>
                        <a:pt x="966848" y="1337292"/>
                      </a:lnTo>
                      <a:lnTo>
                        <a:pt x="991719" y="1323946"/>
                      </a:lnTo>
                      <a:lnTo>
                        <a:pt x="1022870" y="1314480"/>
                      </a:lnTo>
                      <a:lnTo>
                        <a:pt x="1029025" y="1313231"/>
                      </a:lnTo>
                      <a:lnTo>
                        <a:pt x="1069254" y="1312314"/>
                      </a:lnTo>
                      <a:close/>
                      <a:moveTo>
                        <a:pt x="454443" y="1310780"/>
                      </a:moveTo>
                      <a:cubicBezTo>
                        <a:pt x="449050" y="1318014"/>
                        <a:pt x="441730" y="1324595"/>
                        <a:pt x="433784" y="1330395"/>
                      </a:cubicBezTo>
                      <a:lnTo>
                        <a:pt x="433777" y="1330400"/>
                      </a:lnTo>
                      <a:lnTo>
                        <a:pt x="400643" y="1349411"/>
                      </a:lnTo>
                      <a:lnTo>
                        <a:pt x="391172" y="1353835"/>
                      </a:lnTo>
                      <a:lnTo>
                        <a:pt x="386877" y="1355680"/>
                      </a:lnTo>
                      <a:lnTo>
                        <a:pt x="380475" y="1358188"/>
                      </a:lnTo>
                      <a:lnTo>
                        <a:pt x="311377" y="1375258"/>
                      </a:lnTo>
                      <a:lnTo>
                        <a:pt x="311376" y="1375258"/>
                      </a:lnTo>
                      <a:lnTo>
                        <a:pt x="279114" y="1378792"/>
                      </a:lnTo>
                      <a:lnTo>
                        <a:pt x="260748" y="1380805"/>
                      </a:lnTo>
                      <a:lnTo>
                        <a:pt x="260749" y="1380805"/>
                      </a:lnTo>
                      <a:lnTo>
                        <a:pt x="279114" y="1378792"/>
                      </a:lnTo>
                      <a:lnTo>
                        <a:pt x="311377" y="1375258"/>
                      </a:lnTo>
                      <a:lnTo>
                        <a:pt x="311377" y="1375258"/>
                      </a:lnTo>
                      <a:cubicBezTo>
                        <a:pt x="331173" y="1371646"/>
                        <a:pt x="354048" y="1366115"/>
                        <a:pt x="380476" y="1358188"/>
                      </a:cubicBezTo>
                      <a:cubicBezTo>
                        <a:pt x="380476" y="1358188"/>
                        <a:pt x="382318" y="1357538"/>
                        <a:pt x="385453" y="1356292"/>
                      </a:cubicBezTo>
                      <a:lnTo>
                        <a:pt x="386877" y="1355680"/>
                      </a:lnTo>
                      <a:lnTo>
                        <a:pt x="388999" y="1354850"/>
                      </a:lnTo>
                      <a:lnTo>
                        <a:pt x="391172" y="1353835"/>
                      </a:lnTo>
                      <a:lnTo>
                        <a:pt x="398192" y="1350818"/>
                      </a:lnTo>
                      <a:lnTo>
                        <a:pt x="400643" y="1349411"/>
                      </a:lnTo>
                      <a:lnTo>
                        <a:pt x="409369" y="1345336"/>
                      </a:lnTo>
                      <a:lnTo>
                        <a:pt x="433777" y="1330400"/>
                      </a:lnTo>
                      <a:lnTo>
                        <a:pt x="433785" y="1330395"/>
                      </a:lnTo>
                      <a:lnTo>
                        <a:pt x="454443" y="1310781"/>
                      </a:lnTo>
                      <a:close/>
                      <a:moveTo>
                        <a:pt x="586165" y="1241610"/>
                      </a:moveTo>
                      <a:cubicBezTo>
                        <a:pt x="571627" y="1242228"/>
                        <a:pt x="555225" y="1244056"/>
                        <a:pt x="536425" y="1247365"/>
                      </a:cubicBezTo>
                      <a:cubicBezTo>
                        <a:pt x="536425" y="1247365"/>
                        <a:pt x="451361" y="1305239"/>
                        <a:pt x="528411" y="1424067"/>
                      </a:cubicBezTo>
                      <a:cubicBezTo>
                        <a:pt x="528411" y="1424067"/>
                        <a:pt x="504372" y="1508416"/>
                        <a:pt x="538890" y="1547820"/>
                      </a:cubicBezTo>
                      <a:lnTo>
                        <a:pt x="538915" y="1547827"/>
                      </a:lnTo>
                      <a:lnTo>
                        <a:pt x="547132" y="1550259"/>
                      </a:lnTo>
                      <a:lnTo>
                        <a:pt x="548826" y="1550691"/>
                      </a:lnTo>
                      <a:lnTo>
                        <a:pt x="551509" y="1551467"/>
                      </a:lnTo>
                      <a:lnTo>
                        <a:pt x="555815" y="1552476"/>
                      </a:lnTo>
                      <a:lnTo>
                        <a:pt x="569220" y="1555901"/>
                      </a:lnTo>
                      <a:lnTo>
                        <a:pt x="572756" y="1556450"/>
                      </a:lnTo>
                      <a:lnTo>
                        <a:pt x="584222" y="1559138"/>
                      </a:lnTo>
                      <a:cubicBezTo>
                        <a:pt x="597617" y="1561822"/>
                        <a:pt x="613075" y="1564358"/>
                        <a:pt x="629310" y="1565931"/>
                      </a:cubicBezTo>
                      <a:lnTo>
                        <a:pt x="634523" y="1566037"/>
                      </a:lnTo>
                      <a:lnTo>
                        <a:pt x="639134" y="1566752"/>
                      </a:lnTo>
                      <a:lnTo>
                        <a:pt x="679056" y="1566940"/>
                      </a:lnTo>
                      <a:lnTo>
                        <a:pt x="634523" y="1566037"/>
                      </a:lnTo>
                      <a:lnTo>
                        <a:pt x="572756" y="1556450"/>
                      </a:lnTo>
                      <a:lnTo>
                        <a:pt x="555815" y="1552476"/>
                      </a:lnTo>
                      <a:lnTo>
                        <a:pt x="548826" y="1550691"/>
                      </a:lnTo>
                      <a:lnTo>
                        <a:pt x="538915" y="1547827"/>
                      </a:lnTo>
                      <a:lnTo>
                        <a:pt x="538891" y="1547820"/>
                      </a:lnTo>
                      <a:cubicBezTo>
                        <a:pt x="504373" y="1508416"/>
                        <a:pt x="528412" y="1424067"/>
                        <a:pt x="528412" y="1424067"/>
                      </a:cubicBezTo>
                      <a:cubicBezTo>
                        <a:pt x="451362" y="1305239"/>
                        <a:pt x="536426" y="1247365"/>
                        <a:pt x="536426" y="1247365"/>
                      </a:cubicBezTo>
                      <a:lnTo>
                        <a:pt x="586166" y="1241610"/>
                      </a:lnTo>
                      <a:close/>
                      <a:moveTo>
                        <a:pt x="1596385" y="1215105"/>
                      </a:moveTo>
                      <a:lnTo>
                        <a:pt x="1609230" y="1218911"/>
                      </a:lnTo>
                      <a:lnTo>
                        <a:pt x="1613762" y="1223843"/>
                      </a:lnTo>
                      <a:lnTo>
                        <a:pt x="1619447" y="1235897"/>
                      </a:lnTo>
                      <a:lnTo>
                        <a:pt x="1622205" y="1244422"/>
                      </a:lnTo>
                      <a:lnTo>
                        <a:pt x="1624213" y="1255240"/>
                      </a:lnTo>
                      <a:lnTo>
                        <a:pt x="1629925" y="1301545"/>
                      </a:lnTo>
                      <a:cubicBezTo>
                        <a:pt x="1633624" y="1348953"/>
                        <a:pt x="1578147" y="1417910"/>
                        <a:pt x="1695264" y="1432071"/>
                      </a:cubicBezTo>
                      <a:cubicBezTo>
                        <a:pt x="1724389" y="1435457"/>
                        <a:pt x="1754169" y="1435419"/>
                        <a:pt x="1782764" y="1432311"/>
                      </a:cubicBezTo>
                      <a:lnTo>
                        <a:pt x="1782764" y="1432311"/>
                      </a:lnTo>
                      <a:lnTo>
                        <a:pt x="1695265" y="1432071"/>
                      </a:lnTo>
                      <a:cubicBezTo>
                        <a:pt x="1578148" y="1417910"/>
                        <a:pt x="1633625" y="1348953"/>
                        <a:pt x="1629926" y="1301545"/>
                      </a:cubicBezTo>
                      <a:cubicBezTo>
                        <a:pt x="1629117" y="1291174"/>
                        <a:pt x="1628190" y="1280126"/>
                        <a:pt x="1626861" y="1269503"/>
                      </a:cubicBezTo>
                      <a:lnTo>
                        <a:pt x="1624213" y="1255240"/>
                      </a:lnTo>
                      <a:lnTo>
                        <a:pt x="1623294" y="1247789"/>
                      </a:lnTo>
                      <a:lnTo>
                        <a:pt x="1622205" y="1244422"/>
                      </a:lnTo>
                      <a:lnTo>
                        <a:pt x="1621385" y="1240007"/>
                      </a:lnTo>
                      <a:lnTo>
                        <a:pt x="1619447" y="1235897"/>
                      </a:lnTo>
                      <a:lnTo>
                        <a:pt x="1616517" y="1226841"/>
                      </a:lnTo>
                      <a:lnTo>
                        <a:pt x="1613762" y="1223843"/>
                      </a:lnTo>
                      <a:lnTo>
                        <a:pt x="1611794" y="1219671"/>
                      </a:lnTo>
                      <a:lnTo>
                        <a:pt x="1609230" y="1218911"/>
                      </a:lnTo>
                      <a:lnTo>
                        <a:pt x="1606001" y="1215397"/>
                      </a:lnTo>
                      <a:close/>
                      <a:moveTo>
                        <a:pt x="633567" y="1197003"/>
                      </a:moveTo>
                      <a:lnTo>
                        <a:pt x="690534" y="1210912"/>
                      </a:lnTo>
                      <a:lnTo>
                        <a:pt x="706433" y="1218144"/>
                      </a:lnTo>
                      <a:lnTo>
                        <a:pt x="739870" y="1236231"/>
                      </a:lnTo>
                      <a:lnTo>
                        <a:pt x="752530" y="1243801"/>
                      </a:lnTo>
                      <a:lnTo>
                        <a:pt x="784196" y="1260281"/>
                      </a:lnTo>
                      <a:lnTo>
                        <a:pt x="784219" y="1260294"/>
                      </a:lnTo>
                      <a:lnTo>
                        <a:pt x="784239" y="1260301"/>
                      </a:lnTo>
                      <a:lnTo>
                        <a:pt x="827638" y="1277033"/>
                      </a:lnTo>
                      <a:lnTo>
                        <a:pt x="839282" y="1280442"/>
                      </a:lnTo>
                      <a:lnTo>
                        <a:pt x="848104" y="1283671"/>
                      </a:lnTo>
                      <a:lnTo>
                        <a:pt x="859369" y="1286325"/>
                      </a:lnTo>
                      <a:lnTo>
                        <a:pt x="866665" y="1288461"/>
                      </a:lnTo>
                      <a:lnTo>
                        <a:pt x="869181" y="1288637"/>
                      </a:lnTo>
                      <a:lnTo>
                        <a:pt x="874976" y="1290002"/>
                      </a:lnTo>
                      <a:cubicBezTo>
                        <a:pt x="882914" y="1291225"/>
                        <a:pt x="889683" y="1291463"/>
                        <a:pt x="894826" y="1290424"/>
                      </a:cubicBezTo>
                      <a:lnTo>
                        <a:pt x="894826" y="1290424"/>
                      </a:lnTo>
                      <a:lnTo>
                        <a:pt x="869181" y="1288637"/>
                      </a:lnTo>
                      <a:lnTo>
                        <a:pt x="859369" y="1286325"/>
                      </a:lnTo>
                      <a:lnTo>
                        <a:pt x="839282" y="1280442"/>
                      </a:lnTo>
                      <a:lnTo>
                        <a:pt x="784239" y="1260301"/>
                      </a:lnTo>
                      <a:lnTo>
                        <a:pt x="784220" y="1260294"/>
                      </a:lnTo>
                      <a:lnTo>
                        <a:pt x="784196" y="1260281"/>
                      </a:lnTo>
                      <a:lnTo>
                        <a:pt x="741938" y="1237350"/>
                      </a:lnTo>
                      <a:lnTo>
                        <a:pt x="739870" y="1236231"/>
                      </a:lnTo>
                      <a:lnTo>
                        <a:pt x="719751" y="1224200"/>
                      </a:lnTo>
                      <a:lnTo>
                        <a:pt x="706433" y="1218144"/>
                      </a:lnTo>
                      <a:lnTo>
                        <a:pt x="695149" y="1212039"/>
                      </a:lnTo>
                      <a:lnTo>
                        <a:pt x="690534" y="1210912"/>
                      </a:lnTo>
                      <a:lnTo>
                        <a:pt x="681543" y="1206823"/>
                      </a:lnTo>
                      <a:cubicBezTo>
                        <a:pt x="667420" y="1201994"/>
                        <a:pt x="651669" y="1198424"/>
                        <a:pt x="633567" y="1197003"/>
                      </a:cubicBezTo>
                      <a:close/>
                      <a:moveTo>
                        <a:pt x="1407010" y="1171394"/>
                      </a:moveTo>
                      <a:lnTo>
                        <a:pt x="1407010" y="1171395"/>
                      </a:lnTo>
                      <a:lnTo>
                        <a:pt x="1425562" y="1177487"/>
                      </a:lnTo>
                      <a:lnTo>
                        <a:pt x="1431431" y="1182672"/>
                      </a:lnTo>
                      <a:lnTo>
                        <a:pt x="1446527" y="1202532"/>
                      </a:lnTo>
                      <a:lnTo>
                        <a:pt x="1451935" y="1213121"/>
                      </a:lnTo>
                      <a:lnTo>
                        <a:pt x="1459798" y="1261525"/>
                      </a:lnTo>
                      <a:cubicBezTo>
                        <a:pt x="1453635" y="1347106"/>
                        <a:pt x="1406172" y="1334792"/>
                        <a:pt x="1477674" y="1382200"/>
                      </a:cubicBezTo>
                      <a:cubicBezTo>
                        <a:pt x="1495396" y="1394052"/>
                        <a:pt x="1509573" y="1399862"/>
                        <a:pt x="1520899" y="1401228"/>
                      </a:cubicBezTo>
                      <a:lnTo>
                        <a:pt x="1520900" y="1401228"/>
                      </a:lnTo>
                      <a:lnTo>
                        <a:pt x="1501686" y="1395646"/>
                      </a:lnTo>
                      <a:cubicBezTo>
                        <a:pt x="1494510" y="1392541"/>
                        <a:pt x="1486536" y="1388126"/>
                        <a:pt x="1477675" y="1382200"/>
                      </a:cubicBezTo>
                      <a:cubicBezTo>
                        <a:pt x="1406173" y="1334792"/>
                        <a:pt x="1453636" y="1347106"/>
                        <a:pt x="1459799" y="1261525"/>
                      </a:cubicBezTo>
                      <a:cubicBezTo>
                        <a:pt x="1460839" y="1245594"/>
                        <a:pt x="1458976" y="1231676"/>
                        <a:pt x="1455366" y="1219840"/>
                      </a:cubicBezTo>
                      <a:lnTo>
                        <a:pt x="1451935" y="1213121"/>
                      </a:lnTo>
                      <a:lnTo>
                        <a:pt x="1451217" y="1208701"/>
                      </a:lnTo>
                      <a:lnTo>
                        <a:pt x="1446527" y="1202532"/>
                      </a:lnTo>
                      <a:lnTo>
                        <a:pt x="1440458" y="1190648"/>
                      </a:lnTo>
                      <a:lnTo>
                        <a:pt x="1431431" y="1182672"/>
                      </a:lnTo>
                      <a:lnTo>
                        <a:pt x="1428131" y="1178331"/>
                      </a:lnTo>
                      <a:lnTo>
                        <a:pt x="1425562" y="1177487"/>
                      </a:lnTo>
                      <a:lnTo>
                        <a:pt x="1422024" y="1174361"/>
                      </a:lnTo>
                      <a:cubicBezTo>
                        <a:pt x="1416063" y="1171129"/>
                        <a:pt x="1410672" y="1170117"/>
                        <a:pt x="1407010" y="1171394"/>
                      </a:cubicBezTo>
                      <a:close/>
                      <a:moveTo>
                        <a:pt x="2454771" y="1162313"/>
                      </a:moveTo>
                      <a:lnTo>
                        <a:pt x="2497449" y="1166697"/>
                      </a:lnTo>
                      <a:lnTo>
                        <a:pt x="2509074" y="1169436"/>
                      </a:lnTo>
                      <a:lnTo>
                        <a:pt x="2514272" y="1170919"/>
                      </a:lnTo>
                      <a:lnTo>
                        <a:pt x="2521862" y="1173482"/>
                      </a:lnTo>
                      <a:cubicBezTo>
                        <a:pt x="2537580" y="1186719"/>
                        <a:pt x="2549562" y="1193838"/>
                        <a:pt x="2559183" y="1196657"/>
                      </a:cubicBezTo>
                      <a:lnTo>
                        <a:pt x="2559184" y="1196656"/>
                      </a:lnTo>
                      <a:lnTo>
                        <a:pt x="2542810" y="1188976"/>
                      </a:lnTo>
                      <a:cubicBezTo>
                        <a:pt x="2536647" y="1185189"/>
                        <a:pt x="2529722" y="1180100"/>
                        <a:pt x="2521863" y="1173482"/>
                      </a:cubicBezTo>
                      <a:cubicBezTo>
                        <a:pt x="2521863" y="1173482"/>
                        <a:pt x="2519718" y="1172638"/>
                        <a:pt x="2515988" y="1171408"/>
                      </a:cubicBezTo>
                      <a:lnTo>
                        <a:pt x="2514272" y="1170919"/>
                      </a:lnTo>
                      <a:lnTo>
                        <a:pt x="2511749" y="1170067"/>
                      </a:lnTo>
                      <a:lnTo>
                        <a:pt x="2509074" y="1169436"/>
                      </a:lnTo>
                      <a:lnTo>
                        <a:pt x="2500604" y="1167021"/>
                      </a:lnTo>
                      <a:lnTo>
                        <a:pt x="2497449" y="1166697"/>
                      </a:lnTo>
                      <a:lnTo>
                        <a:pt x="2486727" y="1164170"/>
                      </a:lnTo>
                      <a:close/>
                      <a:moveTo>
                        <a:pt x="2216125" y="1161169"/>
                      </a:moveTo>
                      <a:cubicBezTo>
                        <a:pt x="2198250" y="1163016"/>
                        <a:pt x="2175443" y="1172405"/>
                        <a:pt x="2149939" y="1185257"/>
                      </a:cubicBezTo>
                      <a:lnTo>
                        <a:pt x="2136818" y="1192404"/>
                      </a:lnTo>
                      <a:lnTo>
                        <a:pt x="2130342" y="1195482"/>
                      </a:lnTo>
                      <a:lnTo>
                        <a:pt x="2067649" y="1230083"/>
                      </a:lnTo>
                      <a:lnTo>
                        <a:pt x="2067572" y="1230125"/>
                      </a:lnTo>
                      <a:cubicBezTo>
                        <a:pt x="2010246" y="1261525"/>
                        <a:pt x="2047847" y="1279380"/>
                        <a:pt x="2015794" y="1331098"/>
                      </a:cubicBezTo>
                      <a:lnTo>
                        <a:pt x="2015718" y="1331227"/>
                      </a:lnTo>
                      <a:lnTo>
                        <a:pt x="2001220" y="1355699"/>
                      </a:lnTo>
                      <a:lnTo>
                        <a:pt x="1999141" y="1359578"/>
                      </a:lnTo>
                      <a:lnTo>
                        <a:pt x="1997620" y="1362180"/>
                      </a:lnTo>
                      <a:lnTo>
                        <a:pt x="1995686" y="1366025"/>
                      </a:lnTo>
                      <a:lnTo>
                        <a:pt x="1992033" y="1372841"/>
                      </a:lnTo>
                      <a:lnTo>
                        <a:pt x="1990791" y="1375758"/>
                      </a:lnTo>
                      <a:lnTo>
                        <a:pt x="1988287" y="1380738"/>
                      </a:lnTo>
                      <a:cubicBezTo>
                        <a:pt x="1984357" y="1389588"/>
                        <a:pt x="1984357" y="1392051"/>
                        <a:pt x="1984357" y="1392051"/>
                      </a:cubicBezTo>
                      <a:lnTo>
                        <a:pt x="1984358" y="1392050"/>
                      </a:lnTo>
                      <a:lnTo>
                        <a:pt x="1984849" y="1389713"/>
                      </a:lnTo>
                      <a:lnTo>
                        <a:pt x="1990791" y="1375758"/>
                      </a:lnTo>
                      <a:lnTo>
                        <a:pt x="1995686" y="1366025"/>
                      </a:lnTo>
                      <a:lnTo>
                        <a:pt x="1999141" y="1359578"/>
                      </a:lnTo>
                      <a:lnTo>
                        <a:pt x="2015718" y="1331227"/>
                      </a:lnTo>
                      <a:lnTo>
                        <a:pt x="2015795" y="1331098"/>
                      </a:lnTo>
                      <a:cubicBezTo>
                        <a:pt x="2047848" y="1279380"/>
                        <a:pt x="2010247" y="1261525"/>
                        <a:pt x="2067573" y="1230125"/>
                      </a:cubicBezTo>
                      <a:lnTo>
                        <a:pt x="2067649" y="1230083"/>
                      </a:lnTo>
                      <a:lnTo>
                        <a:pt x="2136818" y="1192404"/>
                      </a:lnTo>
                      <a:lnTo>
                        <a:pt x="2185894" y="1169086"/>
                      </a:lnTo>
                      <a:lnTo>
                        <a:pt x="2216126" y="1161169"/>
                      </a:lnTo>
                      <a:close/>
                      <a:moveTo>
                        <a:pt x="1140501" y="1144545"/>
                      </a:moveTo>
                      <a:cubicBezTo>
                        <a:pt x="1140501" y="1144545"/>
                        <a:pt x="1131255" y="1152395"/>
                        <a:pt x="1121084" y="1164247"/>
                      </a:cubicBezTo>
                      <a:lnTo>
                        <a:pt x="1117094" y="1169680"/>
                      </a:lnTo>
                      <a:lnTo>
                        <a:pt x="1113413" y="1173826"/>
                      </a:lnTo>
                      <a:lnTo>
                        <a:pt x="1112001" y="1176613"/>
                      </a:lnTo>
                      <a:lnTo>
                        <a:pt x="1106175" y="1184545"/>
                      </a:lnTo>
                      <a:cubicBezTo>
                        <a:pt x="1101668" y="1191991"/>
                        <a:pt x="1097969" y="1199957"/>
                        <a:pt x="1096120" y="1207961"/>
                      </a:cubicBezTo>
                      <a:cubicBezTo>
                        <a:pt x="1096120" y="1207961"/>
                        <a:pt x="1092807" y="1210731"/>
                        <a:pt x="1088203" y="1213781"/>
                      </a:cubicBezTo>
                      <a:lnTo>
                        <a:pt x="1072543" y="1221275"/>
                      </a:lnTo>
                      <a:lnTo>
                        <a:pt x="1072543" y="1221275"/>
                      </a:lnTo>
                      <a:cubicBezTo>
                        <a:pt x="1082868" y="1219043"/>
                        <a:pt x="1096120" y="1207961"/>
                        <a:pt x="1096120" y="1207961"/>
                      </a:cubicBezTo>
                      <a:lnTo>
                        <a:pt x="1112001" y="1176613"/>
                      </a:lnTo>
                      <a:lnTo>
                        <a:pt x="1117094" y="1169680"/>
                      </a:lnTo>
                      <a:lnTo>
                        <a:pt x="1134607" y="1149951"/>
                      </a:lnTo>
                      <a:lnTo>
                        <a:pt x="1140501" y="1144545"/>
                      </a:lnTo>
                      <a:close/>
                      <a:moveTo>
                        <a:pt x="1416178" y="1143968"/>
                      </a:moveTo>
                      <a:cubicBezTo>
                        <a:pt x="1410717" y="1144199"/>
                        <a:pt x="1407404" y="1144545"/>
                        <a:pt x="1407404" y="1144545"/>
                      </a:cubicBezTo>
                      <a:cubicBezTo>
                        <a:pt x="1375968" y="1178408"/>
                        <a:pt x="1338984" y="1183949"/>
                        <a:pt x="1338984" y="1183949"/>
                      </a:cubicBezTo>
                      <a:cubicBezTo>
                        <a:pt x="1236044" y="1186412"/>
                        <a:pt x="1207073" y="1239361"/>
                        <a:pt x="1207073" y="1239361"/>
                      </a:cubicBezTo>
                      <a:lnTo>
                        <a:pt x="1195446" y="1274442"/>
                      </a:lnTo>
                      <a:lnTo>
                        <a:pt x="1191615" y="1281340"/>
                      </a:lnTo>
                      <a:lnTo>
                        <a:pt x="1182182" y="1292713"/>
                      </a:lnTo>
                      <a:lnTo>
                        <a:pt x="1163196" y="1308771"/>
                      </a:lnTo>
                      <a:lnTo>
                        <a:pt x="1155748" y="1313127"/>
                      </a:lnTo>
                      <a:lnTo>
                        <a:pt x="1133394" y="1320313"/>
                      </a:lnTo>
                      <a:lnTo>
                        <a:pt x="1133394" y="1320314"/>
                      </a:lnTo>
                      <a:lnTo>
                        <a:pt x="1133393" y="1320314"/>
                      </a:lnTo>
                      <a:lnTo>
                        <a:pt x="1123783" y="1321101"/>
                      </a:lnTo>
                      <a:lnTo>
                        <a:pt x="1122009" y="1321247"/>
                      </a:lnTo>
                      <a:lnTo>
                        <a:pt x="1122010" y="1321247"/>
                      </a:lnTo>
                      <a:lnTo>
                        <a:pt x="1123783" y="1321101"/>
                      </a:lnTo>
                      <a:lnTo>
                        <a:pt x="1133394" y="1320314"/>
                      </a:lnTo>
                      <a:lnTo>
                        <a:pt x="1133394" y="1320314"/>
                      </a:lnTo>
                      <a:lnTo>
                        <a:pt x="1133394" y="1320313"/>
                      </a:lnTo>
                      <a:lnTo>
                        <a:pt x="1152228" y="1315185"/>
                      </a:lnTo>
                      <a:lnTo>
                        <a:pt x="1155748" y="1313127"/>
                      </a:lnTo>
                      <a:lnTo>
                        <a:pt x="1159456" y="1311935"/>
                      </a:lnTo>
                      <a:lnTo>
                        <a:pt x="1163196" y="1308771"/>
                      </a:lnTo>
                      <a:lnTo>
                        <a:pt x="1174199" y="1302337"/>
                      </a:lnTo>
                      <a:lnTo>
                        <a:pt x="1182182" y="1292713"/>
                      </a:lnTo>
                      <a:lnTo>
                        <a:pt x="1188061" y="1287740"/>
                      </a:lnTo>
                      <a:lnTo>
                        <a:pt x="1191615" y="1281340"/>
                      </a:lnTo>
                      <a:lnTo>
                        <a:pt x="1194187" y="1278240"/>
                      </a:lnTo>
                      <a:lnTo>
                        <a:pt x="1195446" y="1274442"/>
                      </a:lnTo>
                      <a:lnTo>
                        <a:pt x="1199525" y="1267097"/>
                      </a:lnTo>
                      <a:cubicBezTo>
                        <a:pt x="1202778" y="1259092"/>
                        <a:pt x="1205378" y="1249904"/>
                        <a:pt x="1207074" y="1239361"/>
                      </a:cubicBezTo>
                      <a:cubicBezTo>
                        <a:pt x="1207074" y="1239361"/>
                        <a:pt x="1236045" y="1186412"/>
                        <a:pt x="1338985" y="1183949"/>
                      </a:cubicBezTo>
                      <a:cubicBezTo>
                        <a:pt x="1338985" y="1183949"/>
                        <a:pt x="1375969" y="1178408"/>
                        <a:pt x="1407405" y="1144545"/>
                      </a:cubicBezTo>
                      <a:lnTo>
                        <a:pt x="1416179" y="1143968"/>
                      </a:lnTo>
                      <a:close/>
                      <a:moveTo>
                        <a:pt x="2652772" y="1133539"/>
                      </a:moveTo>
                      <a:lnTo>
                        <a:pt x="2652771" y="1133539"/>
                      </a:lnTo>
                      <a:lnTo>
                        <a:pt x="2658347" y="1136743"/>
                      </a:lnTo>
                      <a:cubicBezTo>
                        <a:pt x="2658935" y="1139388"/>
                        <a:pt x="2658241" y="1143621"/>
                        <a:pt x="2656238" y="1149470"/>
                      </a:cubicBezTo>
                      <a:cubicBezTo>
                        <a:pt x="2648224" y="1173482"/>
                        <a:pt x="2608775" y="1210423"/>
                        <a:pt x="2608775" y="1210423"/>
                      </a:cubicBezTo>
                      <a:cubicBezTo>
                        <a:pt x="2563777" y="1226431"/>
                        <a:pt x="2595830" y="1440075"/>
                        <a:pt x="2595830" y="1440075"/>
                      </a:cubicBezTo>
                      <a:lnTo>
                        <a:pt x="2595862" y="1440173"/>
                      </a:lnTo>
                      <a:lnTo>
                        <a:pt x="2604190" y="1466825"/>
                      </a:lnTo>
                      <a:lnTo>
                        <a:pt x="2605752" y="1470831"/>
                      </a:lnTo>
                      <a:lnTo>
                        <a:pt x="2606763" y="1473965"/>
                      </a:lnTo>
                      <a:lnTo>
                        <a:pt x="2608449" y="1477747"/>
                      </a:lnTo>
                      <a:lnTo>
                        <a:pt x="2611601" y="1485829"/>
                      </a:lnTo>
                      <a:lnTo>
                        <a:pt x="2613154" y="1488300"/>
                      </a:lnTo>
                      <a:lnTo>
                        <a:pt x="2616027" y="1494746"/>
                      </a:lnTo>
                      <a:cubicBezTo>
                        <a:pt x="2621661" y="1504818"/>
                        <a:pt x="2626227" y="1507915"/>
                        <a:pt x="2629809" y="1507569"/>
                      </a:cubicBezTo>
                      <a:lnTo>
                        <a:pt x="2629810" y="1507569"/>
                      </a:lnTo>
                      <a:lnTo>
                        <a:pt x="2623689" y="1505064"/>
                      </a:lnTo>
                      <a:lnTo>
                        <a:pt x="2613154" y="1488300"/>
                      </a:lnTo>
                      <a:lnTo>
                        <a:pt x="2608449" y="1477747"/>
                      </a:lnTo>
                      <a:lnTo>
                        <a:pt x="2605752" y="1470831"/>
                      </a:lnTo>
                      <a:lnTo>
                        <a:pt x="2595862" y="1440173"/>
                      </a:lnTo>
                      <a:lnTo>
                        <a:pt x="2595831" y="1440075"/>
                      </a:lnTo>
                      <a:cubicBezTo>
                        <a:pt x="2595831" y="1440075"/>
                        <a:pt x="2563778" y="1226431"/>
                        <a:pt x="2608776" y="1210423"/>
                      </a:cubicBezTo>
                      <a:cubicBezTo>
                        <a:pt x="2608776" y="1210423"/>
                        <a:pt x="2648225" y="1173482"/>
                        <a:pt x="2656239" y="1149470"/>
                      </a:cubicBezTo>
                      <a:cubicBezTo>
                        <a:pt x="2660246" y="1137772"/>
                        <a:pt x="2659013" y="1132539"/>
                        <a:pt x="2652772" y="1133539"/>
                      </a:cubicBezTo>
                      <a:close/>
                      <a:moveTo>
                        <a:pt x="1601157" y="1073712"/>
                      </a:moveTo>
                      <a:cubicBezTo>
                        <a:pt x="1591513" y="1072738"/>
                        <a:pt x="1583327" y="1074215"/>
                        <a:pt x="1576473" y="1076979"/>
                      </a:cubicBezTo>
                      <a:lnTo>
                        <a:pt x="1572430" y="1079639"/>
                      </a:lnTo>
                      <a:lnTo>
                        <a:pt x="1570058" y="1080129"/>
                      </a:lnTo>
                      <a:lnTo>
                        <a:pt x="1566004" y="1083868"/>
                      </a:lnTo>
                      <a:lnTo>
                        <a:pt x="1559777" y="1087965"/>
                      </a:lnTo>
                      <a:lnTo>
                        <a:pt x="1554567" y="1094416"/>
                      </a:lnTo>
                      <a:lnTo>
                        <a:pt x="1552712" y="1096127"/>
                      </a:lnTo>
                      <a:lnTo>
                        <a:pt x="1551369" y="1098376"/>
                      </a:lnTo>
                      <a:lnTo>
                        <a:pt x="1550314" y="1099682"/>
                      </a:lnTo>
                      <a:cubicBezTo>
                        <a:pt x="1548281" y="1102933"/>
                        <a:pt x="1547327" y="1105141"/>
                        <a:pt x="1547327" y="1105141"/>
                      </a:cubicBezTo>
                      <a:lnTo>
                        <a:pt x="1547315" y="1105159"/>
                      </a:lnTo>
                      <a:lnTo>
                        <a:pt x="1539004" y="1117269"/>
                      </a:lnTo>
                      <a:lnTo>
                        <a:pt x="1536825" y="1121746"/>
                      </a:lnTo>
                      <a:lnTo>
                        <a:pt x="1536405" y="1122409"/>
                      </a:lnTo>
                      <a:lnTo>
                        <a:pt x="1528780" y="1137648"/>
                      </a:lnTo>
                      <a:lnTo>
                        <a:pt x="1524662" y="1145040"/>
                      </a:lnTo>
                      <a:lnTo>
                        <a:pt x="1511788" y="1159254"/>
                      </a:lnTo>
                      <a:lnTo>
                        <a:pt x="1511789" y="1159254"/>
                      </a:lnTo>
                      <a:cubicBezTo>
                        <a:pt x="1515877" y="1157125"/>
                        <a:pt x="1519392" y="1153401"/>
                        <a:pt x="1522551" y="1148830"/>
                      </a:cubicBezTo>
                      <a:lnTo>
                        <a:pt x="1524662" y="1145040"/>
                      </a:lnTo>
                      <a:lnTo>
                        <a:pt x="1525599" y="1144006"/>
                      </a:lnTo>
                      <a:lnTo>
                        <a:pt x="1528780" y="1137648"/>
                      </a:lnTo>
                      <a:lnTo>
                        <a:pt x="1531184" y="1133334"/>
                      </a:lnTo>
                      <a:lnTo>
                        <a:pt x="1536825" y="1121746"/>
                      </a:lnTo>
                      <a:lnTo>
                        <a:pt x="1547315" y="1105159"/>
                      </a:lnTo>
                      <a:lnTo>
                        <a:pt x="1547328" y="1105141"/>
                      </a:lnTo>
                      <a:lnTo>
                        <a:pt x="1551369" y="1098376"/>
                      </a:lnTo>
                      <a:lnTo>
                        <a:pt x="1554567" y="1094416"/>
                      </a:lnTo>
                      <a:lnTo>
                        <a:pt x="1566004" y="1083868"/>
                      </a:lnTo>
                      <a:lnTo>
                        <a:pt x="1572430" y="1079639"/>
                      </a:lnTo>
                      <a:lnTo>
                        <a:pt x="1601157" y="1073712"/>
                      </a:lnTo>
                      <a:close/>
                      <a:moveTo>
                        <a:pt x="2527409" y="1046420"/>
                      </a:moveTo>
                      <a:cubicBezTo>
                        <a:pt x="2510381" y="1047959"/>
                        <a:pt x="2497514" y="1053885"/>
                        <a:pt x="2492891" y="1065121"/>
                      </a:cubicBezTo>
                      <a:cubicBezTo>
                        <a:pt x="2474399" y="1110067"/>
                        <a:pt x="2463303" y="1115608"/>
                        <a:pt x="2405361" y="1142082"/>
                      </a:cubicBezTo>
                      <a:lnTo>
                        <a:pt x="2405353" y="1142088"/>
                      </a:lnTo>
                      <a:lnTo>
                        <a:pt x="2381400" y="1157480"/>
                      </a:lnTo>
                      <a:lnTo>
                        <a:pt x="2379152" y="1161081"/>
                      </a:lnTo>
                      <a:lnTo>
                        <a:pt x="2376775" y="1162804"/>
                      </a:lnTo>
                      <a:lnTo>
                        <a:pt x="2375460" y="1166993"/>
                      </a:lnTo>
                      <a:lnTo>
                        <a:pt x="2371513" y="1173316"/>
                      </a:lnTo>
                      <a:lnTo>
                        <a:pt x="2372092" y="1177724"/>
                      </a:lnTo>
                      <a:lnTo>
                        <a:pt x="2370380" y="1183179"/>
                      </a:lnTo>
                      <a:cubicBezTo>
                        <a:pt x="2370997" y="1195647"/>
                        <a:pt x="2378856" y="1204882"/>
                        <a:pt x="2378856" y="1204882"/>
                      </a:cubicBezTo>
                      <a:lnTo>
                        <a:pt x="2378857" y="1204882"/>
                      </a:lnTo>
                      <a:lnTo>
                        <a:pt x="2374850" y="1198706"/>
                      </a:lnTo>
                      <a:lnTo>
                        <a:pt x="2372092" y="1177724"/>
                      </a:lnTo>
                      <a:lnTo>
                        <a:pt x="2375460" y="1166993"/>
                      </a:lnTo>
                      <a:lnTo>
                        <a:pt x="2379152" y="1161081"/>
                      </a:lnTo>
                      <a:lnTo>
                        <a:pt x="2405353" y="1142088"/>
                      </a:lnTo>
                      <a:lnTo>
                        <a:pt x="2405362" y="1142082"/>
                      </a:lnTo>
                      <a:cubicBezTo>
                        <a:pt x="2463304" y="1115608"/>
                        <a:pt x="2474400" y="1110067"/>
                        <a:pt x="2492892" y="1065121"/>
                      </a:cubicBezTo>
                      <a:cubicBezTo>
                        <a:pt x="2495204" y="1059503"/>
                        <a:pt x="2499576" y="1055212"/>
                        <a:pt x="2505499" y="1052134"/>
                      </a:cubicBezTo>
                      <a:lnTo>
                        <a:pt x="2527410" y="1046420"/>
                      </a:lnTo>
                      <a:close/>
                      <a:moveTo>
                        <a:pt x="263974" y="1036184"/>
                      </a:moveTo>
                      <a:cubicBezTo>
                        <a:pt x="236236" y="1040186"/>
                        <a:pt x="223754" y="1058657"/>
                        <a:pt x="218206" y="1076127"/>
                      </a:cubicBezTo>
                      <a:lnTo>
                        <a:pt x="216422" y="1086211"/>
                      </a:lnTo>
                      <a:lnTo>
                        <a:pt x="215216" y="1088800"/>
                      </a:lnTo>
                      <a:lnTo>
                        <a:pt x="214493" y="1097117"/>
                      </a:lnTo>
                      <a:lnTo>
                        <a:pt x="214045" y="1099648"/>
                      </a:lnTo>
                      <a:lnTo>
                        <a:pt x="214045" y="1102264"/>
                      </a:lnTo>
                      <a:lnTo>
                        <a:pt x="213900" y="1103934"/>
                      </a:lnTo>
                      <a:lnTo>
                        <a:pt x="214045" y="1110025"/>
                      </a:lnTo>
                      <a:lnTo>
                        <a:pt x="214045" y="1110067"/>
                      </a:lnTo>
                      <a:cubicBezTo>
                        <a:pt x="208498" y="1144545"/>
                        <a:pt x="235003" y="1186412"/>
                        <a:pt x="235003" y="1186412"/>
                      </a:cubicBezTo>
                      <a:cubicBezTo>
                        <a:pt x="238085" y="1236898"/>
                        <a:pt x="161035" y="1260294"/>
                        <a:pt x="161035" y="1260294"/>
                      </a:cubicBezTo>
                      <a:cubicBezTo>
                        <a:pt x="92614" y="1260294"/>
                        <a:pt x="113572" y="1302777"/>
                        <a:pt x="113572" y="1302777"/>
                      </a:cubicBezTo>
                      <a:cubicBezTo>
                        <a:pt x="140077" y="1321247"/>
                        <a:pt x="145625" y="1363114"/>
                        <a:pt x="145625" y="1363114"/>
                      </a:cubicBezTo>
                      <a:cubicBezTo>
                        <a:pt x="129598" y="1471475"/>
                        <a:pt x="208498" y="1513341"/>
                        <a:pt x="208498" y="1513341"/>
                      </a:cubicBezTo>
                      <a:cubicBezTo>
                        <a:pt x="261354" y="1539815"/>
                        <a:pt x="306622" y="1551745"/>
                        <a:pt x="344290" y="1554044"/>
                      </a:cubicBezTo>
                      <a:lnTo>
                        <a:pt x="344290" y="1554044"/>
                      </a:lnTo>
                      <a:lnTo>
                        <a:pt x="282090" y="1542758"/>
                      </a:lnTo>
                      <a:cubicBezTo>
                        <a:pt x="259458" y="1536179"/>
                        <a:pt x="234927" y="1526578"/>
                        <a:pt x="208499" y="1513341"/>
                      </a:cubicBezTo>
                      <a:cubicBezTo>
                        <a:pt x="208499" y="1513341"/>
                        <a:pt x="129599" y="1471475"/>
                        <a:pt x="145626" y="1363114"/>
                      </a:cubicBezTo>
                      <a:cubicBezTo>
                        <a:pt x="145626" y="1363114"/>
                        <a:pt x="140078" y="1321247"/>
                        <a:pt x="113573" y="1302777"/>
                      </a:cubicBezTo>
                      <a:cubicBezTo>
                        <a:pt x="113573" y="1302777"/>
                        <a:pt x="92615" y="1260294"/>
                        <a:pt x="161036" y="1260294"/>
                      </a:cubicBezTo>
                      <a:cubicBezTo>
                        <a:pt x="161036" y="1260294"/>
                        <a:pt x="238086" y="1236898"/>
                        <a:pt x="235004" y="1186412"/>
                      </a:cubicBezTo>
                      <a:cubicBezTo>
                        <a:pt x="235004" y="1186412"/>
                        <a:pt x="208499" y="1144545"/>
                        <a:pt x="214046" y="1110067"/>
                      </a:cubicBezTo>
                      <a:lnTo>
                        <a:pt x="214045" y="1110025"/>
                      </a:lnTo>
                      <a:lnTo>
                        <a:pt x="214045" y="1102264"/>
                      </a:lnTo>
                      <a:lnTo>
                        <a:pt x="214493" y="1097117"/>
                      </a:lnTo>
                      <a:lnTo>
                        <a:pt x="216422" y="1086211"/>
                      </a:lnTo>
                      <a:lnTo>
                        <a:pt x="232770" y="1051105"/>
                      </a:lnTo>
                      <a:lnTo>
                        <a:pt x="263975" y="1036184"/>
                      </a:lnTo>
                      <a:close/>
                      <a:moveTo>
                        <a:pt x="879145" y="1012788"/>
                      </a:moveTo>
                      <a:lnTo>
                        <a:pt x="879073" y="1063241"/>
                      </a:lnTo>
                      <a:lnTo>
                        <a:pt x="878176" y="1081458"/>
                      </a:lnTo>
                      <a:lnTo>
                        <a:pt x="876240" y="1093224"/>
                      </a:lnTo>
                      <a:lnTo>
                        <a:pt x="870489" y="1111294"/>
                      </a:lnTo>
                      <a:lnTo>
                        <a:pt x="865480" y="1119963"/>
                      </a:lnTo>
                      <a:lnTo>
                        <a:pt x="845860" y="1132789"/>
                      </a:lnTo>
                      <a:lnTo>
                        <a:pt x="845860" y="1132789"/>
                      </a:lnTo>
                      <a:lnTo>
                        <a:pt x="845860" y="1132789"/>
                      </a:lnTo>
                      <a:lnTo>
                        <a:pt x="845860" y="1132789"/>
                      </a:lnTo>
                      <a:lnTo>
                        <a:pt x="862531" y="1125066"/>
                      </a:lnTo>
                      <a:lnTo>
                        <a:pt x="865480" y="1119963"/>
                      </a:lnTo>
                      <a:lnTo>
                        <a:pt x="868321" y="1118105"/>
                      </a:lnTo>
                      <a:lnTo>
                        <a:pt x="870489" y="1111294"/>
                      </a:lnTo>
                      <a:lnTo>
                        <a:pt x="874371" y="1104575"/>
                      </a:lnTo>
                      <a:lnTo>
                        <a:pt x="876240" y="1093224"/>
                      </a:lnTo>
                      <a:lnTo>
                        <a:pt x="877845" y="1088178"/>
                      </a:lnTo>
                      <a:lnTo>
                        <a:pt x="878176" y="1081458"/>
                      </a:lnTo>
                      <a:lnTo>
                        <a:pt x="879055" y="1076120"/>
                      </a:lnTo>
                      <a:lnTo>
                        <a:pt x="879073" y="1063241"/>
                      </a:lnTo>
                      <a:lnTo>
                        <a:pt x="879698" y="1050556"/>
                      </a:lnTo>
                      <a:cubicBezTo>
                        <a:pt x="879622" y="1037572"/>
                        <a:pt x="879145" y="1024563"/>
                        <a:pt x="879145" y="1012788"/>
                      </a:cubicBezTo>
                      <a:close/>
                      <a:moveTo>
                        <a:pt x="2564606" y="997242"/>
                      </a:moveTo>
                      <a:lnTo>
                        <a:pt x="2603698" y="1004351"/>
                      </a:lnTo>
                      <a:lnTo>
                        <a:pt x="2614978" y="1008193"/>
                      </a:lnTo>
                      <a:lnTo>
                        <a:pt x="2637702" y="1017378"/>
                      </a:lnTo>
                      <a:lnTo>
                        <a:pt x="2644937" y="1020730"/>
                      </a:lnTo>
                      <a:lnTo>
                        <a:pt x="2655621" y="1026333"/>
                      </a:lnTo>
                      <a:cubicBezTo>
                        <a:pt x="2659320" y="1029796"/>
                        <a:pt x="2662989" y="1031864"/>
                        <a:pt x="2666553" y="1032810"/>
                      </a:cubicBezTo>
                      <a:lnTo>
                        <a:pt x="2666554" y="1032810"/>
                      </a:lnTo>
                      <a:lnTo>
                        <a:pt x="2655622" y="1026333"/>
                      </a:lnTo>
                      <a:cubicBezTo>
                        <a:pt x="2655622" y="1026333"/>
                        <a:pt x="2652567" y="1024536"/>
                        <a:pt x="2647325" y="1021836"/>
                      </a:cubicBezTo>
                      <a:lnTo>
                        <a:pt x="2644937" y="1020730"/>
                      </a:lnTo>
                      <a:lnTo>
                        <a:pt x="2641386" y="1018868"/>
                      </a:lnTo>
                      <a:lnTo>
                        <a:pt x="2637702" y="1017378"/>
                      </a:lnTo>
                      <a:lnTo>
                        <a:pt x="2625912" y="1011917"/>
                      </a:lnTo>
                      <a:lnTo>
                        <a:pt x="2614978" y="1008193"/>
                      </a:lnTo>
                      <a:lnTo>
                        <a:pt x="2606925" y="1004938"/>
                      </a:lnTo>
                      <a:lnTo>
                        <a:pt x="2603698" y="1004351"/>
                      </a:lnTo>
                      <a:lnTo>
                        <a:pt x="2596600" y="1001933"/>
                      </a:lnTo>
                      <a:cubicBezTo>
                        <a:pt x="2586093" y="999190"/>
                        <a:pt x="2575138" y="997328"/>
                        <a:pt x="2564606" y="997242"/>
                      </a:cubicBezTo>
                      <a:close/>
                      <a:moveTo>
                        <a:pt x="1813999" y="984389"/>
                      </a:moveTo>
                      <a:cubicBezTo>
                        <a:pt x="1794505" y="984312"/>
                        <a:pt x="1784643" y="990623"/>
                        <a:pt x="1784643" y="990623"/>
                      </a:cubicBezTo>
                      <a:cubicBezTo>
                        <a:pt x="1708825" y="990623"/>
                        <a:pt x="1708825" y="1073741"/>
                        <a:pt x="1716838" y="1093443"/>
                      </a:cubicBezTo>
                      <a:cubicBezTo>
                        <a:pt x="1724851" y="1113145"/>
                        <a:pt x="1766767" y="1210423"/>
                        <a:pt x="1782177" y="1233820"/>
                      </a:cubicBezTo>
                      <a:lnTo>
                        <a:pt x="1782185" y="1233834"/>
                      </a:lnTo>
                      <a:lnTo>
                        <a:pt x="1794023" y="1260629"/>
                      </a:lnTo>
                      <a:lnTo>
                        <a:pt x="1796091" y="1269981"/>
                      </a:lnTo>
                      <a:lnTo>
                        <a:pt x="1796318" y="1274388"/>
                      </a:lnTo>
                      <a:lnTo>
                        <a:pt x="1790412" y="1282391"/>
                      </a:lnTo>
                      <a:lnTo>
                        <a:pt x="1790413" y="1282391"/>
                      </a:lnTo>
                      <a:cubicBezTo>
                        <a:pt x="1793757" y="1282283"/>
                        <a:pt x="1795666" y="1280318"/>
                        <a:pt x="1796460" y="1277152"/>
                      </a:cubicBezTo>
                      <a:lnTo>
                        <a:pt x="1796318" y="1274388"/>
                      </a:lnTo>
                      <a:lnTo>
                        <a:pt x="1796894" y="1273608"/>
                      </a:lnTo>
                      <a:lnTo>
                        <a:pt x="1796091" y="1269981"/>
                      </a:lnTo>
                      <a:lnTo>
                        <a:pt x="1795820" y="1264696"/>
                      </a:lnTo>
                      <a:lnTo>
                        <a:pt x="1794023" y="1260629"/>
                      </a:lnTo>
                      <a:lnTo>
                        <a:pt x="1792627" y="1254320"/>
                      </a:lnTo>
                      <a:lnTo>
                        <a:pt x="1782185" y="1233834"/>
                      </a:lnTo>
                      <a:lnTo>
                        <a:pt x="1782178" y="1233820"/>
                      </a:lnTo>
                      <a:cubicBezTo>
                        <a:pt x="1766768" y="1210423"/>
                        <a:pt x="1724852" y="1113145"/>
                        <a:pt x="1716839" y="1093443"/>
                      </a:cubicBezTo>
                      <a:cubicBezTo>
                        <a:pt x="1708826" y="1073741"/>
                        <a:pt x="1708826" y="990623"/>
                        <a:pt x="1784644" y="990623"/>
                      </a:cubicBezTo>
                      <a:cubicBezTo>
                        <a:pt x="1784644" y="990623"/>
                        <a:pt x="1787110" y="989045"/>
                        <a:pt x="1792012" y="987477"/>
                      </a:cubicBezTo>
                      <a:lnTo>
                        <a:pt x="1813999" y="984389"/>
                      </a:lnTo>
                      <a:close/>
                      <a:moveTo>
                        <a:pt x="570790" y="977636"/>
                      </a:moveTo>
                      <a:cubicBezTo>
                        <a:pt x="567207" y="977462"/>
                        <a:pt x="565396" y="978309"/>
                        <a:pt x="565396" y="978309"/>
                      </a:cubicBezTo>
                      <a:cubicBezTo>
                        <a:pt x="578340" y="1012788"/>
                        <a:pt x="549369" y="1078666"/>
                        <a:pt x="549369" y="1078666"/>
                      </a:cubicBezTo>
                      <a:lnTo>
                        <a:pt x="533677" y="1099408"/>
                      </a:lnTo>
                      <a:lnTo>
                        <a:pt x="530098" y="1103523"/>
                      </a:lnTo>
                      <a:lnTo>
                        <a:pt x="524473" y="1109219"/>
                      </a:lnTo>
                      <a:lnTo>
                        <a:pt x="515046" y="1114856"/>
                      </a:lnTo>
                      <a:lnTo>
                        <a:pt x="515044" y="1114857"/>
                      </a:lnTo>
                      <a:lnTo>
                        <a:pt x="515044" y="1114857"/>
                      </a:lnTo>
                      <a:lnTo>
                        <a:pt x="515046" y="1114856"/>
                      </a:lnTo>
                      <a:lnTo>
                        <a:pt x="521053" y="1112683"/>
                      </a:lnTo>
                      <a:lnTo>
                        <a:pt x="524473" y="1109219"/>
                      </a:lnTo>
                      <a:lnTo>
                        <a:pt x="525869" y="1108385"/>
                      </a:lnTo>
                      <a:lnTo>
                        <a:pt x="530098" y="1103523"/>
                      </a:lnTo>
                      <a:lnTo>
                        <a:pt x="532091" y="1101504"/>
                      </a:lnTo>
                      <a:lnTo>
                        <a:pt x="533677" y="1099408"/>
                      </a:lnTo>
                      <a:lnTo>
                        <a:pt x="535779" y="1096991"/>
                      </a:lnTo>
                      <a:cubicBezTo>
                        <a:pt x="539667" y="1092100"/>
                        <a:pt x="544169" y="1086054"/>
                        <a:pt x="549370" y="1078666"/>
                      </a:cubicBezTo>
                      <a:cubicBezTo>
                        <a:pt x="549370" y="1078666"/>
                        <a:pt x="578341" y="1012788"/>
                        <a:pt x="565397" y="978309"/>
                      </a:cubicBezTo>
                      <a:lnTo>
                        <a:pt x="570790" y="977636"/>
                      </a:lnTo>
                      <a:close/>
                      <a:moveTo>
                        <a:pt x="689293" y="967843"/>
                      </a:moveTo>
                      <a:lnTo>
                        <a:pt x="722335" y="971042"/>
                      </a:lnTo>
                      <a:lnTo>
                        <a:pt x="729412" y="975023"/>
                      </a:lnTo>
                      <a:lnTo>
                        <a:pt x="735016" y="979910"/>
                      </a:lnTo>
                      <a:lnTo>
                        <a:pt x="738156" y="984902"/>
                      </a:lnTo>
                      <a:lnTo>
                        <a:pt x="741977" y="992236"/>
                      </a:lnTo>
                      <a:lnTo>
                        <a:pt x="744546" y="995058"/>
                      </a:lnTo>
                      <a:lnTo>
                        <a:pt x="747197" y="999272"/>
                      </a:lnTo>
                      <a:lnTo>
                        <a:pt x="748894" y="999834"/>
                      </a:lnTo>
                      <a:lnTo>
                        <a:pt x="751067" y="1002221"/>
                      </a:lnTo>
                      <a:cubicBezTo>
                        <a:pt x="755506" y="1004916"/>
                        <a:pt x="761798" y="1006785"/>
                        <a:pt x="771275" y="1007247"/>
                      </a:cubicBezTo>
                      <a:lnTo>
                        <a:pt x="771275" y="1007247"/>
                      </a:lnTo>
                      <a:lnTo>
                        <a:pt x="748894" y="999834"/>
                      </a:lnTo>
                      <a:lnTo>
                        <a:pt x="744546" y="995058"/>
                      </a:lnTo>
                      <a:lnTo>
                        <a:pt x="738156" y="984902"/>
                      </a:lnTo>
                      <a:lnTo>
                        <a:pt x="736006" y="980773"/>
                      </a:lnTo>
                      <a:lnTo>
                        <a:pt x="735016" y="979910"/>
                      </a:lnTo>
                      <a:lnTo>
                        <a:pt x="733328" y="977226"/>
                      </a:lnTo>
                      <a:lnTo>
                        <a:pt x="729412" y="975023"/>
                      </a:lnTo>
                      <a:lnTo>
                        <a:pt x="725160" y="971316"/>
                      </a:lnTo>
                      <a:lnTo>
                        <a:pt x="722335" y="971042"/>
                      </a:lnTo>
                      <a:lnTo>
                        <a:pt x="719079" y="969211"/>
                      </a:lnTo>
                      <a:cubicBezTo>
                        <a:pt x="712184" y="967453"/>
                        <a:pt x="702700" y="966804"/>
                        <a:pt x="689293" y="967843"/>
                      </a:cubicBezTo>
                      <a:close/>
                      <a:moveTo>
                        <a:pt x="398862" y="959300"/>
                      </a:moveTo>
                      <a:lnTo>
                        <a:pt x="398861" y="959300"/>
                      </a:lnTo>
                      <a:lnTo>
                        <a:pt x="411984" y="965201"/>
                      </a:lnTo>
                      <a:lnTo>
                        <a:pt x="414414" y="968797"/>
                      </a:lnTo>
                      <a:lnTo>
                        <a:pt x="418220" y="977582"/>
                      </a:lnTo>
                      <a:lnTo>
                        <a:pt x="419107" y="980821"/>
                      </a:lnTo>
                      <a:lnTo>
                        <a:pt x="419924" y="986313"/>
                      </a:lnTo>
                      <a:cubicBezTo>
                        <a:pt x="409541" y="994663"/>
                        <a:pt x="401305" y="1004185"/>
                        <a:pt x="395049" y="1014479"/>
                      </a:cubicBezTo>
                      <a:lnTo>
                        <a:pt x="387641" y="1033184"/>
                      </a:lnTo>
                      <a:lnTo>
                        <a:pt x="384614" y="1037577"/>
                      </a:lnTo>
                      <a:lnTo>
                        <a:pt x="384465" y="1041202"/>
                      </a:lnTo>
                      <a:lnTo>
                        <a:pt x="382056" y="1047284"/>
                      </a:lnTo>
                      <a:cubicBezTo>
                        <a:pt x="379596" y="1058727"/>
                        <a:pt x="378950" y="1070545"/>
                        <a:pt x="379955" y="1082340"/>
                      </a:cubicBezTo>
                      <a:lnTo>
                        <a:pt x="382328" y="1092971"/>
                      </a:lnTo>
                      <a:lnTo>
                        <a:pt x="382143" y="1097462"/>
                      </a:lnTo>
                      <a:lnTo>
                        <a:pt x="384505" y="1102721"/>
                      </a:lnTo>
                      <a:lnTo>
                        <a:pt x="387752" y="1117260"/>
                      </a:lnTo>
                      <a:lnTo>
                        <a:pt x="397161" y="1130894"/>
                      </a:lnTo>
                      <a:lnTo>
                        <a:pt x="407513" y="1153937"/>
                      </a:lnTo>
                      <a:lnTo>
                        <a:pt x="420968" y="1165389"/>
                      </a:lnTo>
                      <a:lnTo>
                        <a:pt x="429075" y="1177137"/>
                      </a:lnTo>
                      <a:lnTo>
                        <a:pt x="452015" y="1191815"/>
                      </a:lnTo>
                      <a:lnTo>
                        <a:pt x="455726" y="1194973"/>
                      </a:lnTo>
                      <a:lnTo>
                        <a:pt x="458053" y="1195679"/>
                      </a:lnTo>
                      <a:lnTo>
                        <a:pt x="460617" y="1197319"/>
                      </a:lnTo>
                      <a:cubicBezTo>
                        <a:pt x="472175" y="1202565"/>
                        <a:pt x="484720" y="1206195"/>
                        <a:pt x="498089" y="1207814"/>
                      </a:cubicBezTo>
                      <a:lnTo>
                        <a:pt x="498090" y="1207814"/>
                      </a:lnTo>
                      <a:lnTo>
                        <a:pt x="458053" y="1195679"/>
                      </a:lnTo>
                      <a:lnTo>
                        <a:pt x="452015" y="1191815"/>
                      </a:lnTo>
                      <a:lnTo>
                        <a:pt x="420968" y="1165389"/>
                      </a:lnTo>
                      <a:lnTo>
                        <a:pt x="397161" y="1130894"/>
                      </a:lnTo>
                      <a:lnTo>
                        <a:pt x="384505" y="1102721"/>
                      </a:lnTo>
                      <a:lnTo>
                        <a:pt x="382328" y="1092971"/>
                      </a:lnTo>
                      <a:lnTo>
                        <a:pt x="384465" y="1041202"/>
                      </a:lnTo>
                      <a:lnTo>
                        <a:pt x="387641" y="1033184"/>
                      </a:lnTo>
                      <a:lnTo>
                        <a:pt x="419925" y="986313"/>
                      </a:lnTo>
                      <a:cubicBezTo>
                        <a:pt x="419925" y="986313"/>
                        <a:pt x="419838" y="984538"/>
                        <a:pt x="419401" y="981897"/>
                      </a:cubicBezTo>
                      <a:lnTo>
                        <a:pt x="419107" y="980821"/>
                      </a:lnTo>
                      <a:lnTo>
                        <a:pt x="418836" y="979002"/>
                      </a:lnTo>
                      <a:lnTo>
                        <a:pt x="418220" y="977582"/>
                      </a:lnTo>
                      <a:lnTo>
                        <a:pt x="416772" y="972287"/>
                      </a:lnTo>
                      <a:lnTo>
                        <a:pt x="414414" y="968797"/>
                      </a:lnTo>
                      <a:lnTo>
                        <a:pt x="413067" y="965688"/>
                      </a:lnTo>
                      <a:lnTo>
                        <a:pt x="411984" y="965201"/>
                      </a:lnTo>
                      <a:lnTo>
                        <a:pt x="410454" y="962936"/>
                      </a:lnTo>
                      <a:cubicBezTo>
                        <a:pt x="407557" y="960469"/>
                        <a:pt x="403781" y="958954"/>
                        <a:pt x="398862" y="959300"/>
                      </a:cubicBezTo>
                      <a:close/>
                      <a:moveTo>
                        <a:pt x="1765535" y="943908"/>
                      </a:moveTo>
                      <a:lnTo>
                        <a:pt x="1765535" y="943908"/>
                      </a:lnTo>
                      <a:lnTo>
                        <a:pt x="1796971" y="947765"/>
                      </a:lnTo>
                      <a:lnTo>
                        <a:pt x="1796972" y="947765"/>
                      </a:lnTo>
                      <a:close/>
                      <a:moveTo>
                        <a:pt x="256047" y="934558"/>
                      </a:moveTo>
                      <a:cubicBezTo>
                        <a:pt x="249720" y="933865"/>
                        <a:pt x="239780" y="934904"/>
                        <a:pt x="224524" y="938906"/>
                      </a:cubicBezTo>
                      <a:cubicBezTo>
                        <a:pt x="224524" y="938906"/>
                        <a:pt x="50082" y="1012788"/>
                        <a:pt x="92614" y="1212886"/>
                      </a:cubicBezTo>
                      <a:cubicBezTo>
                        <a:pt x="92614" y="1212886"/>
                        <a:pt x="111106" y="1226739"/>
                        <a:pt x="129906" y="1225738"/>
                      </a:cubicBezTo>
                      <a:lnTo>
                        <a:pt x="129907" y="1225738"/>
                      </a:lnTo>
                      <a:lnTo>
                        <a:pt x="104211" y="1219687"/>
                      </a:lnTo>
                      <a:cubicBezTo>
                        <a:pt x="97238" y="1216349"/>
                        <a:pt x="92615" y="1212886"/>
                        <a:pt x="92615" y="1212886"/>
                      </a:cubicBezTo>
                      <a:cubicBezTo>
                        <a:pt x="50083" y="1012788"/>
                        <a:pt x="224525" y="938906"/>
                        <a:pt x="224525" y="938906"/>
                      </a:cubicBezTo>
                      <a:lnTo>
                        <a:pt x="256047" y="934558"/>
                      </a:lnTo>
                      <a:close/>
                      <a:moveTo>
                        <a:pt x="1986208" y="925360"/>
                      </a:moveTo>
                      <a:lnTo>
                        <a:pt x="2026981" y="926346"/>
                      </a:lnTo>
                      <a:lnTo>
                        <a:pt x="2026981" y="926346"/>
                      </a:lnTo>
                      <a:lnTo>
                        <a:pt x="2070517" y="942003"/>
                      </a:lnTo>
                      <a:lnTo>
                        <a:pt x="2100228" y="962163"/>
                      </a:lnTo>
                      <a:lnTo>
                        <a:pt x="2115366" y="975408"/>
                      </a:lnTo>
                      <a:lnTo>
                        <a:pt x="2137563" y="1003792"/>
                      </a:lnTo>
                      <a:lnTo>
                        <a:pt x="2145723" y="1015055"/>
                      </a:lnTo>
                      <a:cubicBezTo>
                        <a:pt x="2152878" y="1026171"/>
                        <a:pt x="2158819" y="1035876"/>
                        <a:pt x="2164347" y="1042341"/>
                      </a:cubicBezTo>
                      <a:lnTo>
                        <a:pt x="2174315" y="1062173"/>
                      </a:lnTo>
                      <a:lnTo>
                        <a:pt x="2177239" y="1073089"/>
                      </a:lnTo>
                      <a:lnTo>
                        <a:pt x="2180730" y="1087374"/>
                      </a:lnTo>
                      <a:lnTo>
                        <a:pt x="2181479" y="1089577"/>
                      </a:lnTo>
                      <a:lnTo>
                        <a:pt x="2183689" y="1098396"/>
                      </a:lnTo>
                      <a:lnTo>
                        <a:pt x="2185828" y="1102362"/>
                      </a:lnTo>
                      <a:lnTo>
                        <a:pt x="2187556" y="1107443"/>
                      </a:lnTo>
                      <a:lnTo>
                        <a:pt x="2189098" y="1108425"/>
                      </a:lnTo>
                      <a:lnTo>
                        <a:pt x="2190979" y="1111913"/>
                      </a:lnTo>
                      <a:lnTo>
                        <a:pt x="2200752" y="1115847"/>
                      </a:lnTo>
                      <a:lnTo>
                        <a:pt x="2200754" y="1115848"/>
                      </a:lnTo>
                      <a:lnTo>
                        <a:pt x="2200754" y="1115848"/>
                      </a:lnTo>
                      <a:lnTo>
                        <a:pt x="2200752" y="1115847"/>
                      </a:lnTo>
                      <a:lnTo>
                        <a:pt x="2189098" y="1108425"/>
                      </a:lnTo>
                      <a:lnTo>
                        <a:pt x="2185828" y="1102362"/>
                      </a:lnTo>
                      <a:lnTo>
                        <a:pt x="2181479" y="1089577"/>
                      </a:lnTo>
                      <a:lnTo>
                        <a:pt x="2178927" y="1079393"/>
                      </a:lnTo>
                      <a:lnTo>
                        <a:pt x="2177239" y="1073089"/>
                      </a:lnTo>
                      <a:lnTo>
                        <a:pt x="2174814" y="1063165"/>
                      </a:lnTo>
                      <a:lnTo>
                        <a:pt x="2174315" y="1062173"/>
                      </a:lnTo>
                      <a:lnTo>
                        <a:pt x="2173534" y="1059256"/>
                      </a:lnTo>
                      <a:cubicBezTo>
                        <a:pt x="2171280" y="1052839"/>
                        <a:pt x="2168393" y="1046958"/>
                        <a:pt x="2164348" y="1042341"/>
                      </a:cubicBezTo>
                      <a:cubicBezTo>
                        <a:pt x="2158030" y="1034953"/>
                        <a:pt x="2151173" y="1023331"/>
                        <a:pt x="2142582" y="1010210"/>
                      </a:cubicBezTo>
                      <a:lnTo>
                        <a:pt x="2137563" y="1003792"/>
                      </a:lnTo>
                      <a:lnTo>
                        <a:pt x="2119821" y="979306"/>
                      </a:lnTo>
                      <a:lnTo>
                        <a:pt x="2115366" y="975408"/>
                      </a:lnTo>
                      <a:lnTo>
                        <a:pt x="2110413" y="969074"/>
                      </a:lnTo>
                      <a:lnTo>
                        <a:pt x="2100228" y="962163"/>
                      </a:lnTo>
                      <a:lnTo>
                        <a:pt x="2081841" y="946075"/>
                      </a:lnTo>
                      <a:lnTo>
                        <a:pt x="2070517" y="942003"/>
                      </a:lnTo>
                      <a:lnTo>
                        <a:pt x="2060677" y="935326"/>
                      </a:lnTo>
                      <a:cubicBezTo>
                        <a:pt x="2050526" y="931228"/>
                        <a:pt x="2039344" y="928121"/>
                        <a:pt x="2026982" y="926346"/>
                      </a:cubicBezTo>
                      <a:lnTo>
                        <a:pt x="2026981" y="926346"/>
                      </a:lnTo>
                      <a:close/>
                      <a:moveTo>
                        <a:pt x="427938" y="867486"/>
                      </a:moveTo>
                      <a:cubicBezTo>
                        <a:pt x="413453" y="867486"/>
                        <a:pt x="397619" y="874759"/>
                        <a:pt x="382016" y="885668"/>
                      </a:cubicBezTo>
                      <a:lnTo>
                        <a:pt x="372904" y="893852"/>
                      </a:lnTo>
                      <a:lnTo>
                        <a:pt x="364645" y="899283"/>
                      </a:lnTo>
                      <a:lnTo>
                        <a:pt x="346426" y="917634"/>
                      </a:lnTo>
                      <a:lnTo>
                        <a:pt x="337481" y="925668"/>
                      </a:lnTo>
                      <a:lnTo>
                        <a:pt x="332082" y="932082"/>
                      </a:lnTo>
                      <a:lnTo>
                        <a:pt x="327675" y="936521"/>
                      </a:lnTo>
                      <a:lnTo>
                        <a:pt x="309550" y="958850"/>
                      </a:lnTo>
                      <a:lnTo>
                        <a:pt x="303810" y="965669"/>
                      </a:lnTo>
                      <a:lnTo>
                        <a:pt x="301582" y="968665"/>
                      </a:lnTo>
                      <a:lnTo>
                        <a:pt x="300838" y="969582"/>
                      </a:lnTo>
                      <a:lnTo>
                        <a:pt x="295756" y="976502"/>
                      </a:lnTo>
                      <a:lnTo>
                        <a:pt x="294010" y="978851"/>
                      </a:lnTo>
                      <a:lnTo>
                        <a:pt x="293482" y="979599"/>
                      </a:lnTo>
                      <a:lnTo>
                        <a:pt x="293203" y="979979"/>
                      </a:lnTo>
                      <a:lnTo>
                        <a:pt x="290712" y="983523"/>
                      </a:lnTo>
                      <a:lnTo>
                        <a:pt x="290480" y="983851"/>
                      </a:lnTo>
                      <a:cubicBezTo>
                        <a:pt x="293100" y="1007555"/>
                        <a:pt x="299533" y="1018714"/>
                        <a:pt x="307710" y="1022119"/>
                      </a:cubicBezTo>
                      <a:lnTo>
                        <a:pt x="307711" y="1022119"/>
                      </a:lnTo>
                      <a:lnTo>
                        <a:pt x="297012" y="1010597"/>
                      </a:lnTo>
                      <a:cubicBezTo>
                        <a:pt x="294054" y="1004418"/>
                        <a:pt x="291791" y="995703"/>
                        <a:pt x="290481" y="983851"/>
                      </a:cubicBezTo>
                      <a:lnTo>
                        <a:pt x="290712" y="983523"/>
                      </a:lnTo>
                      <a:lnTo>
                        <a:pt x="293482" y="979599"/>
                      </a:lnTo>
                      <a:lnTo>
                        <a:pt x="295756" y="976502"/>
                      </a:lnTo>
                      <a:lnTo>
                        <a:pt x="301582" y="968665"/>
                      </a:lnTo>
                      <a:lnTo>
                        <a:pt x="309550" y="958850"/>
                      </a:lnTo>
                      <a:lnTo>
                        <a:pt x="332082" y="932082"/>
                      </a:lnTo>
                      <a:lnTo>
                        <a:pt x="346426" y="917634"/>
                      </a:lnTo>
                      <a:lnTo>
                        <a:pt x="372904" y="893852"/>
                      </a:lnTo>
                      <a:lnTo>
                        <a:pt x="405397" y="872486"/>
                      </a:lnTo>
                      <a:lnTo>
                        <a:pt x="427939" y="867486"/>
                      </a:lnTo>
                      <a:close/>
                      <a:moveTo>
                        <a:pt x="1029718" y="808954"/>
                      </a:moveTo>
                      <a:lnTo>
                        <a:pt x="1035096" y="843471"/>
                      </a:lnTo>
                      <a:lnTo>
                        <a:pt x="1032706" y="812505"/>
                      </a:lnTo>
                      <a:close/>
                      <a:moveTo>
                        <a:pt x="440882" y="804070"/>
                      </a:moveTo>
                      <a:cubicBezTo>
                        <a:pt x="440882" y="804070"/>
                        <a:pt x="437740" y="804265"/>
                        <a:pt x="432492" y="805015"/>
                      </a:cubicBezTo>
                      <a:lnTo>
                        <a:pt x="430154" y="805492"/>
                      </a:lnTo>
                      <a:lnTo>
                        <a:pt x="426580" y="805965"/>
                      </a:lnTo>
                      <a:lnTo>
                        <a:pt x="423037" y="806941"/>
                      </a:lnTo>
                      <a:lnTo>
                        <a:pt x="411465" y="809297"/>
                      </a:lnTo>
                      <a:lnTo>
                        <a:pt x="401232" y="812945"/>
                      </a:lnTo>
                      <a:lnTo>
                        <a:pt x="393496" y="815075"/>
                      </a:lnTo>
                      <a:lnTo>
                        <a:pt x="390663" y="816713"/>
                      </a:lnTo>
                      <a:lnTo>
                        <a:pt x="384018" y="819082"/>
                      </a:lnTo>
                      <a:cubicBezTo>
                        <a:pt x="374489" y="823502"/>
                        <a:pt x="364927" y="829200"/>
                        <a:pt x="356367" y="836538"/>
                      </a:cubicBezTo>
                      <a:lnTo>
                        <a:pt x="390663" y="816713"/>
                      </a:lnTo>
                      <a:lnTo>
                        <a:pt x="401232" y="812945"/>
                      </a:lnTo>
                      <a:lnTo>
                        <a:pt x="423037" y="806941"/>
                      </a:lnTo>
                      <a:lnTo>
                        <a:pt x="430154" y="805492"/>
                      </a:lnTo>
                      <a:close/>
                      <a:moveTo>
                        <a:pt x="1018311" y="795397"/>
                      </a:moveTo>
                      <a:cubicBezTo>
                        <a:pt x="1014017" y="793708"/>
                        <a:pt x="1009070" y="793618"/>
                        <a:pt x="1003631" y="795508"/>
                      </a:cubicBezTo>
                      <a:cubicBezTo>
                        <a:pt x="996379" y="798029"/>
                        <a:pt x="988250" y="804070"/>
                        <a:pt x="979620" y="814537"/>
                      </a:cubicBezTo>
                      <a:cubicBezTo>
                        <a:pt x="979620" y="814537"/>
                        <a:pt x="853256" y="1083592"/>
                        <a:pt x="942635" y="1236898"/>
                      </a:cubicBezTo>
                      <a:cubicBezTo>
                        <a:pt x="942635" y="1236898"/>
                        <a:pt x="945518" y="1239127"/>
                        <a:pt x="951002" y="1242332"/>
                      </a:cubicBezTo>
                      <a:lnTo>
                        <a:pt x="953670" y="1243588"/>
                      </a:lnTo>
                      <a:lnTo>
                        <a:pt x="957343" y="1245816"/>
                      </a:lnTo>
                      <a:lnTo>
                        <a:pt x="961782" y="1247407"/>
                      </a:lnTo>
                      <a:lnTo>
                        <a:pt x="974979" y="1253619"/>
                      </a:lnTo>
                      <a:lnTo>
                        <a:pt x="989111" y="1257203"/>
                      </a:lnTo>
                      <a:lnTo>
                        <a:pt x="998806" y="1260679"/>
                      </a:lnTo>
                      <a:lnTo>
                        <a:pt x="1003707" y="1260906"/>
                      </a:lnTo>
                      <a:lnTo>
                        <a:pt x="1012885" y="1263233"/>
                      </a:lnTo>
                      <a:cubicBezTo>
                        <a:pt x="1027655" y="1265323"/>
                        <a:pt x="1044465" y="1265881"/>
                        <a:pt x="1063037" y="1263651"/>
                      </a:cubicBezTo>
                      <a:lnTo>
                        <a:pt x="1063037" y="1263651"/>
                      </a:lnTo>
                      <a:lnTo>
                        <a:pt x="1003707" y="1260906"/>
                      </a:lnTo>
                      <a:lnTo>
                        <a:pt x="989111" y="1257203"/>
                      </a:lnTo>
                      <a:lnTo>
                        <a:pt x="961782" y="1247407"/>
                      </a:lnTo>
                      <a:lnTo>
                        <a:pt x="953670" y="1243588"/>
                      </a:lnTo>
                      <a:lnTo>
                        <a:pt x="942636" y="1236898"/>
                      </a:lnTo>
                      <a:cubicBezTo>
                        <a:pt x="853257" y="1083592"/>
                        <a:pt x="979620" y="814537"/>
                        <a:pt x="979620" y="814537"/>
                      </a:cubicBezTo>
                      <a:cubicBezTo>
                        <a:pt x="988250" y="804070"/>
                        <a:pt x="996379" y="798029"/>
                        <a:pt x="1003631" y="795508"/>
                      </a:cubicBezTo>
                      <a:close/>
                      <a:moveTo>
                        <a:pt x="681281" y="791168"/>
                      </a:moveTo>
                      <a:lnTo>
                        <a:pt x="681716" y="836578"/>
                      </a:lnTo>
                      <a:lnTo>
                        <a:pt x="680484" y="851072"/>
                      </a:lnTo>
                      <a:lnTo>
                        <a:pt x="676095" y="884761"/>
                      </a:lnTo>
                      <a:lnTo>
                        <a:pt x="670861" y="900354"/>
                      </a:lnTo>
                      <a:lnTo>
                        <a:pt x="658268" y="923351"/>
                      </a:lnTo>
                      <a:lnTo>
                        <a:pt x="640598" y="938873"/>
                      </a:lnTo>
                      <a:lnTo>
                        <a:pt x="636967" y="940909"/>
                      </a:lnTo>
                      <a:lnTo>
                        <a:pt x="610709" y="943667"/>
                      </a:lnTo>
                      <a:cubicBezTo>
                        <a:pt x="620129" y="944618"/>
                        <a:pt x="628330" y="943883"/>
                        <a:pt x="635466" y="941751"/>
                      </a:cubicBezTo>
                      <a:lnTo>
                        <a:pt x="636967" y="940909"/>
                      </a:lnTo>
                      <a:lnTo>
                        <a:pt x="638459" y="940752"/>
                      </a:lnTo>
                      <a:lnTo>
                        <a:pt x="640598" y="938873"/>
                      </a:lnTo>
                      <a:lnTo>
                        <a:pt x="653830" y="931454"/>
                      </a:lnTo>
                      <a:lnTo>
                        <a:pt x="658268" y="923351"/>
                      </a:lnTo>
                      <a:lnTo>
                        <a:pt x="665181" y="917278"/>
                      </a:lnTo>
                      <a:lnTo>
                        <a:pt x="670861" y="900354"/>
                      </a:lnTo>
                      <a:lnTo>
                        <a:pt x="675063" y="892682"/>
                      </a:lnTo>
                      <a:lnTo>
                        <a:pt x="676095" y="884761"/>
                      </a:lnTo>
                      <a:lnTo>
                        <a:pt x="678137" y="878674"/>
                      </a:lnTo>
                      <a:lnTo>
                        <a:pt x="680484" y="851072"/>
                      </a:lnTo>
                      <a:lnTo>
                        <a:pt x="681761" y="841271"/>
                      </a:lnTo>
                      <a:lnTo>
                        <a:pt x="681716" y="836578"/>
                      </a:lnTo>
                      <a:lnTo>
                        <a:pt x="681960" y="833706"/>
                      </a:lnTo>
                      <a:close/>
                      <a:moveTo>
                        <a:pt x="2336942" y="789294"/>
                      </a:moveTo>
                      <a:lnTo>
                        <a:pt x="2336941" y="789294"/>
                      </a:lnTo>
                      <a:lnTo>
                        <a:pt x="2350662" y="794915"/>
                      </a:lnTo>
                      <a:lnTo>
                        <a:pt x="2350672" y="794945"/>
                      </a:lnTo>
                      <a:lnTo>
                        <a:pt x="2357003" y="814001"/>
                      </a:lnTo>
                      <a:lnTo>
                        <a:pt x="2357557" y="823380"/>
                      </a:lnTo>
                      <a:lnTo>
                        <a:pt x="2357968" y="841519"/>
                      </a:lnTo>
                      <a:lnTo>
                        <a:pt x="2351357" y="897183"/>
                      </a:lnTo>
                      <a:lnTo>
                        <a:pt x="2339080" y="953624"/>
                      </a:lnTo>
                      <a:lnTo>
                        <a:pt x="2332187" y="982395"/>
                      </a:lnTo>
                      <a:lnTo>
                        <a:pt x="2329248" y="992083"/>
                      </a:lnTo>
                      <a:lnTo>
                        <a:pt x="2307353" y="1055886"/>
                      </a:lnTo>
                      <a:cubicBezTo>
                        <a:pt x="2302653" y="1067276"/>
                        <a:pt x="2298656" y="1077089"/>
                        <a:pt x="2295345" y="1085544"/>
                      </a:cubicBezTo>
                      <a:lnTo>
                        <a:pt x="2292980" y="1091993"/>
                      </a:lnTo>
                      <a:lnTo>
                        <a:pt x="2290893" y="1097235"/>
                      </a:lnTo>
                      <a:lnTo>
                        <a:pt x="2290178" y="1099632"/>
                      </a:lnTo>
                      <a:lnTo>
                        <a:pt x="2287455" y="1107055"/>
                      </a:lnTo>
                      <a:lnTo>
                        <a:pt x="2286862" y="1110746"/>
                      </a:lnTo>
                      <a:lnTo>
                        <a:pt x="2283582" y="1121742"/>
                      </a:lnTo>
                      <a:lnTo>
                        <a:pt x="2284240" y="1127071"/>
                      </a:lnTo>
                      <a:lnTo>
                        <a:pt x="2283622" y="1130923"/>
                      </a:lnTo>
                      <a:lnTo>
                        <a:pt x="2284808" y="1131663"/>
                      </a:lnTo>
                      <a:lnTo>
                        <a:pt x="2285080" y="1133862"/>
                      </a:lnTo>
                      <a:lnTo>
                        <a:pt x="2295043" y="1138051"/>
                      </a:lnTo>
                      <a:lnTo>
                        <a:pt x="2295044" y="1138052"/>
                      </a:lnTo>
                      <a:lnTo>
                        <a:pt x="2295045" y="1138052"/>
                      </a:lnTo>
                      <a:lnTo>
                        <a:pt x="2319955" y="1138969"/>
                      </a:lnTo>
                      <a:lnTo>
                        <a:pt x="2320914" y="1139004"/>
                      </a:lnTo>
                      <a:lnTo>
                        <a:pt x="2320914" y="1139004"/>
                      </a:lnTo>
                      <a:lnTo>
                        <a:pt x="2319955" y="1138969"/>
                      </a:lnTo>
                      <a:lnTo>
                        <a:pt x="2295045" y="1138052"/>
                      </a:lnTo>
                      <a:lnTo>
                        <a:pt x="2295045" y="1138052"/>
                      </a:lnTo>
                      <a:lnTo>
                        <a:pt x="2295043" y="1138051"/>
                      </a:lnTo>
                      <a:lnTo>
                        <a:pt x="2284808" y="1131663"/>
                      </a:lnTo>
                      <a:lnTo>
                        <a:pt x="2284240" y="1127071"/>
                      </a:lnTo>
                      <a:lnTo>
                        <a:pt x="2286862" y="1110746"/>
                      </a:lnTo>
                      <a:lnTo>
                        <a:pt x="2290178" y="1099632"/>
                      </a:lnTo>
                      <a:lnTo>
                        <a:pt x="2292980" y="1091993"/>
                      </a:lnTo>
                      <a:lnTo>
                        <a:pt x="2307354" y="1055886"/>
                      </a:lnTo>
                      <a:cubicBezTo>
                        <a:pt x="2312054" y="1044573"/>
                        <a:pt x="2316774" y="1031807"/>
                        <a:pt x="2321342" y="1018143"/>
                      </a:cubicBezTo>
                      <a:lnTo>
                        <a:pt x="2329248" y="992083"/>
                      </a:lnTo>
                      <a:lnTo>
                        <a:pt x="2331296" y="986116"/>
                      </a:lnTo>
                      <a:lnTo>
                        <a:pt x="2332187" y="982395"/>
                      </a:lnTo>
                      <a:lnTo>
                        <a:pt x="2334428" y="975010"/>
                      </a:lnTo>
                      <a:lnTo>
                        <a:pt x="2339080" y="953624"/>
                      </a:lnTo>
                      <a:lnTo>
                        <a:pt x="2350134" y="907481"/>
                      </a:lnTo>
                      <a:lnTo>
                        <a:pt x="2351357" y="897183"/>
                      </a:lnTo>
                      <a:lnTo>
                        <a:pt x="2353816" y="885879"/>
                      </a:lnTo>
                      <a:cubicBezTo>
                        <a:pt x="2355954" y="871815"/>
                        <a:pt x="2357432" y="858515"/>
                        <a:pt x="2358081" y="846534"/>
                      </a:cubicBezTo>
                      <a:lnTo>
                        <a:pt x="2357968" y="841519"/>
                      </a:lnTo>
                      <a:lnTo>
                        <a:pt x="2358409" y="837805"/>
                      </a:lnTo>
                      <a:lnTo>
                        <a:pt x="2357557" y="823380"/>
                      </a:lnTo>
                      <a:lnTo>
                        <a:pt x="2357370" y="815104"/>
                      </a:lnTo>
                      <a:lnTo>
                        <a:pt x="2357003" y="814001"/>
                      </a:lnTo>
                      <a:lnTo>
                        <a:pt x="2356879" y="811898"/>
                      </a:lnTo>
                      <a:lnTo>
                        <a:pt x="2350672" y="794945"/>
                      </a:lnTo>
                      <a:lnTo>
                        <a:pt x="2350663" y="794915"/>
                      </a:lnTo>
                      <a:cubicBezTo>
                        <a:pt x="2347315" y="790429"/>
                        <a:pt x="2342798" y="788370"/>
                        <a:pt x="2336942" y="789294"/>
                      </a:cubicBezTo>
                      <a:close/>
                      <a:moveTo>
                        <a:pt x="509987" y="779317"/>
                      </a:moveTo>
                      <a:cubicBezTo>
                        <a:pt x="506259" y="780443"/>
                        <a:pt x="501752" y="783906"/>
                        <a:pt x="496358" y="791141"/>
                      </a:cubicBezTo>
                      <a:lnTo>
                        <a:pt x="494856" y="798090"/>
                      </a:lnTo>
                      <a:lnTo>
                        <a:pt x="492870" y="801617"/>
                      </a:lnTo>
                      <a:lnTo>
                        <a:pt x="474255" y="811140"/>
                      </a:lnTo>
                      <a:lnTo>
                        <a:pt x="474255" y="811141"/>
                      </a:lnTo>
                      <a:lnTo>
                        <a:pt x="474255" y="811141"/>
                      </a:lnTo>
                      <a:lnTo>
                        <a:pt x="474255" y="811140"/>
                      </a:lnTo>
                      <a:lnTo>
                        <a:pt x="490580" y="805686"/>
                      </a:lnTo>
                      <a:lnTo>
                        <a:pt x="492870" y="801617"/>
                      </a:lnTo>
                      <a:lnTo>
                        <a:pt x="494246" y="800914"/>
                      </a:lnTo>
                      <a:lnTo>
                        <a:pt x="494856" y="798090"/>
                      </a:lnTo>
                      <a:lnTo>
                        <a:pt x="495925" y="796191"/>
                      </a:lnTo>
                      <a:cubicBezTo>
                        <a:pt x="496551" y="793296"/>
                        <a:pt x="496358" y="791141"/>
                        <a:pt x="496358" y="791141"/>
                      </a:cubicBezTo>
                      <a:lnTo>
                        <a:pt x="509987" y="779317"/>
                      </a:lnTo>
                      <a:close/>
                      <a:moveTo>
                        <a:pt x="2601292" y="757855"/>
                      </a:moveTo>
                      <a:lnTo>
                        <a:pt x="2601291" y="757855"/>
                      </a:lnTo>
                      <a:lnTo>
                        <a:pt x="2606626" y="763218"/>
                      </a:lnTo>
                      <a:cubicBezTo>
                        <a:pt x="2608775" y="766013"/>
                        <a:pt x="2611317" y="769899"/>
                        <a:pt x="2614322" y="775133"/>
                      </a:cubicBezTo>
                      <a:lnTo>
                        <a:pt x="2624988" y="811007"/>
                      </a:lnTo>
                      <a:lnTo>
                        <a:pt x="2626106" y="816758"/>
                      </a:lnTo>
                      <a:lnTo>
                        <a:pt x="2627538" y="836324"/>
                      </a:lnTo>
                      <a:lnTo>
                        <a:pt x="2628988" y="873415"/>
                      </a:lnTo>
                      <a:lnTo>
                        <a:pt x="2627243" y="892919"/>
                      </a:lnTo>
                      <a:lnTo>
                        <a:pt x="2621067" y="930287"/>
                      </a:lnTo>
                      <a:lnTo>
                        <a:pt x="2620269" y="933160"/>
                      </a:lnTo>
                      <a:lnTo>
                        <a:pt x="2612234" y="948308"/>
                      </a:lnTo>
                      <a:lnTo>
                        <a:pt x="2612215" y="948342"/>
                      </a:lnTo>
                      <a:lnTo>
                        <a:pt x="2600762" y="954298"/>
                      </a:lnTo>
                      <a:lnTo>
                        <a:pt x="2600762" y="954298"/>
                      </a:lnTo>
                      <a:cubicBezTo>
                        <a:pt x="2605077" y="954298"/>
                        <a:pt x="2608891" y="952162"/>
                        <a:pt x="2612216" y="948342"/>
                      </a:cubicBezTo>
                      <a:lnTo>
                        <a:pt x="2612234" y="948308"/>
                      </a:lnTo>
                      <a:lnTo>
                        <a:pt x="2619829" y="934746"/>
                      </a:lnTo>
                      <a:lnTo>
                        <a:pt x="2620269" y="933160"/>
                      </a:lnTo>
                      <a:lnTo>
                        <a:pt x="2620738" y="932277"/>
                      </a:lnTo>
                      <a:lnTo>
                        <a:pt x="2621067" y="930287"/>
                      </a:lnTo>
                      <a:lnTo>
                        <a:pt x="2625247" y="915223"/>
                      </a:lnTo>
                      <a:lnTo>
                        <a:pt x="2627243" y="892919"/>
                      </a:lnTo>
                      <a:lnTo>
                        <a:pt x="2629271" y="880646"/>
                      </a:lnTo>
                      <a:lnTo>
                        <a:pt x="2628988" y="873415"/>
                      </a:lnTo>
                      <a:lnTo>
                        <a:pt x="2629683" y="865648"/>
                      </a:lnTo>
                      <a:lnTo>
                        <a:pt x="2627538" y="836324"/>
                      </a:lnTo>
                      <a:lnTo>
                        <a:pt x="2626940" y="821050"/>
                      </a:lnTo>
                      <a:lnTo>
                        <a:pt x="2626106" y="816758"/>
                      </a:lnTo>
                      <a:lnTo>
                        <a:pt x="2625913" y="814118"/>
                      </a:lnTo>
                      <a:lnTo>
                        <a:pt x="2624988" y="811007"/>
                      </a:lnTo>
                      <a:lnTo>
                        <a:pt x="2621881" y="795028"/>
                      </a:lnTo>
                      <a:cubicBezTo>
                        <a:pt x="2619775" y="787225"/>
                        <a:pt x="2617251" y="780443"/>
                        <a:pt x="2614323" y="775133"/>
                      </a:cubicBezTo>
                      <a:cubicBezTo>
                        <a:pt x="2608313" y="764666"/>
                        <a:pt x="2604153" y="759587"/>
                        <a:pt x="2601292" y="757855"/>
                      </a:cubicBezTo>
                      <a:close/>
                      <a:moveTo>
                        <a:pt x="694841" y="739577"/>
                      </a:moveTo>
                      <a:cubicBezTo>
                        <a:pt x="687290" y="742809"/>
                        <a:pt x="680047" y="756662"/>
                        <a:pt x="681280" y="791141"/>
                      </a:cubicBezTo>
                      <a:cubicBezTo>
                        <a:pt x="680664" y="773902"/>
                        <a:pt x="682166" y="761819"/>
                        <a:pt x="684767" y="753642"/>
                      </a:cubicBezTo>
                      <a:lnTo>
                        <a:pt x="694841" y="739577"/>
                      </a:lnTo>
                      <a:close/>
                      <a:moveTo>
                        <a:pt x="1893175" y="725473"/>
                      </a:moveTo>
                      <a:lnTo>
                        <a:pt x="1879630" y="731521"/>
                      </a:lnTo>
                      <a:lnTo>
                        <a:pt x="1875135" y="734806"/>
                      </a:lnTo>
                      <a:close/>
                      <a:moveTo>
                        <a:pt x="1893182" y="725470"/>
                      </a:moveTo>
                      <a:lnTo>
                        <a:pt x="1893182" y="725470"/>
                      </a:lnTo>
                      <a:lnTo>
                        <a:pt x="1900931" y="726618"/>
                      </a:lnTo>
                      <a:cubicBezTo>
                        <a:pt x="1902992" y="728841"/>
                        <a:pt x="1903146" y="733420"/>
                        <a:pt x="1901143" y="740654"/>
                      </a:cubicBezTo>
                      <a:cubicBezTo>
                        <a:pt x="1893130" y="770207"/>
                        <a:pt x="1840735" y="770207"/>
                        <a:pt x="1861693" y="814537"/>
                      </a:cubicBezTo>
                      <a:lnTo>
                        <a:pt x="1866697" y="839451"/>
                      </a:lnTo>
                      <a:lnTo>
                        <a:pt x="1865245" y="844744"/>
                      </a:lnTo>
                      <a:lnTo>
                        <a:pt x="1860015" y="852338"/>
                      </a:lnTo>
                      <a:lnTo>
                        <a:pt x="1836817" y="861117"/>
                      </a:lnTo>
                      <a:lnTo>
                        <a:pt x="1836816" y="861117"/>
                      </a:lnTo>
                      <a:lnTo>
                        <a:pt x="1836816" y="861117"/>
                      </a:lnTo>
                      <a:lnTo>
                        <a:pt x="1836817" y="861117"/>
                      </a:lnTo>
                      <a:lnTo>
                        <a:pt x="1856685" y="857173"/>
                      </a:lnTo>
                      <a:lnTo>
                        <a:pt x="1860015" y="852338"/>
                      </a:lnTo>
                      <a:lnTo>
                        <a:pt x="1863525" y="851009"/>
                      </a:lnTo>
                      <a:lnTo>
                        <a:pt x="1865245" y="844744"/>
                      </a:lnTo>
                      <a:lnTo>
                        <a:pt x="1867193" y="841916"/>
                      </a:lnTo>
                      <a:lnTo>
                        <a:pt x="1866697" y="839451"/>
                      </a:lnTo>
                      <a:lnTo>
                        <a:pt x="1867579" y="836239"/>
                      </a:lnTo>
                      <a:cubicBezTo>
                        <a:pt x="1867430" y="830179"/>
                        <a:pt x="1865624" y="822964"/>
                        <a:pt x="1861694" y="814537"/>
                      </a:cubicBezTo>
                      <a:cubicBezTo>
                        <a:pt x="1840736" y="770207"/>
                        <a:pt x="1893131" y="770207"/>
                        <a:pt x="1901144" y="740654"/>
                      </a:cubicBezTo>
                      <a:cubicBezTo>
                        <a:pt x="1903147" y="733420"/>
                        <a:pt x="1902993" y="728841"/>
                        <a:pt x="1900932" y="726618"/>
                      </a:cubicBezTo>
                      <a:cubicBezTo>
                        <a:pt x="1899386" y="724951"/>
                        <a:pt x="1896768" y="724611"/>
                        <a:pt x="1893182" y="725470"/>
                      </a:cubicBezTo>
                      <a:close/>
                      <a:moveTo>
                        <a:pt x="2497207" y="706176"/>
                      </a:moveTo>
                      <a:lnTo>
                        <a:pt x="2497206" y="706176"/>
                      </a:lnTo>
                      <a:lnTo>
                        <a:pt x="2516440" y="715281"/>
                      </a:lnTo>
                      <a:lnTo>
                        <a:pt x="2516457" y="715317"/>
                      </a:lnTo>
                      <a:lnTo>
                        <a:pt x="2528152" y="741662"/>
                      </a:lnTo>
                      <a:lnTo>
                        <a:pt x="2530663" y="754192"/>
                      </a:lnTo>
                      <a:lnTo>
                        <a:pt x="2534590" y="777499"/>
                      </a:lnTo>
                      <a:lnTo>
                        <a:pt x="2538078" y="849229"/>
                      </a:lnTo>
                      <a:lnTo>
                        <a:pt x="2537954" y="868880"/>
                      </a:lnTo>
                      <a:lnTo>
                        <a:pt x="2537516" y="886031"/>
                      </a:lnTo>
                      <a:lnTo>
                        <a:pt x="2536418" y="910429"/>
                      </a:lnTo>
                      <a:lnTo>
                        <a:pt x="2535701" y="923568"/>
                      </a:lnTo>
                      <a:lnTo>
                        <a:pt x="2534321" y="942896"/>
                      </a:lnTo>
                      <a:lnTo>
                        <a:pt x="2533802" y="949758"/>
                      </a:lnTo>
                      <a:lnTo>
                        <a:pt x="2533020" y="958530"/>
                      </a:lnTo>
                      <a:lnTo>
                        <a:pt x="2532957" y="959223"/>
                      </a:lnTo>
                      <a:cubicBezTo>
                        <a:pt x="2505219" y="992470"/>
                        <a:pt x="2526793" y="1008478"/>
                        <a:pt x="2526793" y="1008478"/>
                      </a:cubicBezTo>
                      <a:lnTo>
                        <a:pt x="2526794" y="1008477"/>
                      </a:lnTo>
                      <a:lnTo>
                        <a:pt x="2519474" y="996318"/>
                      </a:lnTo>
                      <a:cubicBezTo>
                        <a:pt x="2517548" y="988160"/>
                        <a:pt x="2519089" y="975846"/>
                        <a:pt x="2532958" y="959223"/>
                      </a:cubicBezTo>
                      <a:lnTo>
                        <a:pt x="2533020" y="958530"/>
                      </a:lnTo>
                      <a:lnTo>
                        <a:pt x="2533738" y="950607"/>
                      </a:lnTo>
                      <a:lnTo>
                        <a:pt x="2533802" y="949758"/>
                      </a:lnTo>
                      <a:lnTo>
                        <a:pt x="2533950" y="948097"/>
                      </a:lnTo>
                      <a:lnTo>
                        <a:pt x="2534321" y="942896"/>
                      </a:lnTo>
                      <a:lnTo>
                        <a:pt x="2535486" y="927504"/>
                      </a:lnTo>
                      <a:lnTo>
                        <a:pt x="2535701" y="923568"/>
                      </a:lnTo>
                      <a:lnTo>
                        <a:pt x="2536040" y="918818"/>
                      </a:lnTo>
                      <a:lnTo>
                        <a:pt x="2536418" y="910429"/>
                      </a:lnTo>
                      <a:lnTo>
                        <a:pt x="2537312" y="894032"/>
                      </a:lnTo>
                      <a:lnTo>
                        <a:pt x="2537516" y="886031"/>
                      </a:lnTo>
                      <a:lnTo>
                        <a:pt x="2537899" y="877534"/>
                      </a:lnTo>
                      <a:lnTo>
                        <a:pt x="2537954" y="868880"/>
                      </a:lnTo>
                      <a:lnTo>
                        <a:pt x="2538325" y="854310"/>
                      </a:lnTo>
                      <a:lnTo>
                        <a:pt x="2538078" y="849229"/>
                      </a:lnTo>
                      <a:lnTo>
                        <a:pt x="2538198" y="830391"/>
                      </a:lnTo>
                      <a:cubicBezTo>
                        <a:pt x="2537889" y="814383"/>
                        <a:pt x="2537100" y="798423"/>
                        <a:pt x="2535607" y="783536"/>
                      </a:cubicBezTo>
                      <a:lnTo>
                        <a:pt x="2534590" y="777499"/>
                      </a:lnTo>
                      <a:lnTo>
                        <a:pt x="2534351" y="772588"/>
                      </a:lnTo>
                      <a:lnTo>
                        <a:pt x="2530663" y="754192"/>
                      </a:lnTo>
                      <a:lnTo>
                        <a:pt x="2528798" y="743117"/>
                      </a:lnTo>
                      <a:lnTo>
                        <a:pt x="2528152" y="741662"/>
                      </a:lnTo>
                      <a:lnTo>
                        <a:pt x="2527583" y="738823"/>
                      </a:lnTo>
                      <a:lnTo>
                        <a:pt x="2516457" y="715317"/>
                      </a:lnTo>
                      <a:lnTo>
                        <a:pt x="2516441" y="715281"/>
                      </a:lnTo>
                      <a:cubicBezTo>
                        <a:pt x="2511249" y="708783"/>
                        <a:pt x="2504912" y="705406"/>
                        <a:pt x="2497207" y="706176"/>
                      </a:cubicBezTo>
                      <a:close/>
                      <a:moveTo>
                        <a:pt x="1827791" y="682164"/>
                      </a:moveTo>
                      <a:cubicBezTo>
                        <a:pt x="1802519" y="686628"/>
                        <a:pt x="1781715" y="695555"/>
                        <a:pt x="1764388" y="707022"/>
                      </a:cubicBezTo>
                      <a:lnTo>
                        <a:pt x="1764375" y="707035"/>
                      </a:lnTo>
                      <a:lnTo>
                        <a:pt x="1730853" y="736298"/>
                      </a:lnTo>
                      <a:lnTo>
                        <a:pt x="1725215" y="743944"/>
                      </a:lnTo>
                      <a:lnTo>
                        <a:pt x="1721847" y="747119"/>
                      </a:lnTo>
                      <a:lnTo>
                        <a:pt x="1715744" y="756791"/>
                      </a:lnTo>
                      <a:lnTo>
                        <a:pt x="1706540" y="769274"/>
                      </a:lnTo>
                      <a:lnTo>
                        <a:pt x="1697088" y="786356"/>
                      </a:lnTo>
                      <a:lnTo>
                        <a:pt x="1694214" y="790910"/>
                      </a:lnTo>
                      <a:cubicBezTo>
                        <a:pt x="1686827" y="804840"/>
                        <a:pt x="1680933" y="817462"/>
                        <a:pt x="1675539" y="826851"/>
                      </a:cubicBezTo>
                      <a:cubicBezTo>
                        <a:pt x="1653349" y="864407"/>
                        <a:pt x="1584311" y="965380"/>
                        <a:pt x="1621912" y="1018329"/>
                      </a:cubicBezTo>
                      <a:cubicBezTo>
                        <a:pt x="1631312" y="1031720"/>
                        <a:pt x="1640712" y="1036338"/>
                        <a:pt x="1649525" y="1035732"/>
                      </a:cubicBezTo>
                      <a:lnTo>
                        <a:pt x="1649526" y="1035732"/>
                      </a:lnTo>
                      <a:lnTo>
                        <a:pt x="1635940" y="1032279"/>
                      </a:lnTo>
                      <a:cubicBezTo>
                        <a:pt x="1631313" y="1029527"/>
                        <a:pt x="1626613" y="1025025"/>
                        <a:pt x="1621913" y="1018329"/>
                      </a:cubicBezTo>
                      <a:cubicBezTo>
                        <a:pt x="1584312" y="965380"/>
                        <a:pt x="1653350" y="864407"/>
                        <a:pt x="1675540" y="826851"/>
                      </a:cubicBezTo>
                      <a:cubicBezTo>
                        <a:pt x="1679585" y="819809"/>
                        <a:pt x="1683912" y="810949"/>
                        <a:pt x="1688939" y="801082"/>
                      </a:cubicBezTo>
                      <a:lnTo>
                        <a:pt x="1697088" y="786356"/>
                      </a:lnTo>
                      <a:lnTo>
                        <a:pt x="1715744" y="756791"/>
                      </a:lnTo>
                      <a:lnTo>
                        <a:pt x="1725215" y="743944"/>
                      </a:lnTo>
                      <a:lnTo>
                        <a:pt x="1764375" y="707035"/>
                      </a:lnTo>
                      <a:lnTo>
                        <a:pt x="1764389" y="707022"/>
                      </a:lnTo>
                      <a:lnTo>
                        <a:pt x="1827792" y="682164"/>
                      </a:lnTo>
                      <a:close/>
                      <a:moveTo>
                        <a:pt x="904630" y="655795"/>
                      </a:moveTo>
                      <a:lnTo>
                        <a:pt x="904630" y="655795"/>
                      </a:lnTo>
                      <a:lnTo>
                        <a:pt x="926583" y="658258"/>
                      </a:lnTo>
                      <a:lnTo>
                        <a:pt x="929404" y="658574"/>
                      </a:lnTo>
                      <a:lnTo>
                        <a:pt x="929404" y="658574"/>
                      </a:lnTo>
                      <a:lnTo>
                        <a:pt x="929405" y="658574"/>
                      </a:lnTo>
                      <a:lnTo>
                        <a:pt x="934312" y="660700"/>
                      </a:lnTo>
                      <a:lnTo>
                        <a:pt x="961127" y="672313"/>
                      </a:lnTo>
                      <a:cubicBezTo>
                        <a:pt x="961127" y="672313"/>
                        <a:pt x="998111" y="725262"/>
                        <a:pt x="950648" y="772670"/>
                      </a:cubicBezTo>
                      <a:cubicBezTo>
                        <a:pt x="915051" y="808226"/>
                        <a:pt x="892630" y="889843"/>
                        <a:pt x="883643" y="955183"/>
                      </a:cubicBezTo>
                      <a:cubicBezTo>
                        <a:pt x="892630" y="889843"/>
                        <a:pt x="915051" y="808226"/>
                        <a:pt x="950649" y="772670"/>
                      </a:cubicBezTo>
                      <a:cubicBezTo>
                        <a:pt x="998112" y="725262"/>
                        <a:pt x="961128" y="672313"/>
                        <a:pt x="961128" y="672313"/>
                      </a:cubicBezTo>
                      <a:lnTo>
                        <a:pt x="934312" y="660700"/>
                      </a:lnTo>
                      <a:lnTo>
                        <a:pt x="929404" y="658574"/>
                      </a:lnTo>
                      <a:lnTo>
                        <a:pt x="926583" y="658258"/>
                      </a:lnTo>
                      <a:close/>
                      <a:moveTo>
                        <a:pt x="747235" y="648917"/>
                      </a:moveTo>
                      <a:lnTo>
                        <a:pt x="794428" y="650062"/>
                      </a:lnTo>
                      <a:lnTo>
                        <a:pt x="794431" y="650063"/>
                      </a:lnTo>
                      <a:lnTo>
                        <a:pt x="816358" y="661873"/>
                      </a:lnTo>
                      <a:lnTo>
                        <a:pt x="819492" y="667756"/>
                      </a:lnTo>
                      <a:lnTo>
                        <a:pt x="822468" y="685939"/>
                      </a:lnTo>
                      <a:lnTo>
                        <a:pt x="821846" y="694791"/>
                      </a:lnTo>
                      <a:lnTo>
                        <a:pt x="810726" y="733262"/>
                      </a:lnTo>
                      <a:lnTo>
                        <a:pt x="810724" y="733266"/>
                      </a:lnTo>
                      <a:cubicBezTo>
                        <a:pt x="797472" y="767436"/>
                        <a:pt x="797472" y="789139"/>
                        <a:pt x="803790" y="795065"/>
                      </a:cubicBezTo>
                      <a:lnTo>
                        <a:pt x="799918" y="774757"/>
                      </a:lnTo>
                      <a:cubicBezTo>
                        <a:pt x="800785" y="764320"/>
                        <a:pt x="804098" y="750351"/>
                        <a:pt x="810724" y="733266"/>
                      </a:cubicBezTo>
                      <a:lnTo>
                        <a:pt x="810726" y="733262"/>
                      </a:lnTo>
                      <a:lnTo>
                        <a:pt x="821522" y="699401"/>
                      </a:lnTo>
                      <a:lnTo>
                        <a:pt x="821846" y="694791"/>
                      </a:lnTo>
                      <a:lnTo>
                        <a:pt x="823168" y="690216"/>
                      </a:lnTo>
                      <a:lnTo>
                        <a:pt x="822468" y="685939"/>
                      </a:lnTo>
                      <a:lnTo>
                        <a:pt x="823250" y="674813"/>
                      </a:lnTo>
                      <a:lnTo>
                        <a:pt x="819492" y="667756"/>
                      </a:lnTo>
                      <a:lnTo>
                        <a:pt x="818738" y="663155"/>
                      </a:lnTo>
                      <a:lnTo>
                        <a:pt x="816358" y="661873"/>
                      </a:lnTo>
                      <a:lnTo>
                        <a:pt x="814642" y="658651"/>
                      </a:lnTo>
                      <a:lnTo>
                        <a:pt x="794431" y="650063"/>
                      </a:lnTo>
                      <a:lnTo>
                        <a:pt x="794429" y="650062"/>
                      </a:lnTo>
                      <a:cubicBezTo>
                        <a:pt x="782679" y="647801"/>
                        <a:pt x="767115" y="647532"/>
                        <a:pt x="747235" y="648917"/>
                      </a:cubicBezTo>
                      <a:close/>
                      <a:moveTo>
                        <a:pt x="605308" y="621442"/>
                      </a:moveTo>
                      <a:cubicBezTo>
                        <a:pt x="627614" y="644646"/>
                        <a:pt x="640905" y="666464"/>
                        <a:pt x="623338" y="735729"/>
                      </a:cubicBezTo>
                      <a:cubicBezTo>
                        <a:pt x="618831" y="753045"/>
                        <a:pt x="615168" y="768305"/>
                        <a:pt x="612367" y="781432"/>
                      </a:cubicBezTo>
                      <a:lnTo>
                        <a:pt x="611205" y="788025"/>
                      </a:lnTo>
                      <a:lnTo>
                        <a:pt x="609855" y="793844"/>
                      </a:lnTo>
                      <a:lnTo>
                        <a:pt x="609150" y="799675"/>
                      </a:lnTo>
                      <a:lnTo>
                        <a:pt x="606565" y="814334"/>
                      </a:lnTo>
                      <a:lnTo>
                        <a:pt x="606327" y="823046"/>
                      </a:lnTo>
                      <a:lnTo>
                        <a:pt x="605616" y="828929"/>
                      </a:lnTo>
                      <a:lnTo>
                        <a:pt x="606137" y="830017"/>
                      </a:lnTo>
                      <a:lnTo>
                        <a:pt x="606029" y="833973"/>
                      </a:lnTo>
                      <a:cubicBezTo>
                        <a:pt x="606738" y="838257"/>
                        <a:pt x="608342" y="840254"/>
                        <a:pt x="610856" y="839886"/>
                      </a:cubicBezTo>
                      <a:lnTo>
                        <a:pt x="610856" y="839886"/>
                      </a:lnTo>
                      <a:lnTo>
                        <a:pt x="606137" y="830017"/>
                      </a:lnTo>
                      <a:lnTo>
                        <a:pt x="606327" y="823046"/>
                      </a:lnTo>
                      <a:lnTo>
                        <a:pt x="609150" y="799675"/>
                      </a:lnTo>
                      <a:lnTo>
                        <a:pt x="611205" y="788025"/>
                      </a:lnTo>
                      <a:lnTo>
                        <a:pt x="623338" y="735729"/>
                      </a:lnTo>
                      <a:cubicBezTo>
                        <a:pt x="640906" y="666464"/>
                        <a:pt x="627614" y="644646"/>
                        <a:pt x="605308" y="621442"/>
                      </a:cubicBezTo>
                      <a:close/>
                      <a:moveTo>
                        <a:pt x="2307354" y="604048"/>
                      </a:moveTo>
                      <a:lnTo>
                        <a:pt x="2323977" y="605924"/>
                      </a:lnTo>
                      <a:cubicBezTo>
                        <a:pt x="2328196" y="606550"/>
                        <a:pt x="2330777" y="607050"/>
                        <a:pt x="2330777" y="607050"/>
                      </a:cubicBezTo>
                      <a:cubicBezTo>
                        <a:pt x="2348652" y="634756"/>
                        <a:pt x="2303038" y="636603"/>
                        <a:pt x="2257424" y="652611"/>
                      </a:cubicBezTo>
                      <a:cubicBezTo>
                        <a:pt x="2211811" y="668619"/>
                        <a:pt x="2225988" y="812690"/>
                        <a:pt x="2229686" y="868102"/>
                      </a:cubicBezTo>
                      <a:cubicBezTo>
                        <a:pt x="2230495" y="878491"/>
                        <a:pt x="2231911" y="887626"/>
                        <a:pt x="2233507" y="895610"/>
                      </a:cubicBezTo>
                      <a:lnTo>
                        <a:pt x="2234832" y="901179"/>
                      </a:lnTo>
                      <a:lnTo>
                        <a:pt x="2235148" y="903215"/>
                      </a:lnTo>
                      <a:lnTo>
                        <a:pt x="2238020" y="914586"/>
                      </a:lnTo>
                      <a:lnTo>
                        <a:pt x="2238408" y="916219"/>
                      </a:lnTo>
                      <a:cubicBezTo>
                        <a:pt x="2241468" y="927799"/>
                        <a:pt x="2243541" y="935201"/>
                        <a:pt x="2241215" y="939271"/>
                      </a:cubicBezTo>
                      <a:lnTo>
                        <a:pt x="2229687" y="943215"/>
                      </a:lnTo>
                      <a:lnTo>
                        <a:pt x="2229687" y="943215"/>
                      </a:lnTo>
                      <a:cubicBezTo>
                        <a:pt x="2242632" y="943215"/>
                        <a:pt x="2243710" y="938289"/>
                        <a:pt x="2241014" y="926438"/>
                      </a:cubicBezTo>
                      <a:lnTo>
                        <a:pt x="2238020" y="914586"/>
                      </a:lnTo>
                      <a:lnTo>
                        <a:pt x="2234832" y="901179"/>
                      </a:lnTo>
                      <a:lnTo>
                        <a:pt x="2229687" y="868102"/>
                      </a:lnTo>
                      <a:cubicBezTo>
                        <a:pt x="2225989" y="812690"/>
                        <a:pt x="2211812" y="668619"/>
                        <a:pt x="2257425" y="652611"/>
                      </a:cubicBezTo>
                      <a:cubicBezTo>
                        <a:pt x="2303039" y="636603"/>
                        <a:pt x="2348653" y="634756"/>
                        <a:pt x="2330778" y="607050"/>
                      </a:cubicBezTo>
                      <a:cubicBezTo>
                        <a:pt x="2330778" y="607050"/>
                        <a:pt x="2320453" y="605049"/>
                        <a:pt x="2307354" y="604048"/>
                      </a:cubicBezTo>
                      <a:close/>
                      <a:moveTo>
                        <a:pt x="726277" y="595968"/>
                      </a:moveTo>
                      <a:cubicBezTo>
                        <a:pt x="726277" y="595968"/>
                        <a:pt x="724968" y="597776"/>
                        <a:pt x="722665" y="600691"/>
                      </a:cubicBezTo>
                      <a:lnTo>
                        <a:pt x="722662" y="600695"/>
                      </a:lnTo>
                      <a:lnTo>
                        <a:pt x="711337" y="613602"/>
                      </a:lnTo>
                      <a:lnTo>
                        <a:pt x="683745" y="637835"/>
                      </a:lnTo>
                      <a:cubicBezTo>
                        <a:pt x="691836" y="632986"/>
                        <a:pt x="699839" y="625886"/>
                        <a:pt x="706683" y="618906"/>
                      </a:cubicBezTo>
                      <a:lnTo>
                        <a:pt x="711337" y="613602"/>
                      </a:lnTo>
                      <a:lnTo>
                        <a:pt x="713102" y="612053"/>
                      </a:lnTo>
                      <a:lnTo>
                        <a:pt x="722662" y="600695"/>
                      </a:lnTo>
                      <a:lnTo>
                        <a:pt x="722666" y="600691"/>
                      </a:lnTo>
                      <a:close/>
                      <a:moveTo>
                        <a:pt x="1932811" y="591889"/>
                      </a:moveTo>
                      <a:cubicBezTo>
                        <a:pt x="1908077" y="591658"/>
                        <a:pt x="1882343" y="602124"/>
                        <a:pt x="1873405" y="632909"/>
                      </a:cubicBezTo>
                      <a:lnTo>
                        <a:pt x="1859953" y="663548"/>
                      </a:lnTo>
                      <a:lnTo>
                        <a:pt x="1855690" y="669208"/>
                      </a:lnTo>
                      <a:lnTo>
                        <a:pt x="1845833" y="678556"/>
                      </a:lnTo>
                      <a:lnTo>
                        <a:pt x="1842261" y="680770"/>
                      </a:lnTo>
                      <a:lnTo>
                        <a:pt x="1832405" y="683039"/>
                      </a:lnTo>
                      <a:lnTo>
                        <a:pt x="1832405" y="683039"/>
                      </a:lnTo>
                      <a:cubicBezTo>
                        <a:pt x="1834565" y="683148"/>
                        <a:pt x="1837370" y="682926"/>
                        <a:pt x="1840571" y="681818"/>
                      </a:cubicBezTo>
                      <a:lnTo>
                        <a:pt x="1842261" y="680770"/>
                      </a:lnTo>
                      <a:lnTo>
                        <a:pt x="1843895" y="680394"/>
                      </a:lnTo>
                      <a:lnTo>
                        <a:pt x="1845833" y="678556"/>
                      </a:lnTo>
                      <a:lnTo>
                        <a:pt x="1851118" y="675279"/>
                      </a:lnTo>
                      <a:lnTo>
                        <a:pt x="1855690" y="669208"/>
                      </a:lnTo>
                      <a:lnTo>
                        <a:pt x="1858736" y="666320"/>
                      </a:lnTo>
                      <a:lnTo>
                        <a:pt x="1859953" y="663548"/>
                      </a:lnTo>
                      <a:lnTo>
                        <a:pt x="1862559" y="660089"/>
                      </a:lnTo>
                      <a:cubicBezTo>
                        <a:pt x="1866356" y="653212"/>
                        <a:pt x="1870054" y="644338"/>
                        <a:pt x="1873406" y="632909"/>
                      </a:cubicBezTo>
                      <a:cubicBezTo>
                        <a:pt x="1877875" y="617517"/>
                        <a:pt x="1886543" y="607204"/>
                        <a:pt x="1897185" y="600768"/>
                      </a:cubicBezTo>
                      <a:lnTo>
                        <a:pt x="1932811" y="591889"/>
                      </a:lnTo>
                      <a:close/>
                      <a:moveTo>
                        <a:pt x="451361" y="579960"/>
                      </a:moveTo>
                      <a:lnTo>
                        <a:pt x="431422" y="581574"/>
                      </a:lnTo>
                      <a:lnTo>
                        <a:pt x="431423" y="581574"/>
                      </a:lnTo>
                      <a:close/>
                      <a:moveTo>
                        <a:pt x="537889" y="574419"/>
                      </a:moveTo>
                      <a:lnTo>
                        <a:pt x="557065" y="577228"/>
                      </a:lnTo>
                      <a:cubicBezTo>
                        <a:pt x="564317" y="580345"/>
                        <a:pt x="572331" y="586117"/>
                        <a:pt x="580806" y="595968"/>
                      </a:cubicBezTo>
                      <a:cubicBezTo>
                        <a:pt x="563855" y="576266"/>
                        <a:pt x="548753" y="572880"/>
                        <a:pt x="537889" y="574419"/>
                      </a:cubicBezTo>
                      <a:close/>
                      <a:moveTo>
                        <a:pt x="773740" y="569493"/>
                      </a:moveTo>
                      <a:lnTo>
                        <a:pt x="774875" y="574803"/>
                      </a:lnTo>
                      <a:lnTo>
                        <a:pt x="775099" y="578074"/>
                      </a:lnTo>
                      <a:lnTo>
                        <a:pt x="774153" y="587305"/>
                      </a:lnTo>
                      <a:lnTo>
                        <a:pt x="772800" y="591350"/>
                      </a:lnTo>
                      <a:lnTo>
                        <a:pt x="760478" y="600662"/>
                      </a:lnTo>
                      <a:cubicBezTo>
                        <a:pt x="766048" y="599537"/>
                        <a:pt x="769661" y="597026"/>
                        <a:pt x="771949" y="593893"/>
                      </a:cubicBezTo>
                      <a:lnTo>
                        <a:pt x="772800" y="591350"/>
                      </a:lnTo>
                      <a:lnTo>
                        <a:pt x="773817" y="590580"/>
                      </a:lnTo>
                      <a:lnTo>
                        <a:pt x="774153" y="587305"/>
                      </a:lnTo>
                      <a:lnTo>
                        <a:pt x="775463" y="583389"/>
                      </a:lnTo>
                      <a:lnTo>
                        <a:pt x="775099" y="578074"/>
                      </a:lnTo>
                      <a:lnTo>
                        <a:pt x="775252" y="576573"/>
                      </a:lnTo>
                      <a:lnTo>
                        <a:pt x="774875" y="574803"/>
                      </a:lnTo>
                      <a:lnTo>
                        <a:pt x="774801" y="573730"/>
                      </a:lnTo>
                      <a:cubicBezTo>
                        <a:pt x="774304" y="571160"/>
                        <a:pt x="773740" y="569493"/>
                        <a:pt x="773740" y="569493"/>
                      </a:cubicBezTo>
                      <a:close/>
                      <a:moveTo>
                        <a:pt x="390953" y="527011"/>
                      </a:moveTo>
                      <a:cubicBezTo>
                        <a:pt x="369688" y="537785"/>
                        <a:pt x="349808" y="563644"/>
                        <a:pt x="335246" y="586809"/>
                      </a:cubicBezTo>
                      <a:lnTo>
                        <a:pt x="327799" y="599892"/>
                      </a:lnTo>
                      <a:lnTo>
                        <a:pt x="325383" y="603400"/>
                      </a:lnTo>
                      <a:lnTo>
                        <a:pt x="319755" y="614021"/>
                      </a:lnTo>
                      <a:lnTo>
                        <a:pt x="317880" y="617315"/>
                      </a:lnTo>
                      <a:lnTo>
                        <a:pt x="315820" y="621448"/>
                      </a:lnTo>
                      <a:lnTo>
                        <a:pt x="315131" y="622747"/>
                      </a:lnTo>
                      <a:lnTo>
                        <a:pt x="314090" y="624918"/>
                      </a:lnTo>
                      <a:lnTo>
                        <a:pt x="313109" y="626885"/>
                      </a:lnTo>
                      <a:cubicBezTo>
                        <a:pt x="312015" y="629166"/>
                        <a:pt x="311437" y="630446"/>
                        <a:pt x="311437" y="630446"/>
                      </a:cubicBezTo>
                      <a:cubicBezTo>
                        <a:pt x="311437" y="717258"/>
                        <a:pt x="259043" y="756662"/>
                        <a:pt x="259043" y="756662"/>
                      </a:cubicBezTo>
                      <a:lnTo>
                        <a:pt x="259012" y="756691"/>
                      </a:lnTo>
                      <a:lnTo>
                        <a:pt x="206741" y="803126"/>
                      </a:lnTo>
                      <a:lnTo>
                        <a:pt x="203351" y="807716"/>
                      </a:lnTo>
                      <a:lnTo>
                        <a:pt x="200581" y="810256"/>
                      </a:lnTo>
                      <a:lnTo>
                        <a:pt x="188925" y="827247"/>
                      </a:lnTo>
                      <a:lnTo>
                        <a:pt x="170002" y="852866"/>
                      </a:lnTo>
                      <a:lnTo>
                        <a:pt x="165453" y="861463"/>
                      </a:lnTo>
                      <a:lnTo>
                        <a:pt x="162113" y="866331"/>
                      </a:lnTo>
                      <a:lnTo>
                        <a:pt x="154938" y="881335"/>
                      </a:lnTo>
                      <a:lnTo>
                        <a:pt x="147044" y="896253"/>
                      </a:lnTo>
                      <a:lnTo>
                        <a:pt x="143176" y="905929"/>
                      </a:lnTo>
                      <a:lnTo>
                        <a:pt x="140982" y="910517"/>
                      </a:lnTo>
                      <a:cubicBezTo>
                        <a:pt x="136532" y="921666"/>
                        <a:pt x="134529" y="928439"/>
                        <a:pt x="134529" y="928439"/>
                      </a:cubicBezTo>
                      <a:lnTo>
                        <a:pt x="134530" y="928438"/>
                      </a:lnTo>
                      <a:lnTo>
                        <a:pt x="136088" y="923659"/>
                      </a:lnTo>
                      <a:lnTo>
                        <a:pt x="143176" y="905929"/>
                      </a:lnTo>
                      <a:lnTo>
                        <a:pt x="154938" y="881335"/>
                      </a:lnTo>
                      <a:lnTo>
                        <a:pt x="165453" y="861463"/>
                      </a:lnTo>
                      <a:lnTo>
                        <a:pt x="188925" y="827247"/>
                      </a:lnTo>
                      <a:lnTo>
                        <a:pt x="203351" y="807716"/>
                      </a:lnTo>
                      <a:lnTo>
                        <a:pt x="259012" y="756691"/>
                      </a:lnTo>
                      <a:lnTo>
                        <a:pt x="259044" y="756662"/>
                      </a:lnTo>
                      <a:cubicBezTo>
                        <a:pt x="259044" y="756662"/>
                        <a:pt x="311438" y="717258"/>
                        <a:pt x="311438" y="630446"/>
                      </a:cubicBezTo>
                      <a:lnTo>
                        <a:pt x="314090" y="624918"/>
                      </a:lnTo>
                      <a:lnTo>
                        <a:pt x="315820" y="621448"/>
                      </a:lnTo>
                      <a:lnTo>
                        <a:pt x="319755" y="614021"/>
                      </a:lnTo>
                      <a:lnTo>
                        <a:pt x="327799" y="599892"/>
                      </a:lnTo>
                      <a:lnTo>
                        <a:pt x="360587" y="552264"/>
                      </a:lnTo>
                      <a:lnTo>
                        <a:pt x="390953" y="527012"/>
                      </a:lnTo>
                      <a:close/>
                      <a:moveTo>
                        <a:pt x="2482913" y="510050"/>
                      </a:moveTo>
                      <a:cubicBezTo>
                        <a:pt x="2474977" y="510618"/>
                        <a:pt x="2467464" y="512234"/>
                        <a:pt x="2459605" y="512234"/>
                      </a:cubicBezTo>
                      <a:cubicBezTo>
                        <a:pt x="2428168" y="512234"/>
                        <a:pt x="2404129" y="599046"/>
                        <a:pt x="2415840" y="650764"/>
                      </a:cubicBezTo>
                      <a:cubicBezTo>
                        <a:pt x="2428168" y="701866"/>
                        <a:pt x="2483645" y="743733"/>
                        <a:pt x="2463303" y="846552"/>
                      </a:cubicBezTo>
                      <a:lnTo>
                        <a:pt x="2463292" y="846603"/>
                      </a:lnTo>
                      <a:lnTo>
                        <a:pt x="2453259" y="887244"/>
                      </a:lnTo>
                      <a:lnTo>
                        <a:pt x="2450799" y="894743"/>
                      </a:lnTo>
                      <a:lnTo>
                        <a:pt x="2441577" y="915485"/>
                      </a:lnTo>
                      <a:lnTo>
                        <a:pt x="2441568" y="915503"/>
                      </a:lnTo>
                      <a:lnTo>
                        <a:pt x="2441561" y="915510"/>
                      </a:lnTo>
                      <a:lnTo>
                        <a:pt x="2433896" y="922911"/>
                      </a:lnTo>
                      <a:lnTo>
                        <a:pt x="2425684" y="924388"/>
                      </a:lnTo>
                      <a:lnTo>
                        <a:pt x="2425684" y="924388"/>
                      </a:lnTo>
                      <a:cubicBezTo>
                        <a:pt x="2427432" y="925132"/>
                        <a:pt x="2429733" y="925458"/>
                        <a:pt x="2432432" y="924325"/>
                      </a:cubicBezTo>
                      <a:lnTo>
                        <a:pt x="2433896" y="922911"/>
                      </a:lnTo>
                      <a:lnTo>
                        <a:pt x="2435257" y="922666"/>
                      </a:lnTo>
                      <a:lnTo>
                        <a:pt x="2441561" y="915510"/>
                      </a:lnTo>
                      <a:lnTo>
                        <a:pt x="2441569" y="915503"/>
                      </a:lnTo>
                      <a:lnTo>
                        <a:pt x="2441577" y="915485"/>
                      </a:lnTo>
                      <a:lnTo>
                        <a:pt x="2448529" y="901666"/>
                      </a:lnTo>
                      <a:lnTo>
                        <a:pt x="2450799" y="894743"/>
                      </a:lnTo>
                      <a:lnTo>
                        <a:pt x="2452168" y="891665"/>
                      </a:lnTo>
                      <a:lnTo>
                        <a:pt x="2453259" y="887244"/>
                      </a:lnTo>
                      <a:lnTo>
                        <a:pt x="2455865" y="879300"/>
                      </a:lnTo>
                      <a:lnTo>
                        <a:pt x="2463292" y="846603"/>
                      </a:lnTo>
                      <a:lnTo>
                        <a:pt x="2463304" y="846552"/>
                      </a:lnTo>
                      <a:cubicBezTo>
                        <a:pt x="2483646" y="743733"/>
                        <a:pt x="2428169" y="701866"/>
                        <a:pt x="2415841" y="650764"/>
                      </a:cubicBezTo>
                      <a:cubicBezTo>
                        <a:pt x="2404130" y="599046"/>
                        <a:pt x="2428169" y="512234"/>
                        <a:pt x="2459606" y="512234"/>
                      </a:cubicBezTo>
                      <a:lnTo>
                        <a:pt x="2482913" y="510050"/>
                      </a:lnTo>
                      <a:close/>
                      <a:moveTo>
                        <a:pt x="924143" y="503617"/>
                      </a:moveTo>
                      <a:lnTo>
                        <a:pt x="924671" y="535113"/>
                      </a:lnTo>
                      <a:lnTo>
                        <a:pt x="922723" y="546340"/>
                      </a:lnTo>
                      <a:lnTo>
                        <a:pt x="916921" y="571367"/>
                      </a:lnTo>
                      <a:lnTo>
                        <a:pt x="912178" y="583579"/>
                      </a:lnTo>
                      <a:lnTo>
                        <a:pt x="901596" y="602588"/>
                      </a:lnTo>
                      <a:lnTo>
                        <a:pt x="891880" y="614081"/>
                      </a:lnTo>
                      <a:lnTo>
                        <a:pt x="888291" y="616775"/>
                      </a:lnTo>
                      <a:lnTo>
                        <a:pt x="872308" y="620413"/>
                      </a:lnTo>
                      <a:cubicBezTo>
                        <a:pt x="877068" y="621195"/>
                        <a:pt x="881571" y="620513"/>
                        <a:pt x="885791" y="618650"/>
                      </a:cubicBezTo>
                      <a:lnTo>
                        <a:pt x="888291" y="616775"/>
                      </a:lnTo>
                      <a:lnTo>
                        <a:pt x="889916" y="616405"/>
                      </a:lnTo>
                      <a:lnTo>
                        <a:pt x="891880" y="614081"/>
                      </a:lnTo>
                      <a:lnTo>
                        <a:pt x="897578" y="609805"/>
                      </a:lnTo>
                      <a:lnTo>
                        <a:pt x="901596" y="602588"/>
                      </a:lnTo>
                      <a:lnTo>
                        <a:pt x="907516" y="595584"/>
                      </a:lnTo>
                      <a:lnTo>
                        <a:pt x="912178" y="583579"/>
                      </a:lnTo>
                      <a:lnTo>
                        <a:pt x="915454" y="577696"/>
                      </a:lnTo>
                      <a:lnTo>
                        <a:pt x="916921" y="571367"/>
                      </a:lnTo>
                      <a:lnTo>
                        <a:pt x="919558" y="564576"/>
                      </a:lnTo>
                      <a:lnTo>
                        <a:pt x="922723" y="546340"/>
                      </a:lnTo>
                      <a:lnTo>
                        <a:pt x="924715" y="537745"/>
                      </a:lnTo>
                      <a:lnTo>
                        <a:pt x="924671" y="535113"/>
                      </a:lnTo>
                      <a:lnTo>
                        <a:pt x="925335" y="531284"/>
                      </a:lnTo>
                      <a:close/>
                      <a:moveTo>
                        <a:pt x="1014140" y="479603"/>
                      </a:moveTo>
                      <a:lnTo>
                        <a:pt x="1014140" y="479603"/>
                      </a:lnTo>
                      <a:lnTo>
                        <a:pt x="1040596" y="497891"/>
                      </a:lnTo>
                      <a:lnTo>
                        <a:pt x="1040600" y="497903"/>
                      </a:lnTo>
                      <a:lnTo>
                        <a:pt x="1049394" y="527843"/>
                      </a:lnTo>
                      <a:lnTo>
                        <a:pt x="1050160" y="537563"/>
                      </a:lnTo>
                      <a:lnTo>
                        <a:pt x="1050268" y="557925"/>
                      </a:lnTo>
                      <a:lnTo>
                        <a:pt x="1049828" y="565554"/>
                      </a:lnTo>
                      <a:lnTo>
                        <a:pt x="1049438" y="569236"/>
                      </a:lnTo>
                      <a:lnTo>
                        <a:pt x="1048657" y="575035"/>
                      </a:lnTo>
                      <a:cubicBezTo>
                        <a:pt x="1016604" y="593505"/>
                        <a:pt x="1027083" y="680317"/>
                        <a:pt x="1027083" y="680317"/>
                      </a:cubicBezTo>
                      <a:cubicBezTo>
                        <a:pt x="1096120" y="814537"/>
                        <a:pt x="1090573" y="901964"/>
                        <a:pt x="1090573" y="901964"/>
                      </a:cubicBezTo>
                      <a:lnTo>
                        <a:pt x="1090577" y="902036"/>
                      </a:lnTo>
                      <a:lnTo>
                        <a:pt x="1093248" y="961372"/>
                      </a:lnTo>
                      <a:lnTo>
                        <a:pt x="1094078" y="966130"/>
                      </a:lnTo>
                      <a:lnTo>
                        <a:pt x="1094307" y="970326"/>
                      </a:lnTo>
                      <a:lnTo>
                        <a:pt x="1097240" y="984245"/>
                      </a:lnTo>
                      <a:lnTo>
                        <a:pt x="1101953" y="1011247"/>
                      </a:lnTo>
                      <a:lnTo>
                        <a:pt x="1104609" y="1019219"/>
                      </a:lnTo>
                      <a:lnTo>
                        <a:pt x="1106013" y="1025879"/>
                      </a:lnTo>
                      <a:lnTo>
                        <a:pt x="1110362" y="1036484"/>
                      </a:lnTo>
                      <a:lnTo>
                        <a:pt x="1115637" y="1052317"/>
                      </a:lnTo>
                      <a:lnTo>
                        <a:pt x="1120896" y="1062173"/>
                      </a:lnTo>
                      <a:lnTo>
                        <a:pt x="1124014" y="1069778"/>
                      </a:lnTo>
                      <a:lnTo>
                        <a:pt x="1128443" y="1076316"/>
                      </a:lnTo>
                      <a:lnTo>
                        <a:pt x="1133243" y="1085310"/>
                      </a:lnTo>
                      <a:lnTo>
                        <a:pt x="1137662" y="1089926"/>
                      </a:lnTo>
                      <a:lnTo>
                        <a:pt x="1146638" y="1103177"/>
                      </a:lnTo>
                      <a:cubicBezTo>
                        <a:pt x="1154764" y="1112689"/>
                        <a:pt x="1163381" y="1120643"/>
                        <a:pt x="1172210" y="1127233"/>
                      </a:cubicBezTo>
                      <a:lnTo>
                        <a:pt x="1174910" y="1128829"/>
                      </a:lnTo>
                      <a:lnTo>
                        <a:pt x="1176007" y="1129974"/>
                      </a:lnTo>
                      <a:lnTo>
                        <a:pt x="1179808" y="1131724"/>
                      </a:lnTo>
                      <a:lnTo>
                        <a:pt x="1199055" y="1143099"/>
                      </a:lnTo>
                      <a:lnTo>
                        <a:pt x="1210075" y="1145656"/>
                      </a:lnTo>
                      <a:lnTo>
                        <a:pt x="1221810" y="1151058"/>
                      </a:lnTo>
                      <a:lnTo>
                        <a:pt x="1249867" y="1154887"/>
                      </a:lnTo>
                      <a:lnTo>
                        <a:pt x="1249867" y="1154888"/>
                      </a:lnTo>
                      <a:lnTo>
                        <a:pt x="1249868" y="1154888"/>
                      </a:lnTo>
                      <a:lnTo>
                        <a:pt x="1249867" y="1154887"/>
                      </a:lnTo>
                      <a:lnTo>
                        <a:pt x="1210075" y="1145656"/>
                      </a:lnTo>
                      <a:lnTo>
                        <a:pt x="1179808" y="1131724"/>
                      </a:lnTo>
                      <a:lnTo>
                        <a:pt x="1174910" y="1128829"/>
                      </a:lnTo>
                      <a:lnTo>
                        <a:pt x="1137662" y="1089926"/>
                      </a:lnTo>
                      <a:lnTo>
                        <a:pt x="1128443" y="1076316"/>
                      </a:lnTo>
                      <a:lnTo>
                        <a:pt x="1120896" y="1062173"/>
                      </a:lnTo>
                      <a:lnTo>
                        <a:pt x="1110362" y="1036484"/>
                      </a:lnTo>
                      <a:lnTo>
                        <a:pt x="1104609" y="1019219"/>
                      </a:lnTo>
                      <a:lnTo>
                        <a:pt x="1097240" y="984245"/>
                      </a:lnTo>
                      <a:lnTo>
                        <a:pt x="1094078" y="966130"/>
                      </a:lnTo>
                      <a:lnTo>
                        <a:pt x="1090577" y="902036"/>
                      </a:lnTo>
                      <a:lnTo>
                        <a:pt x="1090574" y="901964"/>
                      </a:lnTo>
                      <a:cubicBezTo>
                        <a:pt x="1090574" y="901964"/>
                        <a:pt x="1096121" y="814537"/>
                        <a:pt x="1027084" y="680317"/>
                      </a:cubicBezTo>
                      <a:cubicBezTo>
                        <a:pt x="1027084" y="680317"/>
                        <a:pt x="1016605" y="593505"/>
                        <a:pt x="1048658" y="575035"/>
                      </a:cubicBezTo>
                      <a:cubicBezTo>
                        <a:pt x="1048658" y="575035"/>
                        <a:pt x="1048899" y="573669"/>
                        <a:pt x="1049222" y="571263"/>
                      </a:cubicBezTo>
                      <a:lnTo>
                        <a:pt x="1049438" y="569236"/>
                      </a:lnTo>
                      <a:lnTo>
                        <a:pt x="1049750" y="566914"/>
                      </a:lnTo>
                      <a:lnTo>
                        <a:pt x="1049828" y="565554"/>
                      </a:lnTo>
                      <a:lnTo>
                        <a:pt x="1050285" y="561249"/>
                      </a:lnTo>
                      <a:lnTo>
                        <a:pt x="1050268" y="557925"/>
                      </a:lnTo>
                      <a:lnTo>
                        <a:pt x="1050900" y="546950"/>
                      </a:lnTo>
                      <a:lnTo>
                        <a:pt x="1050160" y="537563"/>
                      </a:lnTo>
                      <a:lnTo>
                        <a:pt x="1050122" y="530320"/>
                      </a:lnTo>
                      <a:lnTo>
                        <a:pt x="1049394" y="527843"/>
                      </a:lnTo>
                      <a:lnTo>
                        <a:pt x="1048913" y="521743"/>
                      </a:lnTo>
                      <a:lnTo>
                        <a:pt x="1040600" y="497903"/>
                      </a:lnTo>
                      <a:lnTo>
                        <a:pt x="1040597" y="497891"/>
                      </a:lnTo>
                      <a:cubicBezTo>
                        <a:pt x="1035020" y="488569"/>
                        <a:pt x="1026622" y="481604"/>
                        <a:pt x="1014140" y="479603"/>
                      </a:cubicBezTo>
                      <a:close/>
                      <a:moveTo>
                        <a:pt x="2005933" y="437121"/>
                      </a:moveTo>
                      <a:lnTo>
                        <a:pt x="2005933" y="437121"/>
                      </a:lnTo>
                      <a:lnTo>
                        <a:pt x="2024244" y="442561"/>
                      </a:lnTo>
                      <a:lnTo>
                        <a:pt x="2049537" y="466329"/>
                      </a:lnTo>
                      <a:lnTo>
                        <a:pt x="2069847" y="494202"/>
                      </a:lnTo>
                      <a:lnTo>
                        <a:pt x="2081254" y="512574"/>
                      </a:lnTo>
                      <a:lnTo>
                        <a:pt x="2097459" y="548567"/>
                      </a:lnTo>
                      <a:lnTo>
                        <a:pt x="2104426" y="565629"/>
                      </a:lnTo>
                      <a:lnTo>
                        <a:pt x="2113178" y="610697"/>
                      </a:lnTo>
                      <a:lnTo>
                        <a:pt x="2113186" y="610744"/>
                      </a:lnTo>
                      <a:cubicBezTo>
                        <a:pt x="2111337" y="660615"/>
                        <a:pt x="2131062" y="714180"/>
                        <a:pt x="2131062" y="714180"/>
                      </a:cubicBezTo>
                      <a:cubicBezTo>
                        <a:pt x="2158800" y="709870"/>
                        <a:pt x="2150787" y="731419"/>
                        <a:pt x="2150787" y="731419"/>
                      </a:cubicBezTo>
                      <a:cubicBezTo>
                        <a:pt x="2132911" y="743733"/>
                        <a:pt x="2101474" y="747427"/>
                        <a:pt x="2101474" y="747427"/>
                      </a:cubicBezTo>
                      <a:cubicBezTo>
                        <a:pt x="2033670" y="757278"/>
                        <a:pt x="1982508" y="895807"/>
                        <a:pt x="1952921" y="907505"/>
                      </a:cubicBezTo>
                      <a:cubicBezTo>
                        <a:pt x="1922717" y="919819"/>
                        <a:pt x="1911005" y="967227"/>
                        <a:pt x="1928881" y="978925"/>
                      </a:cubicBezTo>
                      <a:cubicBezTo>
                        <a:pt x="1946757" y="990623"/>
                        <a:pt x="2018260" y="1052192"/>
                        <a:pt x="2073736" y="1060196"/>
                      </a:cubicBezTo>
                      <a:lnTo>
                        <a:pt x="2073743" y="1060198"/>
                      </a:lnTo>
                      <a:lnTo>
                        <a:pt x="2097783" y="1066644"/>
                      </a:lnTo>
                      <a:lnTo>
                        <a:pt x="2100829" y="1068805"/>
                      </a:lnTo>
                      <a:lnTo>
                        <a:pt x="2103045" y="1072843"/>
                      </a:lnTo>
                      <a:lnTo>
                        <a:pt x="2098094" y="1081062"/>
                      </a:lnTo>
                      <a:lnTo>
                        <a:pt x="2093461" y="1083592"/>
                      </a:lnTo>
                      <a:lnTo>
                        <a:pt x="2093462" y="1083592"/>
                      </a:lnTo>
                      <a:cubicBezTo>
                        <a:pt x="2093462" y="1083592"/>
                        <a:pt x="2102246" y="1079744"/>
                        <a:pt x="2104172" y="1074895"/>
                      </a:cubicBezTo>
                      <a:lnTo>
                        <a:pt x="2103045" y="1072843"/>
                      </a:lnTo>
                      <a:lnTo>
                        <a:pt x="2104086" y="1071116"/>
                      </a:lnTo>
                      <a:lnTo>
                        <a:pt x="2100829" y="1068805"/>
                      </a:lnTo>
                      <a:lnTo>
                        <a:pt x="2099963" y="1067228"/>
                      </a:lnTo>
                      <a:lnTo>
                        <a:pt x="2097783" y="1066644"/>
                      </a:lnTo>
                      <a:lnTo>
                        <a:pt x="2095928" y="1065327"/>
                      </a:lnTo>
                      <a:lnTo>
                        <a:pt x="2073743" y="1060198"/>
                      </a:lnTo>
                      <a:lnTo>
                        <a:pt x="2073737" y="1060196"/>
                      </a:lnTo>
                      <a:cubicBezTo>
                        <a:pt x="2018261" y="1052192"/>
                        <a:pt x="1946758" y="990623"/>
                        <a:pt x="1928882" y="978925"/>
                      </a:cubicBezTo>
                      <a:cubicBezTo>
                        <a:pt x="1911006" y="967227"/>
                        <a:pt x="1922718" y="919819"/>
                        <a:pt x="1952922" y="907505"/>
                      </a:cubicBezTo>
                      <a:cubicBezTo>
                        <a:pt x="1982509" y="895807"/>
                        <a:pt x="2033671" y="757278"/>
                        <a:pt x="2101475" y="747427"/>
                      </a:cubicBezTo>
                      <a:cubicBezTo>
                        <a:pt x="2101475" y="747427"/>
                        <a:pt x="2132912" y="743733"/>
                        <a:pt x="2150788" y="731419"/>
                      </a:cubicBezTo>
                      <a:cubicBezTo>
                        <a:pt x="2150788" y="731419"/>
                        <a:pt x="2158801" y="709870"/>
                        <a:pt x="2131063" y="714180"/>
                      </a:cubicBezTo>
                      <a:cubicBezTo>
                        <a:pt x="2131063" y="714180"/>
                        <a:pt x="2111338" y="660615"/>
                        <a:pt x="2113187" y="610744"/>
                      </a:cubicBezTo>
                      <a:lnTo>
                        <a:pt x="2113178" y="610697"/>
                      </a:lnTo>
                      <a:lnTo>
                        <a:pt x="2106098" y="569726"/>
                      </a:lnTo>
                      <a:lnTo>
                        <a:pt x="2104426" y="565629"/>
                      </a:lnTo>
                      <a:lnTo>
                        <a:pt x="2103883" y="562836"/>
                      </a:lnTo>
                      <a:lnTo>
                        <a:pt x="2097459" y="548567"/>
                      </a:lnTo>
                      <a:lnTo>
                        <a:pt x="2085660" y="519670"/>
                      </a:lnTo>
                      <a:lnTo>
                        <a:pt x="2081254" y="512574"/>
                      </a:lnTo>
                      <a:lnTo>
                        <a:pt x="2078052" y="505462"/>
                      </a:lnTo>
                      <a:lnTo>
                        <a:pt x="2069847" y="494202"/>
                      </a:lnTo>
                      <a:lnTo>
                        <a:pt x="2056749" y="473106"/>
                      </a:lnTo>
                      <a:lnTo>
                        <a:pt x="2049537" y="466329"/>
                      </a:lnTo>
                      <a:lnTo>
                        <a:pt x="2042975" y="457323"/>
                      </a:lnTo>
                      <a:cubicBezTo>
                        <a:pt x="2030551" y="444894"/>
                        <a:pt x="2017799" y="437121"/>
                        <a:pt x="2005933" y="437121"/>
                      </a:cubicBezTo>
                      <a:close/>
                      <a:moveTo>
                        <a:pt x="702237" y="416803"/>
                      </a:moveTo>
                      <a:lnTo>
                        <a:pt x="705907" y="417178"/>
                      </a:lnTo>
                      <a:lnTo>
                        <a:pt x="705909" y="417180"/>
                      </a:lnTo>
                      <a:lnTo>
                        <a:pt x="712474" y="422995"/>
                      </a:lnTo>
                      <a:lnTo>
                        <a:pt x="714429" y="426794"/>
                      </a:lnTo>
                      <a:lnTo>
                        <a:pt x="718821" y="441180"/>
                      </a:lnTo>
                      <a:lnTo>
                        <a:pt x="720598" y="451547"/>
                      </a:lnTo>
                      <a:lnTo>
                        <a:pt x="721049" y="457921"/>
                      </a:lnTo>
                      <a:lnTo>
                        <a:pt x="720729" y="490685"/>
                      </a:lnTo>
                      <a:cubicBezTo>
                        <a:pt x="721423" y="480757"/>
                        <a:pt x="721654" y="472157"/>
                        <a:pt x="721528" y="464707"/>
                      </a:cubicBezTo>
                      <a:lnTo>
                        <a:pt x="721049" y="457921"/>
                      </a:lnTo>
                      <a:lnTo>
                        <a:pt x="721083" y="454374"/>
                      </a:lnTo>
                      <a:lnTo>
                        <a:pt x="720598" y="451547"/>
                      </a:lnTo>
                      <a:lnTo>
                        <a:pt x="720181" y="445634"/>
                      </a:lnTo>
                      <a:lnTo>
                        <a:pt x="718821" y="441180"/>
                      </a:lnTo>
                      <a:lnTo>
                        <a:pt x="717317" y="432406"/>
                      </a:lnTo>
                      <a:lnTo>
                        <a:pt x="714429" y="426794"/>
                      </a:lnTo>
                      <a:lnTo>
                        <a:pt x="713564" y="423960"/>
                      </a:lnTo>
                      <a:lnTo>
                        <a:pt x="712474" y="422995"/>
                      </a:lnTo>
                      <a:lnTo>
                        <a:pt x="711551" y="421200"/>
                      </a:lnTo>
                      <a:lnTo>
                        <a:pt x="705909" y="417180"/>
                      </a:lnTo>
                      <a:lnTo>
                        <a:pt x="705907" y="417178"/>
                      </a:lnTo>
                      <a:cubicBezTo>
                        <a:pt x="703740" y="416457"/>
                        <a:pt x="702237" y="416803"/>
                        <a:pt x="702237" y="416803"/>
                      </a:cubicBezTo>
                      <a:close/>
                      <a:moveTo>
                        <a:pt x="2390433" y="412599"/>
                      </a:moveTo>
                      <a:cubicBezTo>
                        <a:pt x="2377546" y="412955"/>
                        <a:pt x="2363908" y="416033"/>
                        <a:pt x="2350501" y="422960"/>
                      </a:cubicBezTo>
                      <a:cubicBezTo>
                        <a:pt x="2297491" y="450666"/>
                        <a:pt x="2340639" y="506078"/>
                        <a:pt x="2295025" y="553486"/>
                      </a:cubicBezTo>
                      <a:lnTo>
                        <a:pt x="2295000" y="553516"/>
                      </a:lnTo>
                      <a:lnTo>
                        <a:pt x="2275528" y="576033"/>
                      </a:lnTo>
                      <a:lnTo>
                        <a:pt x="2273410" y="579494"/>
                      </a:lnTo>
                      <a:lnTo>
                        <a:pt x="2271448" y="581855"/>
                      </a:lnTo>
                      <a:lnTo>
                        <a:pt x="2269925" y="585188"/>
                      </a:lnTo>
                      <a:lnTo>
                        <a:pt x="2266204" y="591267"/>
                      </a:lnTo>
                      <a:lnTo>
                        <a:pt x="2266031" y="593710"/>
                      </a:lnTo>
                      <a:lnTo>
                        <a:pt x="2264051" y="598046"/>
                      </a:lnTo>
                      <a:cubicBezTo>
                        <a:pt x="2262818" y="605511"/>
                        <a:pt x="2267287" y="607050"/>
                        <a:pt x="2267287" y="607050"/>
                      </a:cubicBezTo>
                      <a:lnTo>
                        <a:pt x="2267288" y="607050"/>
                      </a:lnTo>
                      <a:lnTo>
                        <a:pt x="2265208" y="605347"/>
                      </a:lnTo>
                      <a:lnTo>
                        <a:pt x="2266031" y="593710"/>
                      </a:lnTo>
                      <a:lnTo>
                        <a:pt x="2269925" y="585188"/>
                      </a:lnTo>
                      <a:lnTo>
                        <a:pt x="2273410" y="579494"/>
                      </a:lnTo>
                      <a:lnTo>
                        <a:pt x="2295000" y="553516"/>
                      </a:lnTo>
                      <a:lnTo>
                        <a:pt x="2295026" y="553486"/>
                      </a:lnTo>
                      <a:cubicBezTo>
                        <a:pt x="2340640" y="506078"/>
                        <a:pt x="2297492" y="450666"/>
                        <a:pt x="2350502" y="422960"/>
                      </a:cubicBezTo>
                      <a:lnTo>
                        <a:pt x="2390433" y="412599"/>
                      </a:lnTo>
                      <a:close/>
                      <a:moveTo>
                        <a:pt x="1963939" y="378169"/>
                      </a:moveTo>
                      <a:cubicBezTo>
                        <a:pt x="1937203" y="381709"/>
                        <a:pt x="1920868" y="394638"/>
                        <a:pt x="1912855" y="417419"/>
                      </a:cubicBezTo>
                      <a:cubicBezTo>
                        <a:pt x="1897445" y="462980"/>
                        <a:pt x="1915320" y="541787"/>
                        <a:pt x="1966482" y="553486"/>
                      </a:cubicBezTo>
                      <a:cubicBezTo>
                        <a:pt x="2018260" y="565799"/>
                        <a:pt x="2021958" y="632909"/>
                        <a:pt x="2021958" y="632909"/>
                      </a:cubicBezTo>
                      <a:cubicBezTo>
                        <a:pt x="2021188" y="639066"/>
                        <a:pt x="2020205" y="643770"/>
                        <a:pt x="2019057" y="647243"/>
                      </a:cubicBezTo>
                      <a:lnTo>
                        <a:pt x="2015158" y="654188"/>
                      </a:lnTo>
                      <a:lnTo>
                        <a:pt x="2015159" y="654189"/>
                      </a:lnTo>
                      <a:cubicBezTo>
                        <a:pt x="2018029" y="651726"/>
                        <a:pt x="2020418" y="645223"/>
                        <a:pt x="2021959" y="632909"/>
                      </a:cubicBezTo>
                      <a:cubicBezTo>
                        <a:pt x="2021959" y="632909"/>
                        <a:pt x="2018261" y="565799"/>
                        <a:pt x="1966483" y="553486"/>
                      </a:cubicBezTo>
                      <a:cubicBezTo>
                        <a:pt x="1915321" y="541787"/>
                        <a:pt x="1897446" y="462980"/>
                        <a:pt x="1912856" y="417419"/>
                      </a:cubicBezTo>
                      <a:cubicBezTo>
                        <a:pt x="1916863" y="406029"/>
                        <a:pt x="1922949" y="397101"/>
                        <a:pt x="1931377" y="390579"/>
                      </a:cubicBezTo>
                      <a:lnTo>
                        <a:pt x="1963940" y="378169"/>
                      </a:lnTo>
                      <a:close/>
                      <a:moveTo>
                        <a:pt x="1376701" y="374570"/>
                      </a:moveTo>
                      <a:lnTo>
                        <a:pt x="1376700" y="374571"/>
                      </a:lnTo>
                      <a:lnTo>
                        <a:pt x="1388912" y="376783"/>
                      </a:lnTo>
                      <a:cubicBezTo>
                        <a:pt x="1404939" y="390328"/>
                        <a:pt x="1407404" y="427270"/>
                        <a:pt x="1407404" y="427270"/>
                      </a:cubicBezTo>
                      <a:cubicBezTo>
                        <a:pt x="1420657" y="458977"/>
                        <a:pt x="1435143" y="466827"/>
                        <a:pt x="1446315" y="466751"/>
                      </a:cubicBezTo>
                      <a:lnTo>
                        <a:pt x="1446315" y="466750"/>
                      </a:lnTo>
                      <a:lnTo>
                        <a:pt x="1427640" y="458929"/>
                      </a:lnTo>
                      <a:cubicBezTo>
                        <a:pt x="1420966" y="453013"/>
                        <a:pt x="1414031" y="443124"/>
                        <a:pt x="1407405" y="427270"/>
                      </a:cubicBezTo>
                      <a:cubicBezTo>
                        <a:pt x="1407405" y="427270"/>
                        <a:pt x="1404940" y="390328"/>
                        <a:pt x="1388913" y="376783"/>
                      </a:cubicBezTo>
                      <a:cubicBezTo>
                        <a:pt x="1384906" y="373551"/>
                        <a:pt x="1380592" y="372935"/>
                        <a:pt x="1376701" y="374570"/>
                      </a:cubicBezTo>
                      <a:close/>
                      <a:moveTo>
                        <a:pt x="2162702" y="330126"/>
                      </a:moveTo>
                      <a:lnTo>
                        <a:pt x="2162702" y="330126"/>
                      </a:lnTo>
                      <a:lnTo>
                        <a:pt x="2198250" y="339842"/>
                      </a:lnTo>
                      <a:lnTo>
                        <a:pt x="2235564" y="358774"/>
                      </a:lnTo>
                      <a:lnTo>
                        <a:pt x="2242980" y="363926"/>
                      </a:lnTo>
                      <a:lnTo>
                        <a:pt x="2254374" y="373450"/>
                      </a:lnTo>
                      <a:lnTo>
                        <a:pt x="2266805" y="386930"/>
                      </a:lnTo>
                      <a:lnTo>
                        <a:pt x="2266815" y="386942"/>
                      </a:lnTo>
                      <a:cubicBezTo>
                        <a:pt x="2269405" y="389520"/>
                        <a:pt x="2272218" y="391098"/>
                        <a:pt x="2277149" y="391560"/>
                      </a:cubicBezTo>
                      <a:lnTo>
                        <a:pt x="2277150" y="391560"/>
                      </a:lnTo>
                      <a:lnTo>
                        <a:pt x="2266816" y="386942"/>
                      </a:lnTo>
                      <a:lnTo>
                        <a:pt x="2266805" y="386930"/>
                      </a:lnTo>
                      <a:lnTo>
                        <a:pt x="2257810" y="376322"/>
                      </a:lnTo>
                      <a:lnTo>
                        <a:pt x="2254374" y="373450"/>
                      </a:lnTo>
                      <a:lnTo>
                        <a:pt x="2250249" y="368977"/>
                      </a:lnTo>
                      <a:lnTo>
                        <a:pt x="2242980" y="363926"/>
                      </a:lnTo>
                      <a:lnTo>
                        <a:pt x="2238750" y="360391"/>
                      </a:lnTo>
                      <a:lnTo>
                        <a:pt x="2235564" y="358774"/>
                      </a:lnTo>
                      <a:lnTo>
                        <a:pt x="2231080" y="355659"/>
                      </a:lnTo>
                      <a:cubicBezTo>
                        <a:pt x="2222681" y="350787"/>
                        <a:pt x="2212005" y="345499"/>
                        <a:pt x="2198251" y="339842"/>
                      </a:cubicBezTo>
                      <a:cubicBezTo>
                        <a:pt x="2179913" y="332454"/>
                        <a:pt x="2168779" y="329760"/>
                        <a:pt x="2162702" y="330126"/>
                      </a:cubicBezTo>
                      <a:close/>
                      <a:moveTo>
                        <a:pt x="1722646" y="308865"/>
                      </a:moveTo>
                      <a:cubicBezTo>
                        <a:pt x="1692683" y="308519"/>
                        <a:pt x="1661978" y="312137"/>
                        <a:pt x="1634240" y="321372"/>
                      </a:cubicBezTo>
                      <a:cubicBezTo>
                        <a:pt x="1661978" y="312137"/>
                        <a:pt x="1692683" y="308519"/>
                        <a:pt x="1722646" y="308865"/>
                      </a:cubicBezTo>
                      <a:close/>
                      <a:moveTo>
                        <a:pt x="2276677" y="307057"/>
                      </a:moveTo>
                      <a:cubicBezTo>
                        <a:pt x="2267556" y="307441"/>
                        <a:pt x="2261739" y="308442"/>
                        <a:pt x="2261739" y="308442"/>
                      </a:cubicBezTo>
                      <a:lnTo>
                        <a:pt x="2201515" y="313492"/>
                      </a:lnTo>
                      <a:lnTo>
                        <a:pt x="2201515" y="313492"/>
                      </a:lnTo>
                      <a:cubicBezTo>
                        <a:pt x="2221250" y="314907"/>
                        <a:pt x="2241861" y="313829"/>
                        <a:pt x="2261740" y="308442"/>
                      </a:cubicBezTo>
                      <a:lnTo>
                        <a:pt x="2276678" y="307057"/>
                      </a:lnTo>
                      <a:close/>
                      <a:moveTo>
                        <a:pt x="1491852" y="284430"/>
                      </a:moveTo>
                      <a:lnTo>
                        <a:pt x="1491852" y="284430"/>
                      </a:lnTo>
                      <a:lnTo>
                        <a:pt x="1528527" y="291683"/>
                      </a:lnTo>
                      <a:lnTo>
                        <a:pt x="1528528" y="291683"/>
                      </a:lnTo>
                      <a:close/>
                      <a:moveTo>
                        <a:pt x="2045959" y="268836"/>
                      </a:moveTo>
                      <a:cubicBezTo>
                        <a:pt x="2025271" y="270668"/>
                        <a:pt x="2008484" y="283302"/>
                        <a:pt x="2000798" y="296574"/>
                      </a:cubicBezTo>
                      <a:lnTo>
                        <a:pt x="1999405" y="303145"/>
                      </a:lnTo>
                      <a:lnTo>
                        <a:pt x="1996823" y="306490"/>
                      </a:lnTo>
                      <a:lnTo>
                        <a:pt x="1997476" y="312248"/>
                      </a:lnTo>
                      <a:lnTo>
                        <a:pt x="1996746" y="315691"/>
                      </a:lnTo>
                      <a:lnTo>
                        <a:pt x="1997997" y="316846"/>
                      </a:lnTo>
                      <a:lnTo>
                        <a:pt x="1998324" y="319727"/>
                      </a:lnTo>
                      <a:lnTo>
                        <a:pt x="2010243" y="328141"/>
                      </a:lnTo>
                      <a:lnTo>
                        <a:pt x="2010246" y="328144"/>
                      </a:lnTo>
                      <a:cubicBezTo>
                        <a:pt x="2094694" y="352156"/>
                        <a:pt x="2134760" y="397717"/>
                        <a:pt x="2152636" y="405105"/>
                      </a:cubicBezTo>
                      <a:lnTo>
                        <a:pt x="2152644" y="405111"/>
                      </a:lnTo>
                      <a:lnTo>
                        <a:pt x="2174052" y="422941"/>
                      </a:lnTo>
                      <a:lnTo>
                        <a:pt x="2178554" y="436361"/>
                      </a:lnTo>
                      <a:lnTo>
                        <a:pt x="2162499" y="440815"/>
                      </a:lnTo>
                      <a:lnTo>
                        <a:pt x="2162499" y="440815"/>
                      </a:lnTo>
                      <a:cubicBezTo>
                        <a:pt x="2180375" y="440815"/>
                        <a:pt x="2182379" y="433888"/>
                        <a:pt x="2177679" y="425961"/>
                      </a:cubicBezTo>
                      <a:lnTo>
                        <a:pt x="2174052" y="422941"/>
                      </a:lnTo>
                      <a:lnTo>
                        <a:pt x="2173039" y="419921"/>
                      </a:lnTo>
                      <a:lnTo>
                        <a:pt x="2152644" y="405111"/>
                      </a:lnTo>
                      <a:lnTo>
                        <a:pt x="2152637" y="405105"/>
                      </a:lnTo>
                      <a:cubicBezTo>
                        <a:pt x="2134761" y="397717"/>
                        <a:pt x="2094695" y="352156"/>
                        <a:pt x="2010247" y="328144"/>
                      </a:cubicBezTo>
                      <a:lnTo>
                        <a:pt x="2010243" y="328141"/>
                      </a:lnTo>
                      <a:lnTo>
                        <a:pt x="1997997" y="316846"/>
                      </a:lnTo>
                      <a:lnTo>
                        <a:pt x="1997476" y="312248"/>
                      </a:lnTo>
                      <a:lnTo>
                        <a:pt x="1999405" y="303145"/>
                      </a:lnTo>
                      <a:lnTo>
                        <a:pt x="2018504" y="278415"/>
                      </a:lnTo>
                      <a:lnTo>
                        <a:pt x="2045960" y="268836"/>
                      </a:lnTo>
                      <a:close/>
                      <a:moveTo>
                        <a:pt x="1742188" y="244411"/>
                      </a:moveTo>
                      <a:lnTo>
                        <a:pt x="1782072" y="251164"/>
                      </a:lnTo>
                      <a:cubicBezTo>
                        <a:pt x="1792117" y="253530"/>
                        <a:pt x="1798204" y="255493"/>
                        <a:pt x="1798204" y="255493"/>
                      </a:cubicBezTo>
                      <a:cubicBezTo>
                        <a:pt x="1820703" y="264728"/>
                        <a:pt x="1836228" y="266883"/>
                        <a:pt x="1846861" y="264921"/>
                      </a:cubicBezTo>
                      <a:lnTo>
                        <a:pt x="1846861" y="264920"/>
                      </a:lnTo>
                      <a:lnTo>
                        <a:pt x="1826983" y="264406"/>
                      </a:lnTo>
                      <a:cubicBezTo>
                        <a:pt x="1818960" y="262958"/>
                        <a:pt x="1809454" y="260111"/>
                        <a:pt x="1798205" y="255493"/>
                      </a:cubicBezTo>
                      <a:cubicBezTo>
                        <a:pt x="1798205" y="255493"/>
                        <a:pt x="1773857" y="247643"/>
                        <a:pt x="1742189" y="244411"/>
                      </a:cubicBezTo>
                      <a:close/>
                      <a:moveTo>
                        <a:pt x="1258331" y="208229"/>
                      </a:moveTo>
                      <a:lnTo>
                        <a:pt x="1235624" y="208510"/>
                      </a:lnTo>
                      <a:lnTo>
                        <a:pt x="1228251" y="210998"/>
                      </a:lnTo>
                      <a:lnTo>
                        <a:pt x="1224160" y="211375"/>
                      </a:lnTo>
                      <a:lnTo>
                        <a:pt x="1216328" y="215022"/>
                      </a:lnTo>
                      <a:lnTo>
                        <a:pt x="1207474" y="218011"/>
                      </a:lnTo>
                      <a:lnTo>
                        <a:pt x="1197153" y="223954"/>
                      </a:lnTo>
                      <a:lnTo>
                        <a:pt x="1192085" y="226314"/>
                      </a:lnTo>
                      <a:lnTo>
                        <a:pt x="1187324" y="229613"/>
                      </a:lnTo>
                      <a:lnTo>
                        <a:pt x="1182930" y="232143"/>
                      </a:lnTo>
                      <a:lnTo>
                        <a:pt x="1171833" y="240347"/>
                      </a:lnTo>
                      <a:lnTo>
                        <a:pt x="1168299" y="242796"/>
                      </a:lnTo>
                      <a:lnTo>
                        <a:pt x="1166591" y="244223"/>
                      </a:lnTo>
                      <a:lnTo>
                        <a:pt x="1165576" y="244973"/>
                      </a:lnTo>
                      <a:lnTo>
                        <a:pt x="1159034" y="250535"/>
                      </a:lnTo>
                      <a:lnTo>
                        <a:pt x="1158994" y="250568"/>
                      </a:lnTo>
                      <a:cubicBezTo>
                        <a:pt x="1103517" y="366317"/>
                        <a:pt x="1051123" y="398332"/>
                        <a:pt x="1000578" y="419266"/>
                      </a:cubicBezTo>
                      <a:cubicBezTo>
                        <a:pt x="950649" y="440199"/>
                        <a:pt x="966676" y="540556"/>
                        <a:pt x="966676" y="540556"/>
                      </a:cubicBezTo>
                      <a:cubicBezTo>
                        <a:pt x="963055" y="553716"/>
                        <a:pt x="960579" y="565107"/>
                        <a:pt x="959020" y="574964"/>
                      </a:cubicBezTo>
                      <a:lnTo>
                        <a:pt x="958252" y="583939"/>
                      </a:lnTo>
                      <a:lnTo>
                        <a:pt x="957341" y="588629"/>
                      </a:lnTo>
                      <a:lnTo>
                        <a:pt x="957531" y="592353"/>
                      </a:lnTo>
                      <a:lnTo>
                        <a:pt x="956862" y="600172"/>
                      </a:lnTo>
                      <a:cubicBezTo>
                        <a:pt x="956948" y="614227"/>
                        <a:pt x="959780" y="623097"/>
                        <a:pt x="963517" y="628677"/>
                      </a:cubicBezTo>
                      <a:lnTo>
                        <a:pt x="965238" y="629924"/>
                      </a:lnTo>
                      <a:lnTo>
                        <a:pt x="966461" y="632274"/>
                      </a:lnTo>
                      <a:lnTo>
                        <a:pt x="975601" y="637438"/>
                      </a:lnTo>
                      <a:lnTo>
                        <a:pt x="975604" y="637440"/>
                      </a:lnTo>
                      <a:cubicBezTo>
                        <a:pt x="979312" y="638335"/>
                        <a:pt x="982086" y="637835"/>
                        <a:pt x="982086" y="637835"/>
                      </a:cubicBezTo>
                      <a:lnTo>
                        <a:pt x="982086" y="637835"/>
                      </a:lnTo>
                      <a:lnTo>
                        <a:pt x="975605" y="637440"/>
                      </a:lnTo>
                      <a:lnTo>
                        <a:pt x="975601" y="637438"/>
                      </a:lnTo>
                      <a:lnTo>
                        <a:pt x="965238" y="629924"/>
                      </a:lnTo>
                      <a:lnTo>
                        <a:pt x="958821" y="617603"/>
                      </a:lnTo>
                      <a:lnTo>
                        <a:pt x="957531" y="592353"/>
                      </a:lnTo>
                      <a:lnTo>
                        <a:pt x="958252" y="583939"/>
                      </a:lnTo>
                      <a:lnTo>
                        <a:pt x="966677" y="540556"/>
                      </a:lnTo>
                      <a:cubicBezTo>
                        <a:pt x="966677" y="540556"/>
                        <a:pt x="950650" y="440199"/>
                        <a:pt x="1000579" y="419266"/>
                      </a:cubicBezTo>
                      <a:cubicBezTo>
                        <a:pt x="1051124" y="398332"/>
                        <a:pt x="1103518" y="366317"/>
                        <a:pt x="1158995" y="250568"/>
                      </a:cubicBezTo>
                      <a:lnTo>
                        <a:pt x="1159034" y="250535"/>
                      </a:lnTo>
                      <a:lnTo>
                        <a:pt x="1166591" y="244223"/>
                      </a:lnTo>
                      <a:lnTo>
                        <a:pt x="1171833" y="240347"/>
                      </a:lnTo>
                      <a:lnTo>
                        <a:pt x="1187324" y="229613"/>
                      </a:lnTo>
                      <a:lnTo>
                        <a:pt x="1197153" y="223954"/>
                      </a:lnTo>
                      <a:lnTo>
                        <a:pt x="1216328" y="215022"/>
                      </a:lnTo>
                      <a:lnTo>
                        <a:pt x="1228251" y="210998"/>
                      </a:lnTo>
                      <a:close/>
                      <a:moveTo>
                        <a:pt x="1240946" y="169855"/>
                      </a:moveTo>
                      <a:cubicBezTo>
                        <a:pt x="1223559" y="169148"/>
                        <a:pt x="1208367" y="170789"/>
                        <a:pt x="1195047" y="173960"/>
                      </a:cubicBezTo>
                      <a:lnTo>
                        <a:pt x="1187197" y="176966"/>
                      </a:lnTo>
                      <a:lnTo>
                        <a:pt x="1182340" y="177609"/>
                      </a:lnTo>
                      <a:lnTo>
                        <a:pt x="1174148" y="181965"/>
                      </a:lnTo>
                      <a:lnTo>
                        <a:pt x="1160387" y="187236"/>
                      </a:lnTo>
                      <a:lnTo>
                        <a:pt x="1152591" y="193427"/>
                      </a:lnTo>
                      <a:lnTo>
                        <a:pt x="1142573" y="198754"/>
                      </a:lnTo>
                      <a:lnTo>
                        <a:pt x="1117081" y="221627"/>
                      </a:lnTo>
                      <a:lnTo>
                        <a:pt x="1117078" y="221630"/>
                      </a:lnTo>
                      <a:cubicBezTo>
                        <a:pt x="1090573" y="247489"/>
                        <a:pt x="1109065" y="316446"/>
                        <a:pt x="1006125" y="350925"/>
                      </a:cubicBezTo>
                      <a:cubicBezTo>
                        <a:pt x="948222" y="369972"/>
                        <a:pt x="926204" y="400903"/>
                        <a:pt x="919887" y="432760"/>
                      </a:cubicBezTo>
                      <a:cubicBezTo>
                        <a:pt x="926204" y="400903"/>
                        <a:pt x="948222" y="369972"/>
                        <a:pt x="1006125" y="350925"/>
                      </a:cubicBezTo>
                      <a:cubicBezTo>
                        <a:pt x="1109065" y="316446"/>
                        <a:pt x="1090573" y="247489"/>
                        <a:pt x="1117078" y="221630"/>
                      </a:cubicBezTo>
                      <a:lnTo>
                        <a:pt x="1117081" y="221627"/>
                      </a:lnTo>
                      <a:lnTo>
                        <a:pt x="1152591" y="193427"/>
                      </a:lnTo>
                      <a:lnTo>
                        <a:pt x="1174148" y="181965"/>
                      </a:lnTo>
                      <a:lnTo>
                        <a:pt x="1187197" y="176966"/>
                      </a:lnTo>
                      <a:lnTo>
                        <a:pt x="1240946" y="169855"/>
                      </a:lnTo>
                      <a:close/>
                      <a:moveTo>
                        <a:pt x="1250154" y="106699"/>
                      </a:moveTo>
                      <a:lnTo>
                        <a:pt x="1301999" y="118811"/>
                      </a:lnTo>
                      <a:lnTo>
                        <a:pt x="1302001" y="118813"/>
                      </a:lnTo>
                      <a:lnTo>
                        <a:pt x="1327415" y="138605"/>
                      </a:lnTo>
                      <a:lnTo>
                        <a:pt x="1330640" y="144977"/>
                      </a:lnTo>
                      <a:lnTo>
                        <a:pt x="1333005" y="156715"/>
                      </a:lnTo>
                      <a:lnTo>
                        <a:pt x="1327830" y="180110"/>
                      </a:lnTo>
                      <a:lnTo>
                        <a:pt x="1322957" y="187152"/>
                      </a:lnTo>
                      <a:lnTo>
                        <a:pt x="1322957" y="187152"/>
                      </a:lnTo>
                      <a:cubicBezTo>
                        <a:pt x="1322957" y="187152"/>
                        <a:pt x="1332203" y="176531"/>
                        <a:pt x="1334206" y="162678"/>
                      </a:cubicBezTo>
                      <a:lnTo>
                        <a:pt x="1333005" y="156715"/>
                      </a:lnTo>
                      <a:lnTo>
                        <a:pt x="1334093" y="151798"/>
                      </a:lnTo>
                      <a:lnTo>
                        <a:pt x="1330640" y="144977"/>
                      </a:lnTo>
                      <a:lnTo>
                        <a:pt x="1329718" y="140398"/>
                      </a:lnTo>
                      <a:lnTo>
                        <a:pt x="1327415" y="138605"/>
                      </a:lnTo>
                      <a:lnTo>
                        <a:pt x="1325449" y="134720"/>
                      </a:lnTo>
                      <a:lnTo>
                        <a:pt x="1302001" y="118813"/>
                      </a:lnTo>
                      <a:lnTo>
                        <a:pt x="1301999" y="118811"/>
                      </a:lnTo>
                      <a:cubicBezTo>
                        <a:pt x="1287360" y="112192"/>
                        <a:pt x="1269484" y="108190"/>
                        <a:pt x="1250154" y="106699"/>
                      </a:cubicBezTo>
                      <a:close/>
                      <a:moveTo>
                        <a:pt x="1563370" y="77426"/>
                      </a:moveTo>
                      <a:cubicBezTo>
                        <a:pt x="1548231" y="77048"/>
                        <a:pt x="1534549" y="77997"/>
                        <a:pt x="1522116" y="79997"/>
                      </a:cubicBezTo>
                      <a:lnTo>
                        <a:pt x="1519315" y="80733"/>
                      </a:lnTo>
                      <a:lnTo>
                        <a:pt x="1516864" y="80917"/>
                      </a:lnTo>
                      <a:lnTo>
                        <a:pt x="1512508" y="82522"/>
                      </a:lnTo>
                      <a:lnTo>
                        <a:pt x="1488353" y="88869"/>
                      </a:lnTo>
                      <a:lnTo>
                        <a:pt x="1477324" y="95483"/>
                      </a:lnTo>
                      <a:lnTo>
                        <a:pt x="1464426" y="100234"/>
                      </a:lnTo>
                      <a:lnTo>
                        <a:pt x="1447183" y="113555"/>
                      </a:lnTo>
                      <a:lnTo>
                        <a:pt x="1438286" y="118890"/>
                      </a:lnTo>
                      <a:lnTo>
                        <a:pt x="1431677" y="125534"/>
                      </a:lnTo>
                      <a:lnTo>
                        <a:pt x="1427160" y="129023"/>
                      </a:lnTo>
                      <a:lnTo>
                        <a:pt x="1405024" y="152329"/>
                      </a:lnTo>
                      <a:lnTo>
                        <a:pt x="1403139" y="154225"/>
                      </a:lnTo>
                      <a:cubicBezTo>
                        <a:pt x="1392796" y="165415"/>
                        <a:pt x="1383269" y="175281"/>
                        <a:pt x="1372886" y="181611"/>
                      </a:cubicBezTo>
                      <a:cubicBezTo>
                        <a:pt x="1325423" y="210548"/>
                        <a:pt x="1343915" y="345383"/>
                        <a:pt x="1343915" y="345383"/>
                      </a:cubicBezTo>
                      <a:cubicBezTo>
                        <a:pt x="1304465" y="366317"/>
                        <a:pt x="1296452" y="427270"/>
                        <a:pt x="1296452" y="427270"/>
                      </a:cubicBezTo>
                      <a:cubicBezTo>
                        <a:pt x="1301999" y="479603"/>
                        <a:pt x="1251454" y="530089"/>
                        <a:pt x="1251454" y="530089"/>
                      </a:cubicBezTo>
                      <a:cubicBezTo>
                        <a:pt x="1156528" y="611976"/>
                        <a:pt x="1232962" y="711717"/>
                        <a:pt x="1232962" y="711717"/>
                      </a:cubicBezTo>
                      <a:cubicBezTo>
                        <a:pt x="1246523" y="920435"/>
                        <a:pt x="1283507" y="938906"/>
                        <a:pt x="1283507" y="938906"/>
                      </a:cubicBezTo>
                      <a:lnTo>
                        <a:pt x="1283525" y="938921"/>
                      </a:lnTo>
                      <a:lnTo>
                        <a:pt x="1312878" y="964229"/>
                      </a:lnTo>
                      <a:lnTo>
                        <a:pt x="1317923" y="970009"/>
                      </a:lnTo>
                      <a:lnTo>
                        <a:pt x="1324020" y="978931"/>
                      </a:lnTo>
                      <a:lnTo>
                        <a:pt x="1327369" y="991979"/>
                      </a:lnTo>
                      <a:lnTo>
                        <a:pt x="1325423" y="994317"/>
                      </a:lnTo>
                      <a:lnTo>
                        <a:pt x="1325424" y="994317"/>
                      </a:lnTo>
                      <a:cubicBezTo>
                        <a:pt x="1325424" y="994317"/>
                        <a:pt x="1330047" y="991700"/>
                        <a:pt x="1327119" y="983466"/>
                      </a:cubicBezTo>
                      <a:lnTo>
                        <a:pt x="1324020" y="978931"/>
                      </a:lnTo>
                      <a:lnTo>
                        <a:pt x="1323316" y="976190"/>
                      </a:lnTo>
                      <a:lnTo>
                        <a:pt x="1317923" y="970009"/>
                      </a:lnTo>
                      <a:lnTo>
                        <a:pt x="1315542" y="966525"/>
                      </a:lnTo>
                      <a:lnTo>
                        <a:pt x="1312878" y="964229"/>
                      </a:lnTo>
                      <a:lnTo>
                        <a:pt x="1309807" y="960709"/>
                      </a:lnTo>
                      <a:lnTo>
                        <a:pt x="1283525" y="938921"/>
                      </a:lnTo>
                      <a:lnTo>
                        <a:pt x="1283508" y="938906"/>
                      </a:lnTo>
                      <a:cubicBezTo>
                        <a:pt x="1283508" y="938906"/>
                        <a:pt x="1246524" y="920435"/>
                        <a:pt x="1232963" y="711717"/>
                      </a:cubicBezTo>
                      <a:cubicBezTo>
                        <a:pt x="1232963" y="711717"/>
                        <a:pt x="1156529" y="611976"/>
                        <a:pt x="1251455" y="530089"/>
                      </a:cubicBezTo>
                      <a:cubicBezTo>
                        <a:pt x="1251455" y="530089"/>
                        <a:pt x="1302000" y="479603"/>
                        <a:pt x="1296453" y="427270"/>
                      </a:cubicBezTo>
                      <a:cubicBezTo>
                        <a:pt x="1296453" y="427270"/>
                        <a:pt x="1304466" y="366317"/>
                        <a:pt x="1343916" y="345383"/>
                      </a:cubicBezTo>
                      <a:cubicBezTo>
                        <a:pt x="1343916" y="345383"/>
                        <a:pt x="1325424" y="210548"/>
                        <a:pt x="1372887" y="181611"/>
                      </a:cubicBezTo>
                      <a:cubicBezTo>
                        <a:pt x="1381786" y="176185"/>
                        <a:pt x="1390057" y="168162"/>
                        <a:pt x="1398752" y="158933"/>
                      </a:cubicBezTo>
                      <a:lnTo>
                        <a:pt x="1405024" y="152329"/>
                      </a:lnTo>
                      <a:lnTo>
                        <a:pt x="1431677" y="125534"/>
                      </a:lnTo>
                      <a:lnTo>
                        <a:pt x="1447183" y="113555"/>
                      </a:lnTo>
                      <a:lnTo>
                        <a:pt x="1477324" y="95483"/>
                      </a:lnTo>
                      <a:lnTo>
                        <a:pt x="1512508" y="82522"/>
                      </a:lnTo>
                      <a:lnTo>
                        <a:pt x="1519315" y="80733"/>
                      </a:lnTo>
                      <a:lnTo>
                        <a:pt x="1563370" y="77426"/>
                      </a:lnTo>
                      <a:close/>
                      <a:moveTo>
                        <a:pt x="1758754" y="70787"/>
                      </a:moveTo>
                      <a:cubicBezTo>
                        <a:pt x="1743498" y="70171"/>
                        <a:pt x="1733867" y="72172"/>
                        <a:pt x="1728001" y="75520"/>
                      </a:cubicBezTo>
                      <a:lnTo>
                        <a:pt x="1727998" y="75525"/>
                      </a:lnTo>
                      <a:lnTo>
                        <a:pt x="1720376" y="84789"/>
                      </a:lnTo>
                      <a:lnTo>
                        <a:pt x="1720467" y="87354"/>
                      </a:lnTo>
                      <a:lnTo>
                        <a:pt x="1719843" y="88334"/>
                      </a:lnTo>
                      <a:lnTo>
                        <a:pt x="1720613" y="91443"/>
                      </a:lnTo>
                      <a:lnTo>
                        <a:pt x="1720753" y="95390"/>
                      </a:lnTo>
                      <a:lnTo>
                        <a:pt x="1722774" y="100181"/>
                      </a:lnTo>
                      <a:lnTo>
                        <a:pt x="1723128" y="101610"/>
                      </a:lnTo>
                      <a:lnTo>
                        <a:pt x="1724025" y="103145"/>
                      </a:lnTo>
                      <a:lnTo>
                        <a:pt x="1724431" y="104108"/>
                      </a:lnTo>
                      <a:lnTo>
                        <a:pt x="1726687" y="107704"/>
                      </a:lnTo>
                      <a:lnTo>
                        <a:pt x="1726701" y="107728"/>
                      </a:lnTo>
                      <a:lnTo>
                        <a:pt x="1726708" y="107741"/>
                      </a:lnTo>
                      <a:lnTo>
                        <a:pt x="1741857" y="142460"/>
                      </a:lnTo>
                      <a:lnTo>
                        <a:pt x="1742335" y="152329"/>
                      </a:lnTo>
                      <a:lnTo>
                        <a:pt x="1738549" y="175334"/>
                      </a:lnTo>
                      <a:lnTo>
                        <a:pt x="1735331" y="183550"/>
                      </a:lnTo>
                      <a:lnTo>
                        <a:pt x="1715961" y="206248"/>
                      </a:lnTo>
                      <a:lnTo>
                        <a:pt x="1715952" y="206257"/>
                      </a:lnTo>
                      <a:lnTo>
                        <a:pt x="1684786" y="216089"/>
                      </a:lnTo>
                      <a:lnTo>
                        <a:pt x="1684786" y="216089"/>
                      </a:lnTo>
                      <a:cubicBezTo>
                        <a:pt x="1696036" y="216089"/>
                        <a:pt x="1706784" y="212472"/>
                        <a:pt x="1715953" y="206257"/>
                      </a:cubicBezTo>
                      <a:lnTo>
                        <a:pt x="1715961" y="206248"/>
                      </a:lnTo>
                      <a:lnTo>
                        <a:pt x="1733462" y="188322"/>
                      </a:lnTo>
                      <a:lnTo>
                        <a:pt x="1735331" y="183550"/>
                      </a:lnTo>
                      <a:lnTo>
                        <a:pt x="1737643" y="180841"/>
                      </a:lnTo>
                      <a:lnTo>
                        <a:pt x="1738549" y="175334"/>
                      </a:lnTo>
                      <a:lnTo>
                        <a:pt x="1742910" y="164201"/>
                      </a:lnTo>
                      <a:lnTo>
                        <a:pt x="1742335" y="152329"/>
                      </a:lnTo>
                      <a:lnTo>
                        <a:pt x="1743383" y="145959"/>
                      </a:lnTo>
                      <a:lnTo>
                        <a:pt x="1741857" y="142460"/>
                      </a:lnTo>
                      <a:lnTo>
                        <a:pt x="1741567" y="136476"/>
                      </a:lnTo>
                      <a:lnTo>
                        <a:pt x="1726708" y="107741"/>
                      </a:lnTo>
                      <a:lnTo>
                        <a:pt x="1726702" y="107728"/>
                      </a:lnTo>
                      <a:lnTo>
                        <a:pt x="1726687" y="107704"/>
                      </a:lnTo>
                      <a:lnTo>
                        <a:pt x="1724025" y="103145"/>
                      </a:lnTo>
                      <a:lnTo>
                        <a:pt x="1722774" y="100181"/>
                      </a:lnTo>
                      <a:lnTo>
                        <a:pt x="1720613" y="91443"/>
                      </a:lnTo>
                      <a:lnTo>
                        <a:pt x="1720467" y="87354"/>
                      </a:lnTo>
                      <a:lnTo>
                        <a:pt x="1727998" y="75525"/>
                      </a:lnTo>
                      <a:lnTo>
                        <a:pt x="1728002" y="75520"/>
                      </a:lnTo>
                      <a:lnTo>
                        <a:pt x="1758754" y="70787"/>
                      </a:lnTo>
                      <a:close/>
                      <a:moveTo>
                        <a:pt x="1761849" y="144"/>
                      </a:moveTo>
                      <a:cubicBezTo>
                        <a:pt x="1797732" y="1407"/>
                        <a:pt x="1838501" y="11219"/>
                        <a:pt x="1877103" y="39387"/>
                      </a:cubicBezTo>
                      <a:cubicBezTo>
                        <a:pt x="1877103" y="39387"/>
                        <a:pt x="2008397" y="55395"/>
                        <a:pt x="2079284" y="86795"/>
                      </a:cubicBezTo>
                      <a:cubicBezTo>
                        <a:pt x="2150787" y="118811"/>
                        <a:pt x="2166813" y="174222"/>
                        <a:pt x="2253726" y="185920"/>
                      </a:cubicBezTo>
                      <a:cubicBezTo>
                        <a:pt x="2340639" y="197618"/>
                        <a:pt x="2407827" y="280736"/>
                        <a:pt x="2463303" y="355850"/>
                      </a:cubicBezTo>
                      <a:cubicBezTo>
                        <a:pt x="2518780" y="430964"/>
                        <a:pt x="2598296" y="454976"/>
                        <a:pt x="2704934" y="660615"/>
                      </a:cubicBezTo>
                      <a:cubicBezTo>
                        <a:pt x="2704934" y="660615"/>
                        <a:pt x="2815886" y="700019"/>
                        <a:pt x="2867664" y="937674"/>
                      </a:cubicBezTo>
                      <a:cubicBezTo>
                        <a:pt x="2918826" y="1174714"/>
                        <a:pt x="2974302" y="1384663"/>
                        <a:pt x="2796161" y="1585992"/>
                      </a:cubicBezTo>
                      <a:cubicBezTo>
                        <a:pt x="2796161" y="1585992"/>
                        <a:pt x="2752397" y="1621702"/>
                        <a:pt x="2665484" y="1582298"/>
                      </a:cubicBezTo>
                      <a:cubicBezTo>
                        <a:pt x="2578571" y="1542894"/>
                        <a:pt x="2507068" y="1593996"/>
                        <a:pt x="2447893" y="1633400"/>
                      </a:cubicBezTo>
                      <a:cubicBezTo>
                        <a:pt x="2388102" y="1673420"/>
                        <a:pt x="2340639" y="1677114"/>
                        <a:pt x="2304888" y="1724522"/>
                      </a:cubicBezTo>
                      <a:cubicBezTo>
                        <a:pt x="2269753" y="1771930"/>
                        <a:pt x="2162498" y="1799636"/>
                        <a:pt x="2095310" y="1799636"/>
                      </a:cubicBezTo>
                      <a:cubicBezTo>
                        <a:pt x="2028122" y="1799636"/>
                        <a:pt x="2063257" y="1871056"/>
                        <a:pt x="1877103" y="1847044"/>
                      </a:cubicBezTo>
                      <a:cubicBezTo>
                        <a:pt x="1877103" y="1847044"/>
                        <a:pt x="1750740" y="1981879"/>
                        <a:pt x="1445621" y="1965871"/>
                      </a:cubicBezTo>
                      <a:cubicBezTo>
                        <a:pt x="1445621" y="1965871"/>
                        <a:pt x="1326655" y="2013279"/>
                        <a:pt x="1243441" y="2013279"/>
                      </a:cubicBezTo>
                      <a:cubicBezTo>
                        <a:pt x="1160843" y="2013279"/>
                        <a:pt x="879145" y="1902456"/>
                        <a:pt x="811957" y="1902456"/>
                      </a:cubicBezTo>
                      <a:cubicBezTo>
                        <a:pt x="811957" y="1902456"/>
                        <a:pt x="736756" y="1835346"/>
                        <a:pt x="705319" y="1763926"/>
                      </a:cubicBezTo>
                      <a:cubicBezTo>
                        <a:pt x="705319" y="1763926"/>
                        <a:pt x="614092" y="1763926"/>
                        <a:pt x="558615" y="1744224"/>
                      </a:cubicBezTo>
                      <a:cubicBezTo>
                        <a:pt x="503139" y="1724522"/>
                        <a:pt x="170281" y="1732526"/>
                        <a:pt x="67341" y="1424067"/>
                      </a:cubicBezTo>
                      <a:cubicBezTo>
                        <a:pt x="67341" y="1424067"/>
                        <a:pt x="71656" y="1329251"/>
                        <a:pt x="11865" y="1238129"/>
                      </a:cubicBezTo>
                      <a:cubicBezTo>
                        <a:pt x="11865" y="1238129"/>
                        <a:pt x="-35598" y="1123612"/>
                        <a:pt x="59328" y="1024486"/>
                      </a:cubicBezTo>
                      <a:cubicBezTo>
                        <a:pt x="59328" y="1024486"/>
                        <a:pt x="51931" y="869949"/>
                        <a:pt x="178294" y="724031"/>
                      </a:cubicBezTo>
                      <a:cubicBezTo>
                        <a:pt x="178294" y="724031"/>
                        <a:pt x="222059" y="700019"/>
                        <a:pt x="238085" y="640913"/>
                      </a:cubicBezTo>
                      <a:cubicBezTo>
                        <a:pt x="238085" y="640913"/>
                        <a:pt x="257810" y="573187"/>
                        <a:pt x="344723" y="478372"/>
                      </a:cubicBezTo>
                      <a:cubicBezTo>
                        <a:pt x="431636" y="383556"/>
                        <a:pt x="475401" y="422960"/>
                        <a:pt x="511152" y="347846"/>
                      </a:cubicBezTo>
                      <a:cubicBezTo>
                        <a:pt x="546904" y="272732"/>
                        <a:pt x="705319" y="225324"/>
                        <a:pt x="776206" y="225324"/>
                      </a:cubicBezTo>
                      <a:cubicBezTo>
                        <a:pt x="847709" y="225324"/>
                        <a:pt x="788534" y="130509"/>
                        <a:pt x="994414" y="134203"/>
                      </a:cubicBezTo>
                      <a:cubicBezTo>
                        <a:pt x="994414" y="134203"/>
                        <a:pt x="1097353" y="63399"/>
                        <a:pt x="1188581" y="39387"/>
                      </a:cubicBezTo>
                      <a:cubicBezTo>
                        <a:pt x="1279192" y="15991"/>
                        <a:pt x="1319259" y="78791"/>
                        <a:pt x="1378433" y="70787"/>
                      </a:cubicBezTo>
                      <a:cubicBezTo>
                        <a:pt x="1437608" y="63399"/>
                        <a:pt x="1441923" y="-19719"/>
                        <a:pt x="1655814" y="19685"/>
                      </a:cubicBezTo>
                      <a:cubicBezTo>
                        <a:pt x="1655814" y="19685"/>
                        <a:pt x="1702044" y="-1960"/>
                        <a:pt x="1761849" y="144"/>
                      </a:cubicBezTo>
                      <a:close/>
                    </a:path>
                  </a:pathLst>
                </a:custGeom>
                <a:gradFill flip="none" rotWithShape="1">
                  <a:gsLst>
                    <a:gs pos="0">
                      <a:schemeClr val="accent4">
                        <a:lumMod val="100000"/>
                      </a:schemeClr>
                    </a:gs>
                    <a:gs pos="100000">
                      <a:schemeClr val="lt1">
                        <a:lumMod val="100000"/>
                      </a:schemeClr>
                    </a:gs>
                    <a:gs pos="90000">
                      <a:schemeClr val="accent4">
                        <a:lumMod val="100000"/>
                      </a:schemeClr>
                    </a:gs>
                    <a:gs pos="90100">
                      <a:schemeClr val="lt1">
                        <a:lumMod val="10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71" name="íṧḷîḍê">
                  <a:extLst>
                    <a:ext uri="{FF2B5EF4-FFF2-40B4-BE49-F238E27FC236}">
                      <a16:creationId xmlns:a16="http://schemas.microsoft.com/office/drawing/2014/main" id="{963615ED-4D38-4E1E-9A35-24B496C225DA}"/>
                    </a:ext>
                  </a:extLst>
                </p:cNvPr>
                <p:cNvSpPr/>
                <p:nvPr/>
              </p:nvSpPr>
              <p:spPr bwMode="auto">
                <a:xfrm>
                  <a:off x="2533650" y="3441662"/>
                  <a:ext cx="3009900" cy="2049006"/>
                </a:xfrm>
                <a:custGeom>
                  <a:avLst/>
                  <a:gdLst>
                    <a:gd name="T0" fmla="*/ 2294 w 4883"/>
                    <a:gd name="T1" fmla="*/ 173 h 3328"/>
                    <a:gd name="T2" fmla="*/ 154 w 4883"/>
                    <a:gd name="T3" fmla="*/ 1722 h 3328"/>
                    <a:gd name="T4" fmla="*/ 3103 w 4883"/>
                    <a:gd name="T5" fmla="*/ 3058 h 3328"/>
                    <a:gd name="T6" fmla="*/ 3138 w 4883"/>
                    <a:gd name="T7" fmla="*/ 302 h 3328"/>
                    <a:gd name="T8" fmla="*/ 3146 w 4883"/>
                    <a:gd name="T9" fmla="*/ 495 h 3328"/>
                    <a:gd name="T10" fmla="*/ 2675 w 4883"/>
                    <a:gd name="T11" fmla="*/ 1120 h 3328"/>
                    <a:gd name="T12" fmla="*/ 2285 w 4883"/>
                    <a:gd name="T13" fmla="*/ 353 h 3328"/>
                    <a:gd name="T14" fmla="*/ 2722 w 4883"/>
                    <a:gd name="T15" fmla="*/ 482 h 3328"/>
                    <a:gd name="T16" fmla="*/ 2345 w 4883"/>
                    <a:gd name="T17" fmla="*/ 944 h 3328"/>
                    <a:gd name="T18" fmla="*/ 1759 w 4883"/>
                    <a:gd name="T19" fmla="*/ 992 h 3328"/>
                    <a:gd name="T20" fmla="*/ 2161 w 4883"/>
                    <a:gd name="T21" fmla="*/ 448 h 3328"/>
                    <a:gd name="T22" fmla="*/ 2058 w 4883"/>
                    <a:gd name="T23" fmla="*/ 1214 h 3328"/>
                    <a:gd name="T24" fmla="*/ 752 w 4883"/>
                    <a:gd name="T25" fmla="*/ 1467 h 3328"/>
                    <a:gd name="T26" fmla="*/ 945 w 4883"/>
                    <a:gd name="T27" fmla="*/ 2015 h 3328"/>
                    <a:gd name="T28" fmla="*/ 1210 w 4883"/>
                    <a:gd name="T29" fmla="*/ 1279 h 3328"/>
                    <a:gd name="T30" fmla="*/ 683 w 4883"/>
                    <a:gd name="T31" fmla="*/ 1231 h 3328"/>
                    <a:gd name="T32" fmla="*/ 1617 w 4883"/>
                    <a:gd name="T33" fmla="*/ 1150 h 3328"/>
                    <a:gd name="T34" fmla="*/ 1030 w 4883"/>
                    <a:gd name="T35" fmla="*/ 949 h 3328"/>
                    <a:gd name="T36" fmla="*/ 1806 w 4883"/>
                    <a:gd name="T37" fmla="*/ 1780 h 3328"/>
                    <a:gd name="T38" fmla="*/ 1690 w 4883"/>
                    <a:gd name="T39" fmla="*/ 353 h 3328"/>
                    <a:gd name="T40" fmla="*/ 1300 w 4883"/>
                    <a:gd name="T41" fmla="*/ 769 h 3328"/>
                    <a:gd name="T42" fmla="*/ 1386 w 4883"/>
                    <a:gd name="T43" fmla="*/ 508 h 3328"/>
                    <a:gd name="T44" fmla="*/ 773 w 4883"/>
                    <a:gd name="T45" fmla="*/ 837 h 3328"/>
                    <a:gd name="T46" fmla="*/ 276 w 4883"/>
                    <a:gd name="T47" fmla="*/ 1566 h 3328"/>
                    <a:gd name="T48" fmla="*/ 422 w 4883"/>
                    <a:gd name="T49" fmla="*/ 1583 h 3328"/>
                    <a:gd name="T50" fmla="*/ 606 w 4883"/>
                    <a:gd name="T51" fmla="*/ 1904 h 3328"/>
                    <a:gd name="T52" fmla="*/ 294 w 4883"/>
                    <a:gd name="T53" fmla="*/ 2272 h 3328"/>
                    <a:gd name="T54" fmla="*/ 1120 w 4883"/>
                    <a:gd name="T55" fmla="*/ 2808 h 3328"/>
                    <a:gd name="T56" fmla="*/ 1356 w 4883"/>
                    <a:gd name="T57" fmla="*/ 2191 h 3328"/>
                    <a:gd name="T58" fmla="*/ 932 w 4883"/>
                    <a:gd name="T59" fmla="*/ 2572 h 3328"/>
                    <a:gd name="T60" fmla="*/ 2528 w 4883"/>
                    <a:gd name="T61" fmla="*/ 2618 h 3328"/>
                    <a:gd name="T62" fmla="*/ 2278 w 4883"/>
                    <a:gd name="T63" fmla="*/ 3180 h 3328"/>
                    <a:gd name="T64" fmla="*/ 1321 w 4883"/>
                    <a:gd name="T65" fmla="*/ 2801 h 3328"/>
                    <a:gd name="T66" fmla="*/ 2478 w 4883"/>
                    <a:gd name="T67" fmla="*/ 1938 h 3328"/>
                    <a:gd name="T68" fmla="*/ 3454 w 4883"/>
                    <a:gd name="T69" fmla="*/ 1818 h 3328"/>
                    <a:gd name="T70" fmla="*/ 3312 w 4883"/>
                    <a:gd name="T71" fmla="*/ 768 h 3328"/>
                    <a:gd name="T72" fmla="*/ 2776 w 4883"/>
                    <a:gd name="T73" fmla="*/ 1401 h 3328"/>
                    <a:gd name="T74" fmla="*/ 3566 w 4883"/>
                    <a:gd name="T75" fmla="*/ 774 h 3328"/>
                    <a:gd name="T76" fmla="*/ 3624 w 4883"/>
                    <a:gd name="T77" fmla="*/ 610 h 3328"/>
                    <a:gd name="T78" fmla="*/ 3736 w 4883"/>
                    <a:gd name="T79" fmla="*/ 1044 h 3328"/>
                    <a:gd name="T80" fmla="*/ 3977 w 4883"/>
                    <a:gd name="T81" fmla="*/ 1115 h 3328"/>
                    <a:gd name="T82" fmla="*/ 4109 w 4883"/>
                    <a:gd name="T83" fmla="*/ 1205 h 3328"/>
                    <a:gd name="T84" fmla="*/ 3280 w 4883"/>
                    <a:gd name="T85" fmla="*/ 1561 h 3328"/>
                    <a:gd name="T86" fmla="*/ 2644 w 4883"/>
                    <a:gd name="T87" fmla="*/ 2127 h 3328"/>
                    <a:gd name="T88" fmla="*/ 1812 w 4883"/>
                    <a:gd name="T89" fmla="*/ 2676 h 3328"/>
                    <a:gd name="T90" fmla="*/ 2448 w 4883"/>
                    <a:gd name="T91" fmla="*/ 2422 h 3328"/>
                    <a:gd name="T92" fmla="*/ 3762 w 4883"/>
                    <a:gd name="T93" fmla="*/ 2637 h 3328"/>
                    <a:gd name="T94" fmla="*/ 3412 w 4883"/>
                    <a:gd name="T95" fmla="*/ 2056 h 3328"/>
                    <a:gd name="T96" fmla="*/ 4033 w 4883"/>
                    <a:gd name="T97" fmla="*/ 2486 h 3328"/>
                    <a:gd name="T98" fmla="*/ 4157 w 4883"/>
                    <a:gd name="T99" fmla="*/ 2504 h 3328"/>
                    <a:gd name="T100" fmla="*/ 3917 w 4883"/>
                    <a:gd name="T101" fmla="*/ 2015 h 3328"/>
                    <a:gd name="T102" fmla="*/ 4453 w 4883"/>
                    <a:gd name="T103" fmla="*/ 2405 h 3328"/>
                    <a:gd name="T104" fmla="*/ 4508 w 4883"/>
                    <a:gd name="T105" fmla="*/ 2538 h 3328"/>
                    <a:gd name="T106" fmla="*/ 2932 w 4883"/>
                    <a:gd name="T107" fmla="*/ 743 h 3328"/>
                    <a:gd name="T108" fmla="*/ 4277 w 4883"/>
                    <a:gd name="T109" fmla="*/ 1608 h 3328"/>
                    <a:gd name="T110" fmla="*/ 3600 w 4883"/>
                    <a:gd name="T111" fmla="*/ 2469 h 3328"/>
                    <a:gd name="T112" fmla="*/ 3116 w 4883"/>
                    <a:gd name="T113" fmla="*/ 1913 h 3328"/>
                    <a:gd name="T114" fmla="*/ 3039 w 4883"/>
                    <a:gd name="T115" fmla="*/ 1296 h 3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83" h="3328">
                      <a:moveTo>
                        <a:pt x="4710" y="1581"/>
                      </a:moveTo>
                      <a:cubicBezTo>
                        <a:pt x="4626" y="1195"/>
                        <a:pt x="4446" y="1131"/>
                        <a:pt x="4446" y="1131"/>
                      </a:cubicBezTo>
                      <a:cubicBezTo>
                        <a:pt x="4273" y="797"/>
                        <a:pt x="4144" y="758"/>
                        <a:pt x="4054" y="636"/>
                      </a:cubicBezTo>
                      <a:cubicBezTo>
                        <a:pt x="3964" y="514"/>
                        <a:pt x="3855" y="379"/>
                        <a:pt x="3714" y="360"/>
                      </a:cubicBezTo>
                      <a:cubicBezTo>
                        <a:pt x="3573" y="341"/>
                        <a:pt x="3547" y="251"/>
                        <a:pt x="3431" y="199"/>
                      </a:cubicBezTo>
                      <a:cubicBezTo>
                        <a:pt x="3316" y="148"/>
                        <a:pt x="3103" y="122"/>
                        <a:pt x="3103" y="122"/>
                      </a:cubicBezTo>
                      <a:cubicBezTo>
                        <a:pt x="2936" y="0"/>
                        <a:pt x="2744" y="90"/>
                        <a:pt x="2744" y="90"/>
                      </a:cubicBezTo>
                      <a:cubicBezTo>
                        <a:pt x="2397" y="26"/>
                        <a:pt x="2390" y="161"/>
                        <a:pt x="2294" y="173"/>
                      </a:cubicBezTo>
                      <a:cubicBezTo>
                        <a:pt x="2198" y="186"/>
                        <a:pt x="2133" y="84"/>
                        <a:pt x="1986" y="122"/>
                      </a:cubicBezTo>
                      <a:cubicBezTo>
                        <a:pt x="1838" y="161"/>
                        <a:pt x="1671" y="276"/>
                        <a:pt x="1671" y="276"/>
                      </a:cubicBezTo>
                      <a:cubicBezTo>
                        <a:pt x="1337" y="270"/>
                        <a:pt x="1433" y="424"/>
                        <a:pt x="1317" y="424"/>
                      </a:cubicBezTo>
                      <a:cubicBezTo>
                        <a:pt x="1202" y="424"/>
                        <a:pt x="945" y="501"/>
                        <a:pt x="887" y="623"/>
                      </a:cubicBezTo>
                      <a:cubicBezTo>
                        <a:pt x="829" y="745"/>
                        <a:pt x="758" y="681"/>
                        <a:pt x="617" y="835"/>
                      </a:cubicBezTo>
                      <a:cubicBezTo>
                        <a:pt x="476" y="989"/>
                        <a:pt x="444" y="1099"/>
                        <a:pt x="444" y="1099"/>
                      </a:cubicBezTo>
                      <a:cubicBezTo>
                        <a:pt x="418" y="1195"/>
                        <a:pt x="347" y="1234"/>
                        <a:pt x="347" y="1234"/>
                      </a:cubicBezTo>
                      <a:cubicBezTo>
                        <a:pt x="142" y="1471"/>
                        <a:pt x="154" y="1722"/>
                        <a:pt x="154" y="1722"/>
                      </a:cubicBezTo>
                      <a:cubicBezTo>
                        <a:pt x="0" y="1883"/>
                        <a:pt x="77" y="2069"/>
                        <a:pt x="77" y="2069"/>
                      </a:cubicBezTo>
                      <a:cubicBezTo>
                        <a:pt x="174" y="2217"/>
                        <a:pt x="167" y="2371"/>
                        <a:pt x="167" y="2371"/>
                      </a:cubicBezTo>
                      <a:cubicBezTo>
                        <a:pt x="334" y="2872"/>
                        <a:pt x="874" y="2859"/>
                        <a:pt x="964" y="2891"/>
                      </a:cubicBezTo>
                      <a:cubicBezTo>
                        <a:pt x="1054" y="2923"/>
                        <a:pt x="1202" y="2923"/>
                        <a:pt x="1202" y="2923"/>
                      </a:cubicBezTo>
                      <a:cubicBezTo>
                        <a:pt x="1253" y="3039"/>
                        <a:pt x="1375" y="3148"/>
                        <a:pt x="1375" y="3148"/>
                      </a:cubicBezTo>
                      <a:cubicBezTo>
                        <a:pt x="1484" y="3148"/>
                        <a:pt x="1941" y="3328"/>
                        <a:pt x="2075" y="3328"/>
                      </a:cubicBezTo>
                      <a:cubicBezTo>
                        <a:pt x="2210" y="3328"/>
                        <a:pt x="2403" y="3251"/>
                        <a:pt x="2403" y="3251"/>
                      </a:cubicBezTo>
                      <a:cubicBezTo>
                        <a:pt x="2898" y="3277"/>
                        <a:pt x="3103" y="3058"/>
                        <a:pt x="3103" y="3058"/>
                      </a:cubicBezTo>
                      <a:cubicBezTo>
                        <a:pt x="3405" y="3097"/>
                        <a:pt x="3348" y="2981"/>
                        <a:pt x="3457" y="2981"/>
                      </a:cubicBezTo>
                      <a:cubicBezTo>
                        <a:pt x="3566" y="2981"/>
                        <a:pt x="3740" y="2936"/>
                        <a:pt x="3797" y="2859"/>
                      </a:cubicBezTo>
                      <a:cubicBezTo>
                        <a:pt x="3855" y="2782"/>
                        <a:pt x="3932" y="2776"/>
                        <a:pt x="4029" y="2711"/>
                      </a:cubicBezTo>
                      <a:cubicBezTo>
                        <a:pt x="4125" y="2647"/>
                        <a:pt x="4241" y="2564"/>
                        <a:pt x="4382" y="2628"/>
                      </a:cubicBezTo>
                      <a:cubicBezTo>
                        <a:pt x="4523" y="2692"/>
                        <a:pt x="4594" y="2634"/>
                        <a:pt x="4594" y="2634"/>
                      </a:cubicBezTo>
                      <a:cubicBezTo>
                        <a:pt x="4883" y="2307"/>
                        <a:pt x="4793" y="1966"/>
                        <a:pt x="4710" y="1581"/>
                      </a:cubicBezTo>
                      <a:cubicBezTo>
                        <a:pt x="4710" y="1581"/>
                        <a:pt x="4710" y="1581"/>
                        <a:pt x="4710" y="1581"/>
                      </a:cubicBezTo>
                      <a:close/>
                      <a:moveTo>
                        <a:pt x="3138" y="302"/>
                      </a:moveTo>
                      <a:cubicBezTo>
                        <a:pt x="3138" y="302"/>
                        <a:pt x="3078" y="225"/>
                        <a:pt x="3232" y="259"/>
                      </a:cubicBezTo>
                      <a:cubicBezTo>
                        <a:pt x="3386" y="293"/>
                        <a:pt x="3442" y="332"/>
                        <a:pt x="3540" y="400"/>
                      </a:cubicBezTo>
                      <a:cubicBezTo>
                        <a:pt x="3639" y="469"/>
                        <a:pt x="3695" y="448"/>
                        <a:pt x="3716" y="448"/>
                      </a:cubicBezTo>
                      <a:cubicBezTo>
                        <a:pt x="3737" y="448"/>
                        <a:pt x="3729" y="482"/>
                        <a:pt x="3677" y="486"/>
                      </a:cubicBezTo>
                      <a:cubicBezTo>
                        <a:pt x="3626" y="490"/>
                        <a:pt x="3562" y="508"/>
                        <a:pt x="3446" y="418"/>
                      </a:cubicBezTo>
                      <a:cubicBezTo>
                        <a:pt x="3331" y="328"/>
                        <a:pt x="3262" y="383"/>
                        <a:pt x="3241" y="435"/>
                      </a:cubicBezTo>
                      <a:cubicBezTo>
                        <a:pt x="3219" y="486"/>
                        <a:pt x="3245" y="585"/>
                        <a:pt x="3185" y="585"/>
                      </a:cubicBezTo>
                      <a:cubicBezTo>
                        <a:pt x="3125" y="585"/>
                        <a:pt x="3095" y="568"/>
                        <a:pt x="3146" y="495"/>
                      </a:cubicBezTo>
                      <a:cubicBezTo>
                        <a:pt x="3146" y="495"/>
                        <a:pt x="3176" y="392"/>
                        <a:pt x="3138" y="302"/>
                      </a:cubicBezTo>
                      <a:cubicBezTo>
                        <a:pt x="3138" y="302"/>
                        <a:pt x="3138" y="302"/>
                        <a:pt x="3138" y="302"/>
                      </a:cubicBezTo>
                      <a:close/>
                      <a:moveTo>
                        <a:pt x="3121" y="932"/>
                      </a:moveTo>
                      <a:cubicBezTo>
                        <a:pt x="3155" y="957"/>
                        <a:pt x="3078" y="1009"/>
                        <a:pt x="3078" y="1009"/>
                      </a:cubicBezTo>
                      <a:cubicBezTo>
                        <a:pt x="3022" y="1017"/>
                        <a:pt x="3001" y="1022"/>
                        <a:pt x="2919" y="1099"/>
                      </a:cubicBezTo>
                      <a:cubicBezTo>
                        <a:pt x="2838" y="1176"/>
                        <a:pt x="2748" y="1137"/>
                        <a:pt x="2709" y="1077"/>
                      </a:cubicBezTo>
                      <a:cubicBezTo>
                        <a:pt x="2671" y="1017"/>
                        <a:pt x="2645" y="1026"/>
                        <a:pt x="2645" y="1026"/>
                      </a:cubicBezTo>
                      <a:cubicBezTo>
                        <a:pt x="2602" y="1052"/>
                        <a:pt x="2675" y="1120"/>
                        <a:pt x="2675" y="1120"/>
                      </a:cubicBezTo>
                      <a:cubicBezTo>
                        <a:pt x="2705" y="1141"/>
                        <a:pt x="2752" y="1150"/>
                        <a:pt x="2752" y="1279"/>
                      </a:cubicBezTo>
                      <a:cubicBezTo>
                        <a:pt x="2752" y="1407"/>
                        <a:pt x="2555" y="1548"/>
                        <a:pt x="2530" y="1373"/>
                      </a:cubicBezTo>
                      <a:cubicBezTo>
                        <a:pt x="2504" y="1197"/>
                        <a:pt x="2431" y="1197"/>
                        <a:pt x="2414" y="1056"/>
                      </a:cubicBezTo>
                      <a:cubicBezTo>
                        <a:pt x="2397" y="914"/>
                        <a:pt x="2530" y="640"/>
                        <a:pt x="2709" y="580"/>
                      </a:cubicBezTo>
                      <a:cubicBezTo>
                        <a:pt x="2889" y="520"/>
                        <a:pt x="3146" y="606"/>
                        <a:pt x="3095" y="666"/>
                      </a:cubicBezTo>
                      <a:cubicBezTo>
                        <a:pt x="3044" y="726"/>
                        <a:pt x="3086" y="906"/>
                        <a:pt x="3121" y="932"/>
                      </a:cubicBezTo>
                      <a:cubicBezTo>
                        <a:pt x="3121" y="932"/>
                        <a:pt x="3121" y="932"/>
                        <a:pt x="3121" y="932"/>
                      </a:cubicBezTo>
                      <a:close/>
                      <a:moveTo>
                        <a:pt x="2285" y="353"/>
                      </a:moveTo>
                      <a:cubicBezTo>
                        <a:pt x="2362" y="306"/>
                        <a:pt x="2410" y="139"/>
                        <a:pt x="2688" y="195"/>
                      </a:cubicBezTo>
                      <a:cubicBezTo>
                        <a:pt x="2688" y="195"/>
                        <a:pt x="2799" y="221"/>
                        <a:pt x="2769" y="323"/>
                      </a:cubicBezTo>
                      <a:cubicBezTo>
                        <a:pt x="2769" y="323"/>
                        <a:pt x="2718" y="409"/>
                        <a:pt x="2791" y="409"/>
                      </a:cubicBezTo>
                      <a:cubicBezTo>
                        <a:pt x="2864" y="409"/>
                        <a:pt x="2924" y="315"/>
                        <a:pt x="2859" y="233"/>
                      </a:cubicBezTo>
                      <a:cubicBezTo>
                        <a:pt x="2859" y="233"/>
                        <a:pt x="2812" y="169"/>
                        <a:pt x="2911" y="173"/>
                      </a:cubicBezTo>
                      <a:cubicBezTo>
                        <a:pt x="3009" y="178"/>
                        <a:pt x="3086" y="272"/>
                        <a:pt x="3086" y="409"/>
                      </a:cubicBezTo>
                      <a:cubicBezTo>
                        <a:pt x="3086" y="409"/>
                        <a:pt x="3121" y="533"/>
                        <a:pt x="2975" y="473"/>
                      </a:cubicBezTo>
                      <a:cubicBezTo>
                        <a:pt x="2975" y="473"/>
                        <a:pt x="2817" y="422"/>
                        <a:pt x="2722" y="482"/>
                      </a:cubicBezTo>
                      <a:cubicBezTo>
                        <a:pt x="2628" y="542"/>
                        <a:pt x="2560" y="542"/>
                        <a:pt x="2478" y="520"/>
                      </a:cubicBezTo>
                      <a:cubicBezTo>
                        <a:pt x="2478" y="520"/>
                        <a:pt x="2440" y="559"/>
                        <a:pt x="2500" y="572"/>
                      </a:cubicBezTo>
                      <a:cubicBezTo>
                        <a:pt x="2500" y="572"/>
                        <a:pt x="2598" y="615"/>
                        <a:pt x="2542" y="628"/>
                      </a:cubicBezTo>
                      <a:cubicBezTo>
                        <a:pt x="2487" y="640"/>
                        <a:pt x="2410" y="657"/>
                        <a:pt x="2435" y="803"/>
                      </a:cubicBezTo>
                      <a:cubicBezTo>
                        <a:pt x="2435" y="803"/>
                        <a:pt x="2384" y="855"/>
                        <a:pt x="2341" y="752"/>
                      </a:cubicBezTo>
                      <a:cubicBezTo>
                        <a:pt x="2341" y="752"/>
                        <a:pt x="2337" y="692"/>
                        <a:pt x="2311" y="670"/>
                      </a:cubicBezTo>
                      <a:cubicBezTo>
                        <a:pt x="2285" y="649"/>
                        <a:pt x="2251" y="696"/>
                        <a:pt x="2285" y="773"/>
                      </a:cubicBezTo>
                      <a:cubicBezTo>
                        <a:pt x="2320" y="850"/>
                        <a:pt x="2350" y="859"/>
                        <a:pt x="2345" y="944"/>
                      </a:cubicBezTo>
                      <a:cubicBezTo>
                        <a:pt x="2341" y="1030"/>
                        <a:pt x="2358" y="1150"/>
                        <a:pt x="2414" y="1240"/>
                      </a:cubicBezTo>
                      <a:cubicBezTo>
                        <a:pt x="2470" y="1330"/>
                        <a:pt x="2444" y="1386"/>
                        <a:pt x="2465" y="1420"/>
                      </a:cubicBezTo>
                      <a:cubicBezTo>
                        <a:pt x="2487" y="1454"/>
                        <a:pt x="2615" y="1536"/>
                        <a:pt x="2589" y="1638"/>
                      </a:cubicBezTo>
                      <a:cubicBezTo>
                        <a:pt x="2564" y="1741"/>
                        <a:pt x="2517" y="1840"/>
                        <a:pt x="2384" y="1840"/>
                      </a:cubicBezTo>
                      <a:cubicBezTo>
                        <a:pt x="2251" y="1840"/>
                        <a:pt x="2208" y="1908"/>
                        <a:pt x="2123" y="1930"/>
                      </a:cubicBezTo>
                      <a:cubicBezTo>
                        <a:pt x="2037" y="1951"/>
                        <a:pt x="1823" y="1895"/>
                        <a:pt x="1827" y="1523"/>
                      </a:cubicBezTo>
                      <a:cubicBezTo>
                        <a:pt x="1827" y="1523"/>
                        <a:pt x="1836" y="1381"/>
                        <a:pt x="1724" y="1163"/>
                      </a:cubicBezTo>
                      <a:cubicBezTo>
                        <a:pt x="1724" y="1163"/>
                        <a:pt x="1707" y="1022"/>
                        <a:pt x="1759" y="992"/>
                      </a:cubicBezTo>
                      <a:cubicBezTo>
                        <a:pt x="1759" y="992"/>
                        <a:pt x="1784" y="850"/>
                        <a:pt x="1703" y="837"/>
                      </a:cubicBezTo>
                      <a:cubicBezTo>
                        <a:pt x="1703" y="837"/>
                        <a:pt x="1673" y="872"/>
                        <a:pt x="1694" y="902"/>
                      </a:cubicBezTo>
                      <a:cubicBezTo>
                        <a:pt x="1716" y="932"/>
                        <a:pt x="1707" y="970"/>
                        <a:pt x="1677" y="996"/>
                      </a:cubicBezTo>
                      <a:cubicBezTo>
                        <a:pt x="1647" y="1022"/>
                        <a:pt x="1669" y="1094"/>
                        <a:pt x="1651" y="1094"/>
                      </a:cubicBezTo>
                      <a:cubicBezTo>
                        <a:pt x="1651" y="1094"/>
                        <a:pt x="1579" y="1107"/>
                        <a:pt x="1626" y="936"/>
                      </a:cubicBezTo>
                      <a:cubicBezTo>
                        <a:pt x="1626" y="936"/>
                        <a:pt x="1600" y="773"/>
                        <a:pt x="1681" y="739"/>
                      </a:cubicBezTo>
                      <a:cubicBezTo>
                        <a:pt x="1763" y="705"/>
                        <a:pt x="1848" y="653"/>
                        <a:pt x="1938" y="465"/>
                      </a:cubicBezTo>
                      <a:cubicBezTo>
                        <a:pt x="1938" y="465"/>
                        <a:pt x="2097" y="319"/>
                        <a:pt x="2161" y="448"/>
                      </a:cubicBezTo>
                      <a:cubicBezTo>
                        <a:pt x="2161" y="448"/>
                        <a:pt x="2195" y="520"/>
                        <a:pt x="2123" y="628"/>
                      </a:cubicBezTo>
                      <a:cubicBezTo>
                        <a:pt x="2050" y="735"/>
                        <a:pt x="2058" y="756"/>
                        <a:pt x="2063" y="825"/>
                      </a:cubicBezTo>
                      <a:cubicBezTo>
                        <a:pt x="2063" y="825"/>
                        <a:pt x="1943" y="927"/>
                        <a:pt x="1938" y="983"/>
                      </a:cubicBezTo>
                      <a:cubicBezTo>
                        <a:pt x="1934" y="1039"/>
                        <a:pt x="1934" y="1159"/>
                        <a:pt x="1994" y="1214"/>
                      </a:cubicBezTo>
                      <a:cubicBezTo>
                        <a:pt x="1994" y="1214"/>
                        <a:pt x="2003" y="1429"/>
                        <a:pt x="2054" y="1527"/>
                      </a:cubicBezTo>
                      <a:cubicBezTo>
                        <a:pt x="2105" y="1626"/>
                        <a:pt x="2123" y="1677"/>
                        <a:pt x="2208" y="1673"/>
                      </a:cubicBezTo>
                      <a:cubicBezTo>
                        <a:pt x="2208" y="1673"/>
                        <a:pt x="2238" y="1656"/>
                        <a:pt x="2140" y="1583"/>
                      </a:cubicBezTo>
                      <a:cubicBezTo>
                        <a:pt x="2140" y="1583"/>
                        <a:pt x="2080" y="1553"/>
                        <a:pt x="2058" y="1214"/>
                      </a:cubicBezTo>
                      <a:cubicBezTo>
                        <a:pt x="2058" y="1214"/>
                        <a:pt x="1934" y="1052"/>
                        <a:pt x="2088" y="919"/>
                      </a:cubicBezTo>
                      <a:cubicBezTo>
                        <a:pt x="2088" y="919"/>
                        <a:pt x="2170" y="837"/>
                        <a:pt x="2161" y="752"/>
                      </a:cubicBezTo>
                      <a:cubicBezTo>
                        <a:pt x="2161" y="752"/>
                        <a:pt x="2174" y="653"/>
                        <a:pt x="2238" y="619"/>
                      </a:cubicBezTo>
                      <a:cubicBezTo>
                        <a:pt x="2238" y="619"/>
                        <a:pt x="2208" y="400"/>
                        <a:pt x="2285" y="353"/>
                      </a:cubicBezTo>
                      <a:cubicBezTo>
                        <a:pt x="2285" y="353"/>
                        <a:pt x="2285" y="353"/>
                        <a:pt x="2285" y="353"/>
                      </a:cubicBezTo>
                      <a:close/>
                      <a:moveTo>
                        <a:pt x="662" y="1638"/>
                      </a:moveTo>
                      <a:cubicBezTo>
                        <a:pt x="662" y="1638"/>
                        <a:pt x="546" y="1810"/>
                        <a:pt x="529" y="1656"/>
                      </a:cubicBezTo>
                      <a:cubicBezTo>
                        <a:pt x="529" y="1656"/>
                        <a:pt x="658" y="1467"/>
                        <a:pt x="752" y="1467"/>
                      </a:cubicBezTo>
                      <a:cubicBezTo>
                        <a:pt x="846" y="1467"/>
                        <a:pt x="949" y="1638"/>
                        <a:pt x="898" y="1818"/>
                      </a:cubicBezTo>
                      <a:cubicBezTo>
                        <a:pt x="898" y="1818"/>
                        <a:pt x="859" y="1938"/>
                        <a:pt x="949" y="1810"/>
                      </a:cubicBezTo>
                      <a:cubicBezTo>
                        <a:pt x="949" y="1810"/>
                        <a:pt x="996" y="1703"/>
                        <a:pt x="975" y="1647"/>
                      </a:cubicBezTo>
                      <a:cubicBezTo>
                        <a:pt x="975" y="1647"/>
                        <a:pt x="1022" y="1625"/>
                        <a:pt x="1112" y="1775"/>
                      </a:cubicBezTo>
                      <a:cubicBezTo>
                        <a:pt x="1202" y="1925"/>
                        <a:pt x="1283" y="1951"/>
                        <a:pt x="1373" y="1964"/>
                      </a:cubicBezTo>
                      <a:cubicBezTo>
                        <a:pt x="1463" y="1977"/>
                        <a:pt x="1527" y="2092"/>
                        <a:pt x="1527" y="2135"/>
                      </a:cubicBezTo>
                      <a:cubicBezTo>
                        <a:pt x="1527" y="2178"/>
                        <a:pt x="1424" y="2144"/>
                        <a:pt x="1330" y="2105"/>
                      </a:cubicBezTo>
                      <a:cubicBezTo>
                        <a:pt x="1236" y="2067"/>
                        <a:pt x="1167" y="1964"/>
                        <a:pt x="945" y="2015"/>
                      </a:cubicBezTo>
                      <a:cubicBezTo>
                        <a:pt x="722" y="2067"/>
                        <a:pt x="585" y="1784"/>
                        <a:pt x="739" y="1660"/>
                      </a:cubicBezTo>
                      <a:cubicBezTo>
                        <a:pt x="739" y="1660"/>
                        <a:pt x="735" y="1578"/>
                        <a:pt x="662" y="1638"/>
                      </a:cubicBezTo>
                      <a:cubicBezTo>
                        <a:pt x="662" y="1638"/>
                        <a:pt x="662" y="1638"/>
                        <a:pt x="662" y="1638"/>
                      </a:cubicBezTo>
                      <a:close/>
                      <a:moveTo>
                        <a:pt x="1334" y="1870"/>
                      </a:moveTo>
                      <a:cubicBezTo>
                        <a:pt x="1163" y="1775"/>
                        <a:pt x="1060" y="1638"/>
                        <a:pt x="1176" y="1630"/>
                      </a:cubicBezTo>
                      <a:cubicBezTo>
                        <a:pt x="1292" y="1621"/>
                        <a:pt x="1227" y="1690"/>
                        <a:pt x="1309" y="1694"/>
                      </a:cubicBezTo>
                      <a:cubicBezTo>
                        <a:pt x="1390" y="1698"/>
                        <a:pt x="1262" y="1613"/>
                        <a:pt x="1236" y="1540"/>
                      </a:cubicBezTo>
                      <a:cubicBezTo>
                        <a:pt x="1210" y="1467"/>
                        <a:pt x="1210" y="1304"/>
                        <a:pt x="1210" y="1279"/>
                      </a:cubicBezTo>
                      <a:cubicBezTo>
                        <a:pt x="1210" y="1253"/>
                        <a:pt x="1159" y="1231"/>
                        <a:pt x="1163" y="1343"/>
                      </a:cubicBezTo>
                      <a:cubicBezTo>
                        <a:pt x="1167" y="1454"/>
                        <a:pt x="1172" y="1651"/>
                        <a:pt x="988" y="1574"/>
                      </a:cubicBezTo>
                      <a:cubicBezTo>
                        <a:pt x="988" y="1574"/>
                        <a:pt x="872" y="1540"/>
                        <a:pt x="910" y="1347"/>
                      </a:cubicBezTo>
                      <a:cubicBezTo>
                        <a:pt x="910" y="1347"/>
                        <a:pt x="898" y="1296"/>
                        <a:pt x="863" y="1343"/>
                      </a:cubicBezTo>
                      <a:cubicBezTo>
                        <a:pt x="863" y="1343"/>
                        <a:pt x="868" y="1399"/>
                        <a:pt x="773" y="1364"/>
                      </a:cubicBezTo>
                      <a:cubicBezTo>
                        <a:pt x="773" y="1364"/>
                        <a:pt x="628" y="1373"/>
                        <a:pt x="593" y="1480"/>
                      </a:cubicBezTo>
                      <a:cubicBezTo>
                        <a:pt x="593" y="1480"/>
                        <a:pt x="525" y="1557"/>
                        <a:pt x="555" y="1463"/>
                      </a:cubicBezTo>
                      <a:cubicBezTo>
                        <a:pt x="555" y="1463"/>
                        <a:pt x="611" y="1291"/>
                        <a:pt x="683" y="1231"/>
                      </a:cubicBezTo>
                      <a:cubicBezTo>
                        <a:pt x="756" y="1171"/>
                        <a:pt x="846" y="1090"/>
                        <a:pt x="902" y="1004"/>
                      </a:cubicBezTo>
                      <a:cubicBezTo>
                        <a:pt x="902" y="1004"/>
                        <a:pt x="945" y="962"/>
                        <a:pt x="1000" y="1026"/>
                      </a:cubicBezTo>
                      <a:cubicBezTo>
                        <a:pt x="1056" y="1090"/>
                        <a:pt x="1107" y="1103"/>
                        <a:pt x="1069" y="1253"/>
                      </a:cubicBezTo>
                      <a:cubicBezTo>
                        <a:pt x="1030" y="1403"/>
                        <a:pt x="1030" y="1458"/>
                        <a:pt x="1073" y="1399"/>
                      </a:cubicBezTo>
                      <a:cubicBezTo>
                        <a:pt x="1116" y="1339"/>
                        <a:pt x="1142" y="1120"/>
                        <a:pt x="1270" y="1112"/>
                      </a:cubicBezTo>
                      <a:cubicBezTo>
                        <a:pt x="1399" y="1103"/>
                        <a:pt x="1416" y="1137"/>
                        <a:pt x="1373" y="1249"/>
                      </a:cubicBezTo>
                      <a:cubicBezTo>
                        <a:pt x="1330" y="1360"/>
                        <a:pt x="1373" y="1390"/>
                        <a:pt x="1412" y="1296"/>
                      </a:cubicBezTo>
                      <a:cubicBezTo>
                        <a:pt x="1450" y="1201"/>
                        <a:pt x="1463" y="1064"/>
                        <a:pt x="1617" y="1150"/>
                      </a:cubicBezTo>
                      <a:cubicBezTo>
                        <a:pt x="1617" y="1150"/>
                        <a:pt x="1677" y="1236"/>
                        <a:pt x="1600" y="1313"/>
                      </a:cubicBezTo>
                      <a:cubicBezTo>
                        <a:pt x="1523" y="1390"/>
                        <a:pt x="1484" y="1600"/>
                        <a:pt x="1484" y="1703"/>
                      </a:cubicBezTo>
                      <a:cubicBezTo>
                        <a:pt x="1484" y="1805"/>
                        <a:pt x="1506" y="1964"/>
                        <a:pt x="1334" y="1870"/>
                      </a:cubicBezTo>
                      <a:cubicBezTo>
                        <a:pt x="1334" y="1870"/>
                        <a:pt x="1334" y="1870"/>
                        <a:pt x="1334" y="1870"/>
                      </a:cubicBezTo>
                      <a:close/>
                      <a:moveTo>
                        <a:pt x="1313" y="983"/>
                      </a:moveTo>
                      <a:cubicBezTo>
                        <a:pt x="1313" y="983"/>
                        <a:pt x="1339" y="1060"/>
                        <a:pt x="1236" y="1026"/>
                      </a:cubicBezTo>
                      <a:cubicBezTo>
                        <a:pt x="1236" y="1026"/>
                        <a:pt x="1202" y="1073"/>
                        <a:pt x="1167" y="1094"/>
                      </a:cubicBezTo>
                      <a:cubicBezTo>
                        <a:pt x="1167" y="1094"/>
                        <a:pt x="1090" y="996"/>
                        <a:pt x="1030" y="949"/>
                      </a:cubicBezTo>
                      <a:cubicBezTo>
                        <a:pt x="1030" y="949"/>
                        <a:pt x="953" y="936"/>
                        <a:pt x="970" y="902"/>
                      </a:cubicBezTo>
                      <a:cubicBezTo>
                        <a:pt x="970" y="902"/>
                        <a:pt x="1065" y="735"/>
                        <a:pt x="1197" y="735"/>
                      </a:cubicBezTo>
                      <a:cubicBezTo>
                        <a:pt x="1197" y="735"/>
                        <a:pt x="1236" y="726"/>
                        <a:pt x="1227" y="855"/>
                      </a:cubicBezTo>
                      <a:cubicBezTo>
                        <a:pt x="1219" y="983"/>
                        <a:pt x="1283" y="897"/>
                        <a:pt x="1313" y="983"/>
                      </a:cubicBezTo>
                      <a:cubicBezTo>
                        <a:pt x="1313" y="983"/>
                        <a:pt x="1313" y="983"/>
                        <a:pt x="1313" y="983"/>
                      </a:cubicBezTo>
                      <a:close/>
                      <a:moveTo>
                        <a:pt x="1647" y="1381"/>
                      </a:moveTo>
                      <a:cubicBezTo>
                        <a:pt x="1703" y="1313"/>
                        <a:pt x="1746" y="1360"/>
                        <a:pt x="1737" y="1428"/>
                      </a:cubicBezTo>
                      <a:cubicBezTo>
                        <a:pt x="1729" y="1497"/>
                        <a:pt x="1750" y="1617"/>
                        <a:pt x="1806" y="1780"/>
                      </a:cubicBezTo>
                      <a:cubicBezTo>
                        <a:pt x="1861" y="1942"/>
                        <a:pt x="1788" y="1977"/>
                        <a:pt x="1788" y="1977"/>
                      </a:cubicBezTo>
                      <a:cubicBezTo>
                        <a:pt x="1750" y="2092"/>
                        <a:pt x="1836" y="2020"/>
                        <a:pt x="1836" y="2020"/>
                      </a:cubicBezTo>
                      <a:cubicBezTo>
                        <a:pt x="1848" y="1968"/>
                        <a:pt x="1908" y="1917"/>
                        <a:pt x="1908" y="1917"/>
                      </a:cubicBezTo>
                      <a:cubicBezTo>
                        <a:pt x="2020" y="1942"/>
                        <a:pt x="1917" y="2067"/>
                        <a:pt x="1917" y="2067"/>
                      </a:cubicBezTo>
                      <a:cubicBezTo>
                        <a:pt x="1720" y="2170"/>
                        <a:pt x="1587" y="2067"/>
                        <a:pt x="1587" y="2067"/>
                      </a:cubicBezTo>
                      <a:cubicBezTo>
                        <a:pt x="1442" y="1818"/>
                        <a:pt x="1647" y="1381"/>
                        <a:pt x="1647" y="1381"/>
                      </a:cubicBezTo>
                      <a:cubicBezTo>
                        <a:pt x="1647" y="1381"/>
                        <a:pt x="1647" y="1381"/>
                        <a:pt x="1647" y="1381"/>
                      </a:cubicBezTo>
                      <a:close/>
                      <a:moveTo>
                        <a:pt x="1690" y="353"/>
                      </a:moveTo>
                      <a:cubicBezTo>
                        <a:pt x="1759" y="362"/>
                        <a:pt x="1818" y="315"/>
                        <a:pt x="1818" y="315"/>
                      </a:cubicBezTo>
                      <a:cubicBezTo>
                        <a:pt x="1896" y="233"/>
                        <a:pt x="2075" y="208"/>
                        <a:pt x="2170" y="251"/>
                      </a:cubicBezTo>
                      <a:cubicBezTo>
                        <a:pt x="2264" y="293"/>
                        <a:pt x="2204" y="362"/>
                        <a:pt x="2204" y="362"/>
                      </a:cubicBezTo>
                      <a:cubicBezTo>
                        <a:pt x="1998" y="289"/>
                        <a:pt x="1913" y="375"/>
                        <a:pt x="1870" y="418"/>
                      </a:cubicBezTo>
                      <a:cubicBezTo>
                        <a:pt x="1827" y="460"/>
                        <a:pt x="1857" y="572"/>
                        <a:pt x="1690" y="628"/>
                      </a:cubicBezTo>
                      <a:cubicBezTo>
                        <a:pt x="1523" y="683"/>
                        <a:pt x="1540" y="799"/>
                        <a:pt x="1557" y="876"/>
                      </a:cubicBezTo>
                      <a:cubicBezTo>
                        <a:pt x="1574" y="953"/>
                        <a:pt x="1506" y="1180"/>
                        <a:pt x="1403" y="996"/>
                      </a:cubicBezTo>
                      <a:cubicBezTo>
                        <a:pt x="1300" y="812"/>
                        <a:pt x="1296" y="910"/>
                        <a:pt x="1300" y="769"/>
                      </a:cubicBezTo>
                      <a:cubicBezTo>
                        <a:pt x="1304" y="628"/>
                        <a:pt x="1476" y="670"/>
                        <a:pt x="1476" y="670"/>
                      </a:cubicBezTo>
                      <a:cubicBezTo>
                        <a:pt x="1613" y="662"/>
                        <a:pt x="1613" y="563"/>
                        <a:pt x="1617" y="482"/>
                      </a:cubicBezTo>
                      <a:cubicBezTo>
                        <a:pt x="1621" y="400"/>
                        <a:pt x="1690" y="353"/>
                        <a:pt x="1690" y="353"/>
                      </a:cubicBezTo>
                      <a:cubicBezTo>
                        <a:pt x="1690" y="353"/>
                        <a:pt x="1690" y="353"/>
                        <a:pt x="1690" y="353"/>
                      </a:cubicBezTo>
                      <a:close/>
                      <a:moveTo>
                        <a:pt x="773" y="837"/>
                      </a:moveTo>
                      <a:cubicBezTo>
                        <a:pt x="778" y="825"/>
                        <a:pt x="760" y="807"/>
                        <a:pt x="846" y="795"/>
                      </a:cubicBezTo>
                      <a:cubicBezTo>
                        <a:pt x="932" y="782"/>
                        <a:pt x="953" y="709"/>
                        <a:pt x="953" y="709"/>
                      </a:cubicBezTo>
                      <a:cubicBezTo>
                        <a:pt x="1099" y="490"/>
                        <a:pt x="1386" y="508"/>
                        <a:pt x="1386" y="508"/>
                      </a:cubicBezTo>
                      <a:cubicBezTo>
                        <a:pt x="1412" y="465"/>
                        <a:pt x="1484" y="400"/>
                        <a:pt x="1484" y="400"/>
                      </a:cubicBezTo>
                      <a:cubicBezTo>
                        <a:pt x="1566" y="345"/>
                        <a:pt x="1579" y="383"/>
                        <a:pt x="1579" y="383"/>
                      </a:cubicBezTo>
                      <a:cubicBezTo>
                        <a:pt x="1549" y="392"/>
                        <a:pt x="1544" y="452"/>
                        <a:pt x="1544" y="452"/>
                      </a:cubicBezTo>
                      <a:cubicBezTo>
                        <a:pt x="1561" y="593"/>
                        <a:pt x="1459" y="589"/>
                        <a:pt x="1459" y="589"/>
                      </a:cubicBezTo>
                      <a:cubicBezTo>
                        <a:pt x="1339" y="585"/>
                        <a:pt x="1227" y="649"/>
                        <a:pt x="1227" y="649"/>
                      </a:cubicBezTo>
                      <a:cubicBezTo>
                        <a:pt x="855" y="765"/>
                        <a:pt x="962" y="889"/>
                        <a:pt x="863" y="932"/>
                      </a:cubicBezTo>
                      <a:cubicBezTo>
                        <a:pt x="765" y="974"/>
                        <a:pt x="773" y="837"/>
                        <a:pt x="773" y="837"/>
                      </a:cubicBezTo>
                      <a:cubicBezTo>
                        <a:pt x="773" y="837"/>
                        <a:pt x="773" y="837"/>
                        <a:pt x="773" y="837"/>
                      </a:cubicBezTo>
                      <a:close/>
                      <a:moveTo>
                        <a:pt x="478" y="1287"/>
                      </a:moveTo>
                      <a:cubicBezTo>
                        <a:pt x="478" y="1287"/>
                        <a:pt x="563" y="1223"/>
                        <a:pt x="563" y="1082"/>
                      </a:cubicBezTo>
                      <a:cubicBezTo>
                        <a:pt x="563" y="1082"/>
                        <a:pt x="623" y="949"/>
                        <a:pt x="692" y="914"/>
                      </a:cubicBezTo>
                      <a:cubicBezTo>
                        <a:pt x="692" y="914"/>
                        <a:pt x="692" y="1022"/>
                        <a:pt x="790" y="1000"/>
                      </a:cubicBezTo>
                      <a:cubicBezTo>
                        <a:pt x="790" y="1000"/>
                        <a:pt x="799" y="1047"/>
                        <a:pt x="722" y="1094"/>
                      </a:cubicBezTo>
                      <a:cubicBezTo>
                        <a:pt x="645" y="1142"/>
                        <a:pt x="568" y="1210"/>
                        <a:pt x="546" y="1287"/>
                      </a:cubicBezTo>
                      <a:cubicBezTo>
                        <a:pt x="546" y="1287"/>
                        <a:pt x="491" y="1334"/>
                        <a:pt x="465" y="1450"/>
                      </a:cubicBezTo>
                      <a:cubicBezTo>
                        <a:pt x="465" y="1450"/>
                        <a:pt x="414" y="1527"/>
                        <a:pt x="276" y="1566"/>
                      </a:cubicBezTo>
                      <a:cubicBezTo>
                        <a:pt x="276" y="1566"/>
                        <a:pt x="328" y="1390"/>
                        <a:pt x="478" y="1287"/>
                      </a:cubicBezTo>
                      <a:cubicBezTo>
                        <a:pt x="478" y="1287"/>
                        <a:pt x="478" y="1287"/>
                        <a:pt x="478" y="1287"/>
                      </a:cubicBezTo>
                      <a:close/>
                      <a:moveTo>
                        <a:pt x="422" y="1583"/>
                      </a:moveTo>
                      <a:cubicBezTo>
                        <a:pt x="521" y="1557"/>
                        <a:pt x="482" y="1608"/>
                        <a:pt x="482" y="1608"/>
                      </a:cubicBezTo>
                      <a:cubicBezTo>
                        <a:pt x="444" y="1621"/>
                        <a:pt x="396" y="1707"/>
                        <a:pt x="396" y="1707"/>
                      </a:cubicBezTo>
                      <a:cubicBezTo>
                        <a:pt x="264" y="1784"/>
                        <a:pt x="332" y="1925"/>
                        <a:pt x="332" y="1925"/>
                      </a:cubicBezTo>
                      <a:cubicBezTo>
                        <a:pt x="328" y="2118"/>
                        <a:pt x="208" y="2028"/>
                        <a:pt x="208" y="2028"/>
                      </a:cubicBezTo>
                      <a:cubicBezTo>
                        <a:pt x="139" y="1703"/>
                        <a:pt x="422" y="1583"/>
                        <a:pt x="422" y="1583"/>
                      </a:cubicBezTo>
                      <a:cubicBezTo>
                        <a:pt x="422" y="1583"/>
                        <a:pt x="422" y="1583"/>
                        <a:pt x="422" y="1583"/>
                      </a:cubicBezTo>
                      <a:close/>
                      <a:moveTo>
                        <a:pt x="294" y="2272"/>
                      </a:moveTo>
                      <a:cubicBezTo>
                        <a:pt x="294" y="2272"/>
                        <a:pt x="285" y="2204"/>
                        <a:pt x="242" y="2174"/>
                      </a:cubicBezTo>
                      <a:cubicBezTo>
                        <a:pt x="242" y="2174"/>
                        <a:pt x="208" y="2105"/>
                        <a:pt x="319" y="2105"/>
                      </a:cubicBezTo>
                      <a:cubicBezTo>
                        <a:pt x="319" y="2105"/>
                        <a:pt x="444" y="2067"/>
                        <a:pt x="439" y="1985"/>
                      </a:cubicBezTo>
                      <a:cubicBezTo>
                        <a:pt x="439" y="1985"/>
                        <a:pt x="396" y="1917"/>
                        <a:pt x="405" y="1861"/>
                      </a:cubicBezTo>
                      <a:cubicBezTo>
                        <a:pt x="405" y="1861"/>
                        <a:pt x="396" y="1754"/>
                        <a:pt x="486" y="1741"/>
                      </a:cubicBezTo>
                      <a:cubicBezTo>
                        <a:pt x="576" y="1728"/>
                        <a:pt x="611" y="1827"/>
                        <a:pt x="606" y="1904"/>
                      </a:cubicBezTo>
                      <a:cubicBezTo>
                        <a:pt x="602" y="1981"/>
                        <a:pt x="718" y="2050"/>
                        <a:pt x="790" y="2050"/>
                      </a:cubicBezTo>
                      <a:cubicBezTo>
                        <a:pt x="863" y="2050"/>
                        <a:pt x="773" y="2127"/>
                        <a:pt x="683" y="2170"/>
                      </a:cubicBezTo>
                      <a:cubicBezTo>
                        <a:pt x="593" y="2212"/>
                        <a:pt x="572" y="2277"/>
                        <a:pt x="358" y="2221"/>
                      </a:cubicBezTo>
                      <a:cubicBezTo>
                        <a:pt x="358" y="2221"/>
                        <a:pt x="332" y="2367"/>
                        <a:pt x="675" y="2264"/>
                      </a:cubicBezTo>
                      <a:cubicBezTo>
                        <a:pt x="675" y="2264"/>
                        <a:pt x="760" y="2234"/>
                        <a:pt x="795" y="2187"/>
                      </a:cubicBezTo>
                      <a:cubicBezTo>
                        <a:pt x="795" y="2187"/>
                        <a:pt x="782" y="2337"/>
                        <a:pt x="833" y="2409"/>
                      </a:cubicBezTo>
                      <a:cubicBezTo>
                        <a:pt x="885" y="2482"/>
                        <a:pt x="739" y="2688"/>
                        <a:pt x="396" y="2516"/>
                      </a:cubicBezTo>
                      <a:cubicBezTo>
                        <a:pt x="396" y="2516"/>
                        <a:pt x="268" y="2448"/>
                        <a:pt x="294" y="2272"/>
                      </a:cubicBezTo>
                      <a:cubicBezTo>
                        <a:pt x="294" y="2272"/>
                        <a:pt x="294" y="2272"/>
                        <a:pt x="294" y="2272"/>
                      </a:cubicBezTo>
                      <a:close/>
                      <a:moveTo>
                        <a:pt x="940" y="2705"/>
                      </a:moveTo>
                      <a:cubicBezTo>
                        <a:pt x="936" y="2855"/>
                        <a:pt x="611" y="2748"/>
                        <a:pt x="503" y="2632"/>
                      </a:cubicBezTo>
                      <a:cubicBezTo>
                        <a:pt x="503" y="2632"/>
                        <a:pt x="645" y="2705"/>
                        <a:pt x="816" y="2624"/>
                      </a:cubicBezTo>
                      <a:cubicBezTo>
                        <a:pt x="816" y="2624"/>
                        <a:pt x="945" y="2555"/>
                        <a:pt x="940" y="2705"/>
                      </a:cubicBezTo>
                      <a:cubicBezTo>
                        <a:pt x="940" y="2705"/>
                        <a:pt x="940" y="2705"/>
                        <a:pt x="940" y="2705"/>
                      </a:cubicBezTo>
                      <a:close/>
                      <a:moveTo>
                        <a:pt x="1257" y="2722"/>
                      </a:moveTo>
                      <a:cubicBezTo>
                        <a:pt x="1240" y="2786"/>
                        <a:pt x="1210" y="2808"/>
                        <a:pt x="1120" y="2808"/>
                      </a:cubicBezTo>
                      <a:cubicBezTo>
                        <a:pt x="1030" y="2808"/>
                        <a:pt x="975" y="2799"/>
                        <a:pt x="1013" y="2679"/>
                      </a:cubicBezTo>
                      <a:cubicBezTo>
                        <a:pt x="1013" y="2679"/>
                        <a:pt x="1099" y="2701"/>
                        <a:pt x="1176" y="2671"/>
                      </a:cubicBezTo>
                      <a:cubicBezTo>
                        <a:pt x="1176" y="2671"/>
                        <a:pt x="1275" y="2658"/>
                        <a:pt x="1257" y="2722"/>
                      </a:cubicBezTo>
                      <a:cubicBezTo>
                        <a:pt x="1257" y="2722"/>
                        <a:pt x="1257" y="2722"/>
                        <a:pt x="1257" y="2722"/>
                      </a:cubicBezTo>
                      <a:close/>
                      <a:moveTo>
                        <a:pt x="932" y="2572"/>
                      </a:moveTo>
                      <a:cubicBezTo>
                        <a:pt x="876" y="2508"/>
                        <a:pt x="915" y="2371"/>
                        <a:pt x="915" y="2371"/>
                      </a:cubicBezTo>
                      <a:cubicBezTo>
                        <a:pt x="790" y="2178"/>
                        <a:pt x="928" y="2084"/>
                        <a:pt x="928" y="2084"/>
                      </a:cubicBezTo>
                      <a:cubicBezTo>
                        <a:pt x="1172" y="2041"/>
                        <a:pt x="1167" y="2152"/>
                        <a:pt x="1356" y="2191"/>
                      </a:cubicBezTo>
                      <a:cubicBezTo>
                        <a:pt x="1544" y="2229"/>
                        <a:pt x="1467" y="2268"/>
                        <a:pt x="1467" y="2268"/>
                      </a:cubicBezTo>
                      <a:cubicBezTo>
                        <a:pt x="1334" y="2337"/>
                        <a:pt x="1146" y="2319"/>
                        <a:pt x="1082" y="2302"/>
                      </a:cubicBezTo>
                      <a:cubicBezTo>
                        <a:pt x="1018" y="2285"/>
                        <a:pt x="945" y="2289"/>
                        <a:pt x="1022" y="2337"/>
                      </a:cubicBezTo>
                      <a:cubicBezTo>
                        <a:pt x="1099" y="2384"/>
                        <a:pt x="1283" y="2375"/>
                        <a:pt x="1283" y="2375"/>
                      </a:cubicBezTo>
                      <a:cubicBezTo>
                        <a:pt x="1373" y="2341"/>
                        <a:pt x="1364" y="2418"/>
                        <a:pt x="1364" y="2418"/>
                      </a:cubicBezTo>
                      <a:cubicBezTo>
                        <a:pt x="1309" y="2435"/>
                        <a:pt x="1309" y="2521"/>
                        <a:pt x="1309" y="2521"/>
                      </a:cubicBezTo>
                      <a:cubicBezTo>
                        <a:pt x="1240" y="2671"/>
                        <a:pt x="932" y="2572"/>
                        <a:pt x="932" y="2572"/>
                      </a:cubicBezTo>
                      <a:cubicBezTo>
                        <a:pt x="932" y="2572"/>
                        <a:pt x="932" y="2572"/>
                        <a:pt x="932" y="2572"/>
                      </a:cubicBezTo>
                      <a:close/>
                      <a:moveTo>
                        <a:pt x="3797" y="2670"/>
                      </a:moveTo>
                      <a:cubicBezTo>
                        <a:pt x="3727" y="2792"/>
                        <a:pt x="3621" y="2882"/>
                        <a:pt x="3521" y="2885"/>
                      </a:cubicBezTo>
                      <a:cubicBezTo>
                        <a:pt x="3422" y="2888"/>
                        <a:pt x="3556" y="2824"/>
                        <a:pt x="3454" y="2760"/>
                      </a:cubicBezTo>
                      <a:cubicBezTo>
                        <a:pt x="3454" y="2760"/>
                        <a:pt x="3409" y="2718"/>
                        <a:pt x="3409" y="2776"/>
                      </a:cubicBezTo>
                      <a:cubicBezTo>
                        <a:pt x="3409" y="2776"/>
                        <a:pt x="3463" y="2833"/>
                        <a:pt x="3402" y="2875"/>
                      </a:cubicBezTo>
                      <a:cubicBezTo>
                        <a:pt x="3341" y="2917"/>
                        <a:pt x="3303" y="2981"/>
                        <a:pt x="2978" y="2984"/>
                      </a:cubicBezTo>
                      <a:cubicBezTo>
                        <a:pt x="2978" y="2984"/>
                        <a:pt x="2840" y="2981"/>
                        <a:pt x="2622" y="2743"/>
                      </a:cubicBezTo>
                      <a:cubicBezTo>
                        <a:pt x="2622" y="2743"/>
                        <a:pt x="2564" y="2641"/>
                        <a:pt x="2528" y="2618"/>
                      </a:cubicBezTo>
                      <a:cubicBezTo>
                        <a:pt x="2528" y="2618"/>
                        <a:pt x="2496" y="2625"/>
                        <a:pt x="2516" y="2666"/>
                      </a:cubicBezTo>
                      <a:cubicBezTo>
                        <a:pt x="2516" y="2666"/>
                        <a:pt x="2545" y="2743"/>
                        <a:pt x="2496" y="2753"/>
                      </a:cubicBezTo>
                      <a:cubicBezTo>
                        <a:pt x="2448" y="2763"/>
                        <a:pt x="2220" y="2776"/>
                        <a:pt x="2159" y="2923"/>
                      </a:cubicBezTo>
                      <a:cubicBezTo>
                        <a:pt x="2159" y="2923"/>
                        <a:pt x="2140" y="2978"/>
                        <a:pt x="2243" y="2914"/>
                      </a:cubicBezTo>
                      <a:cubicBezTo>
                        <a:pt x="2345" y="2850"/>
                        <a:pt x="2365" y="2811"/>
                        <a:pt x="2490" y="2814"/>
                      </a:cubicBezTo>
                      <a:cubicBezTo>
                        <a:pt x="2615" y="2817"/>
                        <a:pt x="2622" y="2872"/>
                        <a:pt x="2715" y="2939"/>
                      </a:cubicBezTo>
                      <a:cubicBezTo>
                        <a:pt x="2808" y="3007"/>
                        <a:pt x="2930" y="3062"/>
                        <a:pt x="2750" y="3107"/>
                      </a:cubicBezTo>
                      <a:cubicBezTo>
                        <a:pt x="2570" y="3151"/>
                        <a:pt x="2458" y="3087"/>
                        <a:pt x="2278" y="3180"/>
                      </a:cubicBezTo>
                      <a:cubicBezTo>
                        <a:pt x="2098" y="3274"/>
                        <a:pt x="2040" y="3238"/>
                        <a:pt x="2021" y="3213"/>
                      </a:cubicBezTo>
                      <a:cubicBezTo>
                        <a:pt x="2002" y="3187"/>
                        <a:pt x="2014" y="3135"/>
                        <a:pt x="2101" y="3129"/>
                      </a:cubicBezTo>
                      <a:cubicBezTo>
                        <a:pt x="2188" y="3123"/>
                        <a:pt x="2352" y="3097"/>
                        <a:pt x="2355" y="3039"/>
                      </a:cubicBezTo>
                      <a:cubicBezTo>
                        <a:pt x="2358" y="2981"/>
                        <a:pt x="2339" y="2936"/>
                        <a:pt x="2320" y="2956"/>
                      </a:cubicBezTo>
                      <a:cubicBezTo>
                        <a:pt x="2300" y="2975"/>
                        <a:pt x="2320" y="3052"/>
                        <a:pt x="2252" y="3049"/>
                      </a:cubicBezTo>
                      <a:cubicBezTo>
                        <a:pt x="2185" y="3045"/>
                        <a:pt x="2024" y="3039"/>
                        <a:pt x="1947" y="3087"/>
                      </a:cubicBezTo>
                      <a:cubicBezTo>
                        <a:pt x="1870" y="3135"/>
                        <a:pt x="1764" y="3155"/>
                        <a:pt x="1639" y="3071"/>
                      </a:cubicBezTo>
                      <a:cubicBezTo>
                        <a:pt x="1513" y="2988"/>
                        <a:pt x="1417" y="3209"/>
                        <a:pt x="1321" y="2801"/>
                      </a:cubicBezTo>
                      <a:cubicBezTo>
                        <a:pt x="1321" y="2801"/>
                        <a:pt x="1321" y="2654"/>
                        <a:pt x="1398" y="2596"/>
                      </a:cubicBezTo>
                      <a:cubicBezTo>
                        <a:pt x="1398" y="2596"/>
                        <a:pt x="1412" y="2526"/>
                        <a:pt x="1390" y="2495"/>
                      </a:cubicBezTo>
                      <a:cubicBezTo>
                        <a:pt x="1390" y="2495"/>
                        <a:pt x="1420" y="2349"/>
                        <a:pt x="1570" y="2294"/>
                      </a:cubicBezTo>
                      <a:cubicBezTo>
                        <a:pt x="1570" y="2294"/>
                        <a:pt x="1626" y="2140"/>
                        <a:pt x="1878" y="2204"/>
                      </a:cubicBezTo>
                      <a:cubicBezTo>
                        <a:pt x="1878" y="2204"/>
                        <a:pt x="1994" y="2208"/>
                        <a:pt x="2016" y="2071"/>
                      </a:cubicBezTo>
                      <a:cubicBezTo>
                        <a:pt x="2016" y="2071"/>
                        <a:pt x="2063" y="1985"/>
                        <a:pt x="2230" y="1981"/>
                      </a:cubicBezTo>
                      <a:cubicBezTo>
                        <a:pt x="2230" y="1981"/>
                        <a:pt x="2290" y="1972"/>
                        <a:pt x="2341" y="1917"/>
                      </a:cubicBezTo>
                      <a:cubicBezTo>
                        <a:pt x="2341" y="1917"/>
                        <a:pt x="2427" y="1908"/>
                        <a:pt x="2478" y="1938"/>
                      </a:cubicBezTo>
                      <a:cubicBezTo>
                        <a:pt x="2530" y="1968"/>
                        <a:pt x="2542" y="1878"/>
                        <a:pt x="2568" y="1853"/>
                      </a:cubicBezTo>
                      <a:cubicBezTo>
                        <a:pt x="2568" y="1853"/>
                        <a:pt x="2612" y="1751"/>
                        <a:pt x="2731" y="1834"/>
                      </a:cubicBezTo>
                      <a:cubicBezTo>
                        <a:pt x="2850" y="1918"/>
                        <a:pt x="2859" y="2072"/>
                        <a:pt x="2927" y="2123"/>
                      </a:cubicBezTo>
                      <a:cubicBezTo>
                        <a:pt x="2994" y="2175"/>
                        <a:pt x="2975" y="2101"/>
                        <a:pt x="2949" y="2062"/>
                      </a:cubicBezTo>
                      <a:cubicBezTo>
                        <a:pt x="2924" y="2024"/>
                        <a:pt x="2856" y="1866"/>
                        <a:pt x="2843" y="1834"/>
                      </a:cubicBezTo>
                      <a:cubicBezTo>
                        <a:pt x="2830" y="1802"/>
                        <a:pt x="2830" y="1667"/>
                        <a:pt x="2953" y="1667"/>
                      </a:cubicBezTo>
                      <a:cubicBezTo>
                        <a:pt x="2953" y="1667"/>
                        <a:pt x="3017" y="1626"/>
                        <a:pt x="3142" y="1709"/>
                      </a:cubicBezTo>
                      <a:cubicBezTo>
                        <a:pt x="3267" y="1793"/>
                        <a:pt x="3396" y="1828"/>
                        <a:pt x="3454" y="1818"/>
                      </a:cubicBezTo>
                      <a:cubicBezTo>
                        <a:pt x="3454" y="1818"/>
                        <a:pt x="3511" y="1793"/>
                        <a:pt x="3422" y="1780"/>
                      </a:cubicBezTo>
                      <a:cubicBezTo>
                        <a:pt x="3332" y="1767"/>
                        <a:pt x="3216" y="1667"/>
                        <a:pt x="3187" y="1648"/>
                      </a:cubicBezTo>
                      <a:cubicBezTo>
                        <a:pt x="3158" y="1629"/>
                        <a:pt x="3177" y="1552"/>
                        <a:pt x="3226" y="1532"/>
                      </a:cubicBezTo>
                      <a:cubicBezTo>
                        <a:pt x="3274" y="1513"/>
                        <a:pt x="3357" y="1288"/>
                        <a:pt x="3467" y="1272"/>
                      </a:cubicBezTo>
                      <a:cubicBezTo>
                        <a:pt x="3467" y="1272"/>
                        <a:pt x="3518" y="1266"/>
                        <a:pt x="3547" y="1246"/>
                      </a:cubicBezTo>
                      <a:cubicBezTo>
                        <a:pt x="3547" y="1246"/>
                        <a:pt x="3560" y="1211"/>
                        <a:pt x="3515" y="1218"/>
                      </a:cubicBezTo>
                      <a:cubicBezTo>
                        <a:pt x="3515" y="1218"/>
                        <a:pt x="3483" y="1131"/>
                        <a:pt x="3486" y="1050"/>
                      </a:cubicBezTo>
                      <a:cubicBezTo>
                        <a:pt x="3489" y="970"/>
                        <a:pt x="3389" y="768"/>
                        <a:pt x="3312" y="768"/>
                      </a:cubicBezTo>
                      <a:cubicBezTo>
                        <a:pt x="3312" y="768"/>
                        <a:pt x="3287" y="784"/>
                        <a:pt x="3319" y="826"/>
                      </a:cubicBezTo>
                      <a:cubicBezTo>
                        <a:pt x="3351" y="867"/>
                        <a:pt x="3447" y="1012"/>
                        <a:pt x="3409" y="1195"/>
                      </a:cubicBezTo>
                      <a:cubicBezTo>
                        <a:pt x="3409" y="1195"/>
                        <a:pt x="3402" y="1237"/>
                        <a:pt x="3348" y="1253"/>
                      </a:cubicBezTo>
                      <a:cubicBezTo>
                        <a:pt x="3348" y="1253"/>
                        <a:pt x="3303" y="1423"/>
                        <a:pt x="3168" y="1449"/>
                      </a:cubicBezTo>
                      <a:cubicBezTo>
                        <a:pt x="3033" y="1475"/>
                        <a:pt x="3123" y="1581"/>
                        <a:pt x="3033" y="1597"/>
                      </a:cubicBezTo>
                      <a:cubicBezTo>
                        <a:pt x="2943" y="1613"/>
                        <a:pt x="2901" y="1545"/>
                        <a:pt x="2811" y="1658"/>
                      </a:cubicBezTo>
                      <a:cubicBezTo>
                        <a:pt x="2811" y="1658"/>
                        <a:pt x="2750" y="1799"/>
                        <a:pt x="2689" y="1712"/>
                      </a:cubicBezTo>
                      <a:cubicBezTo>
                        <a:pt x="2628" y="1626"/>
                        <a:pt x="2740" y="1462"/>
                        <a:pt x="2776" y="1401"/>
                      </a:cubicBezTo>
                      <a:cubicBezTo>
                        <a:pt x="2811" y="1340"/>
                        <a:pt x="2859" y="1195"/>
                        <a:pt x="3023" y="1166"/>
                      </a:cubicBezTo>
                      <a:cubicBezTo>
                        <a:pt x="3023" y="1166"/>
                        <a:pt x="3068" y="1185"/>
                        <a:pt x="3097" y="1086"/>
                      </a:cubicBezTo>
                      <a:cubicBezTo>
                        <a:pt x="3126" y="986"/>
                        <a:pt x="3264" y="1018"/>
                        <a:pt x="3280" y="1057"/>
                      </a:cubicBezTo>
                      <a:cubicBezTo>
                        <a:pt x="3296" y="1095"/>
                        <a:pt x="3328" y="1166"/>
                        <a:pt x="3338" y="1086"/>
                      </a:cubicBezTo>
                      <a:cubicBezTo>
                        <a:pt x="3338" y="1086"/>
                        <a:pt x="3332" y="977"/>
                        <a:pt x="3248" y="957"/>
                      </a:cubicBezTo>
                      <a:cubicBezTo>
                        <a:pt x="3165" y="938"/>
                        <a:pt x="3136" y="810"/>
                        <a:pt x="3161" y="736"/>
                      </a:cubicBezTo>
                      <a:cubicBezTo>
                        <a:pt x="3187" y="662"/>
                        <a:pt x="3267" y="652"/>
                        <a:pt x="3428" y="700"/>
                      </a:cubicBezTo>
                      <a:cubicBezTo>
                        <a:pt x="3428" y="700"/>
                        <a:pt x="3508" y="774"/>
                        <a:pt x="3566" y="774"/>
                      </a:cubicBezTo>
                      <a:cubicBezTo>
                        <a:pt x="3624" y="774"/>
                        <a:pt x="3579" y="729"/>
                        <a:pt x="3550" y="716"/>
                      </a:cubicBezTo>
                      <a:cubicBezTo>
                        <a:pt x="3521" y="704"/>
                        <a:pt x="3456" y="630"/>
                        <a:pt x="3319" y="591"/>
                      </a:cubicBezTo>
                      <a:cubicBezTo>
                        <a:pt x="3251" y="572"/>
                        <a:pt x="3348" y="443"/>
                        <a:pt x="3450" y="517"/>
                      </a:cubicBezTo>
                      <a:cubicBezTo>
                        <a:pt x="3450" y="517"/>
                        <a:pt x="3598" y="594"/>
                        <a:pt x="3727" y="559"/>
                      </a:cubicBezTo>
                      <a:cubicBezTo>
                        <a:pt x="3727" y="559"/>
                        <a:pt x="3878" y="533"/>
                        <a:pt x="3919" y="649"/>
                      </a:cubicBezTo>
                      <a:cubicBezTo>
                        <a:pt x="3919" y="649"/>
                        <a:pt x="3910" y="662"/>
                        <a:pt x="3852" y="662"/>
                      </a:cubicBezTo>
                      <a:cubicBezTo>
                        <a:pt x="3794" y="662"/>
                        <a:pt x="3785" y="697"/>
                        <a:pt x="3752" y="694"/>
                      </a:cubicBezTo>
                      <a:cubicBezTo>
                        <a:pt x="3720" y="691"/>
                        <a:pt x="3743" y="659"/>
                        <a:pt x="3624" y="610"/>
                      </a:cubicBezTo>
                      <a:cubicBezTo>
                        <a:pt x="3505" y="562"/>
                        <a:pt x="3573" y="636"/>
                        <a:pt x="3605" y="662"/>
                      </a:cubicBezTo>
                      <a:cubicBezTo>
                        <a:pt x="3637" y="687"/>
                        <a:pt x="3746" y="726"/>
                        <a:pt x="3736" y="832"/>
                      </a:cubicBezTo>
                      <a:cubicBezTo>
                        <a:pt x="3727" y="938"/>
                        <a:pt x="3605" y="1022"/>
                        <a:pt x="3605" y="1224"/>
                      </a:cubicBezTo>
                      <a:cubicBezTo>
                        <a:pt x="3605" y="1426"/>
                        <a:pt x="3634" y="1590"/>
                        <a:pt x="3675" y="1590"/>
                      </a:cubicBezTo>
                      <a:cubicBezTo>
                        <a:pt x="3717" y="1590"/>
                        <a:pt x="3682" y="1558"/>
                        <a:pt x="3675" y="1468"/>
                      </a:cubicBezTo>
                      <a:cubicBezTo>
                        <a:pt x="3669" y="1378"/>
                        <a:pt x="3646" y="1144"/>
                        <a:pt x="3720" y="1118"/>
                      </a:cubicBezTo>
                      <a:cubicBezTo>
                        <a:pt x="3794" y="1092"/>
                        <a:pt x="3868" y="1089"/>
                        <a:pt x="3839" y="1044"/>
                      </a:cubicBezTo>
                      <a:cubicBezTo>
                        <a:pt x="3839" y="1044"/>
                        <a:pt x="3772" y="1031"/>
                        <a:pt x="3736" y="1044"/>
                      </a:cubicBezTo>
                      <a:cubicBezTo>
                        <a:pt x="3736" y="1044"/>
                        <a:pt x="3707" y="1034"/>
                        <a:pt x="3781" y="957"/>
                      </a:cubicBezTo>
                      <a:cubicBezTo>
                        <a:pt x="3855" y="880"/>
                        <a:pt x="3785" y="790"/>
                        <a:pt x="3871" y="745"/>
                      </a:cubicBezTo>
                      <a:cubicBezTo>
                        <a:pt x="3958" y="700"/>
                        <a:pt x="4051" y="755"/>
                        <a:pt x="4048" y="793"/>
                      </a:cubicBezTo>
                      <a:cubicBezTo>
                        <a:pt x="4045" y="832"/>
                        <a:pt x="3964" y="810"/>
                        <a:pt x="3945" y="896"/>
                      </a:cubicBezTo>
                      <a:cubicBezTo>
                        <a:pt x="3926" y="983"/>
                        <a:pt x="3862" y="1118"/>
                        <a:pt x="3981" y="1304"/>
                      </a:cubicBezTo>
                      <a:cubicBezTo>
                        <a:pt x="3981" y="1304"/>
                        <a:pt x="4003" y="1516"/>
                        <a:pt x="3987" y="1555"/>
                      </a:cubicBezTo>
                      <a:cubicBezTo>
                        <a:pt x="3987" y="1555"/>
                        <a:pt x="4022" y="1600"/>
                        <a:pt x="4054" y="1433"/>
                      </a:cubicBezTo>
                      <a:cubicBezTo>
                        <a:pt x="4087" y="1266"/>
                        <a:pt x="3997" y="1198"/>
                        <a:pt x="3977" y="1115"/>
                      </a:cubicBezTo>
                      <a:cubicBezTo>
                        <a:pt x="3958" y="1031"/>
                        <a:pt x="3997" y="890"/>
                        <a:pt x="4048" y="890"/>
                      </a:cubicBezTo>
                      <a:cubicBezTo>
                        <a:pt x="4099" y="890"/>
                        <a:pt x="4141" y="848"/>
                        <a:pt x="4254" y="1041"/>
                      </a:cubicBezTo>
                      <a:cubicBezTo>
                        <a:pt x="4366" y="1234"/>
                        <a:pt x="4385" y="1243"/>
                        <a:pt x="4382" y="1401"/>
                      </a:cubicBezTo>
                      <a:cubicBezTo>
                        <a:pt x="4379" y="1558"/>
                        <a:pt x="4392" y="1613"/>
                        <a:pt x="4437" y="1651"/>
                      </a:cubicBezTo>
                      <a:cubicBezTo>
                        <a:pt x="4459" y="1670"/>
                        <a:pt x="4414" y="1770"/>
                        <a:pt x="4366" y="1725"/>
                      </a:cubicBezTo>
                      <a:cubicBezTo>
                        <a:pt x="4366" y="1725"/>
                        <a:pt x="4225" y="1642"/>
                        <a:pt x="4157" y="1696"/>
                      </a:cubicBezTo>
                      <a:cubicBezTo>
                        <a:pt x="4157" y="1696"/>
                        <a:pt x="4122" y="1670"/>
                        <a:pt x="4167" y="1616"/>
                      </a:cubicBezTo>
                      <a:cubicBezTo>
                        <a:pt x="4167" y="1616"/>
                        <a:pt x="4209" y="1195"/>
                        <a:pt x="4109" y="1205"/>
                      </a:cubicBezTo>
                      <a:cubicBezTo>
                        <a:pt x="4009" y="1214"/>
                        <a:pt x="4164" y="1218"/>
                        <a:pt x="4112" y="1520"/>
                      </a:cubicBezTo>
                      <a:cubicBezTo>
                        <a:pt x="4061" y="1821"/>
                        <a:pt x="3894" y="1911"/>
                        <a:pt x="3823" y="1908"/>
                      </a:cubicBezTo>
                      <a:cubicBezTo>
                        <a:pt x="3752" y="1905"/>
                        <a:pt x="3740" y="1921"/>
                        <a:pt x="3801" y="1773"/>
                      </a:cubicBezTo>
                      <a:cubicBezTo>
                        <a:pt x="3862" y="1626"/>
                        <a:pt x="3925" y="1328"/>
                        <a:pt x="3849" y="1340"/>
                      </a:cubicBezTo>
                      <a:cubicBezTo>
                        <a:pt x="3807" y="1346"/>
                        <a:pt x="3817" y="1369"/>
                        <a:pt x="3817" y="1436"/>
                      </a:cubicBezTo>
                      <a:cubicBezTo>
                        <a:pt x="3817" y="1503"/>
                        <a:pt x="3801" y="1744"/>
                        <a:pt x="3688" y="1838"/>
                      </a:cubicBezTo>
                      <a:cubicBezTo>
                        <a:pt x="3576" y="1931"/>
                        <a:pt x="3611" y="1799"/>
                        <a:pt x="3569" y="1751"/>
                      </a:cubicBezTo>
                      <a:cubicBezTo>
                        <a:pt x="3528" y="1703"/>
                        <a:pt x="3473" y="1545"/>
                        <a:pt x="3280" y="1561"/>
                      </a:cubicBezTo>
                      <a:cubicBezTo>
                        <a:pt x="3280" y="1561"/>
                        <a:pt x="3261" y="1613"/>
                        <a:pt x="3322" y="1616"/>
                      </a:cubicBezTo>
                      <a:cubicBezTo>
                        <a:pt x="3383" y="1619"/>
                        <a:pt x="3528" y="1709"/>
                        <a:pt x="3524" y="1815"/>
                      </a:cubicBezTo>
                      <a:cubicBezTo>
                        <a:pt x="3521" y="1921"/>
                        <a:pt x="3515" y="1915"/>
                        <a:pt x="3434" y="1966"/>
                      </a:cubicBezTo>
                      <a:cubicBezTo>
                        <a:pt x="3354" y="2017"/>
                        <a:pt x="3267" y="2101"/>
                        <a:pt x="3235" y="2220"/>
                      </a:cubicBezTo>
                      <a:cubicBezTo>
                        <a:pt x="3203" y="2339"/>
                        <a:pt x="2997" y="2406"/>
                        <a:pt x="2808" y="2384"/>
                      </a:cubicBezTo>
                      <a:cubicBezTo>
                        <a:pt x="2618" y="2361"/>
                        <a:pt x="2708" y="2249"/>
                        <a:pt x="2702" y="2172"/>
                      </a:cubicBezTo>
                      <a:cubicBezTo>
                        <a:pt x="2696" y="2095"/>
                        <a:pt x="2686" y="1995"/>
                        <a:pt x="2628" y="2043"/>
                      </a:cubicBezTo>
                      <a:cubicBezTo>
                        <a:pt x="2628" y="2043"/>
                        <a:pt x="2631" y="2062"/>
                        <a:pt x="2644" y="2127"/>
                      </a:cubicBezTo>
                      <a:cubicBezTo>
                        <a:pt x="2657" y="2191"/>
                        <a:pt x="2599" y="2159"/>
                        <a:pt x="2596" y="2229"/>
                      </a:cubicBezTo>
                      <a:cubicBezTo>
                        <a:pt x="2593" y="2300"/>
                        <a:pt x="2570" y="2380"/>
                        <a:pt x="2455" y="2303"/>
                      </a:cubicBezTo>
                      <a:cubicBezTo>
                        <a:pt x="2339" y="2226"/>
                        <a:pt x="2416" y="2246"/>
                        <a:pt x="2426" y="2107"/>
                      </a:cubicBezTo>
                      <a:cubicBezTo>
                        <a:pt x="2435" y="1969"/>
                        <a:pt x="2310" y="1924"/>
                        <a:pt x="2336" y="1989"/>
                      </a:cubicBezTo>
                      <a:cubicBezTo>
                        <a:pt x="2361" y="2053"/>
                        <a:pt x="2381" y="2059"/>
                        <a:pt x="2349" y="2159"/>
                      </a:cubicBezTo>
                      <a:cubicBezTo>
                        <a:pt x="2316" y="2258"/>
                        <a:pt x="2381" y="2291"/>
                        <a:pt x="2313" y="2361"/>
                      </a:cubicBezTo>
                      <a:cubicBezTo>
                        <a:pt x="2246" y="2432"/>
                        <a:pt x="2111" y="2503"/>
                        <a:pt x="2005" y="2535"/>
                      </a:cubicBezTo>
                      <a:cubicBezTo>
                        <a:pt x="1899" y="2567"/>
                        <a:pt x="1915" y="2666"/>
                        <a:pt x="1812" y="2676"/>
                      </a:cubicBezTo>
                      <a:cubicBezTo>
                        <a:pt x="1709" y="2686"/>
                        <a:pt x="1761" y="2557"/>
                        <a:pt x="1671" y="2551"/>
                      </a:cubicBezTo>
                      <a:cubicBezTo>
                        <a:pt x="1671" y="2551"/>
                        <a:pt x="1616" y="2544"/>
                        <a:pt x="1648" y="2599"/>
                      </a:cubicBezTo>
                      <a:cubicBezTo>
                        <a:pt x="1680" y="2654"/>
                        <a:pt x="1770" y="2689"/>
                        <a:pt x="1716" y="2753"/>
                      </a:cubicBezTo>
                      <a:cubicBezTo>
                        <a:pt x="1716" y="2753"/>
                        <a:pt x="1648" y="2821"/>
                        <a:pt x="1513" y="2808"/>
                      </a:cubicBezTo>
                      <a:cubicBezTo>
                        <a:pt x="1513" y="2808"/>
                        <a:pt x="1472" y="2866"/>
                        <a:pt x="1603" y="2846"/>
                      </a:cubicBezTo>
                      <a:cubicBezTo>
                        <a:pt x="1735" y="2827"/>
                        <a:pt x="1806" y="2776"/>
                        <a:pt x="1921" y="2654"/>
                      </a:cubicBezTo>
                      <a:cubicBezTo>
                        <a:pt x="1921" y="2654"/>
                        <a:pt x="2024" y="2589"/>
                        <a:pt x="2169" y="2551"/>
                      </a:cubicBezTo>
                      <a:cubicBezTo>
                        <a:pt x="2313" y="2512"/>
                        <a:pt x="2336" y="2435"/>
                        <a:pt x="2448" y="2422"/>
                      </a:cubicBezTo>
                      <a:cubicBezTo>
                        <a:pt x="2561" y="2409"/>
                        <a:pt x="2634" y="2397"/>
                        <a:pt x="2766" y="2454"/>
                      </a:cubicBezTo>
                      <a:cubicBezTo>
                        <a:pt x="2766" y="2454"/>
                        <a:pt x="2869" y="2474"/>
                        <a:pt x="2975" y="2467"/>
                      </a:cubicBezTo>
                      <a:cubicBezTo>
                        <a:pt x="2975" y="2467"/>
                        <a:pt x="3014" y="2483"/>
                        <a:pt x="3014" y="2560"/>
                      </a:cubicBezTo>
                      <a:cubicBezTo>
                        <a:pt x="3014" y="2637"/>
                        <a:pt x="3152" y="2686"/>
                        <a:pt x="3190" y="2715"/>
                      </a:cubicBezTo>
                      <a:cubicBezTo>
                        <a:pt x="3229" y="2743"/>
                        <a:pt x="3187" y="2904"/>
                        <a:pt x="3216" y="2917"/>
                      </a:cubicBezTo>
                      <a:cubicBezTo>
                        <a:pt x="3245" y="2930"/>
                        <a:pt x="3271" y="2933"/>
                        <a:pt x="3271" y="2830"/>
                      </a:cubicBezTo>
                      <a:cubicBezTo>
                        <a:pt x="3271" y="2727"/>
                        <a:pt x="3306" y="2699"/>
                        <a:pt x="3402" y="2682"/>
                      </a:cubicBezTo>
                      <a:cubicBezTo>
                        <a:pt x="3499" y="2666"/>
                        <a:pt x="3666" y="2612"/>
                        <a:pt x="3762" y="2637"/>
                      </a:cubicBezTo>
                      <a:cubicBezTo>
                        <a:pt x="3762" y="2637"/>
                        <a:pt x="3823" y="2596"/>
                        <a:pt x="3714" y="2573"/>
                      </a:cubicBezTo>
                      <a:cubicBezTo>
                        <a:pt x="3605" y="2551"/>
                        <a:pt x="3495" y="2621"/>
                        <a:pt x="3402" y="2631"/>
                      </a:cubicBezTo>
                      <a:cubicBezTo>
                        <a:pt x="3309" y="2641"/>
                        <a:pt x="3129" y="2715"/>
                        <a:pt x="3100" y="2506"/>
                      </a:cubicBezTo>
                      <a:cubicBezTo>
                        <a:pt x="3071" y="2297"/>
                        <a:pt x="3389" y="2403"/>
                        <a:pt x="3492" y="2335"/>
                      </a:cubicBezTo>
                      <a:cubicBezTo>
                        <a:pt x="3492" y="2335"/>
                        <a:pt x="3534" y="2297"/>
                        <a:pt x="3463" y="2294"/>
                      </a:cubicBezTo>
                      <a:cubicBezTo>
                        <a:pt x="3393" y="2291"/>
                        <a:pt x="3299" y="2294"/>
                        <a:pt x="3277" y="2319"/>
                      </a:cubicBezTo>
                      <a:cubicBezTo>
                        <a:pt x="3277" y="2319"/>
                        <a:pt x="3277" y="2303"/>
                        <a:pt x="3328" y="2220"/>
                      </a:cubicBezTo>
                      <a:cubicBezTo>
                        <a:pt x="3380" y="2136"/>
                        <a:pt x="3319" y="2107"/>
                        <a:pt x="3412" y="2056"/>
                      </a:cubicBezTo>
                      <a:cubicBezTo>
                        <a:pt x="3505" y="2005"/>
                        <a:pt x="3595" y="1950"/>
                        <a:pt x="3653" y="1944"/>
                      </a:cubicBezTo>
                      <a:cubicBezTo>
                        <a:pt x="3711" y="1937"/>
                        <a:pt x="3846" y="1989"/>
                        <a:pt x="3849" y="2095"/>
                      </a:cubicBezTo>
                      <a:cubicBezTo>
                        <a:pt x="3852" y="2201"/>
                        <a:pt x="3868" y="2548"/>
                        <a:pt x="3797" y="2670"/>
                      </a:cubicBezTo>
                      <a:cubicBezTo>
                        <a:pt x="3797" y="2670"/>
                        <a:pt x="3797" y="2670"/>
                        <a:pt x="3797" y="2670"/>
                      </a:cubicBezTo>
                      <a:close/>
                      <a:moveTo>
                        <a:pt x="4157" y="2504"/>
                      </a:moveTo>
                      <a:cubicBezTo>
                        <a:pt x="4080" y="2461"/>
                        <a:pt x="4080" y="2341"/>
                        <a:pt x="4080" y="2242"/>
                      </a:cubicBezTo>
                      <a:cubicBezTo>
                        <a:pt x="4080" y="2144"/>
                        <a:pt x="4020" y="2187"/>
                        <a:pt x="4016" y="2259"/>
                      </a:cubicBezTo>
                      <a:cubicBezTo>
                        <a:pt x="4012" y="2332"/>
                        <a:pt x="3999" y="2461"/>
                        <a:pt x="4033" y="2486"/>
                      </a:cubicBezTo>
                      <a:cubicBezTo>
                        <a:pt x="4067" y="2512"/>
                        <a:pt x="4059" y="2521"/>
                        <a:pt x="4016" y="2572"/>
                      </a:cubicBezTo>
                      <a:cubicBezTo>
                        <a:pt x="3973" y="2624"/>
                        <a:pt x="3939" y="2675"/>
                        <a:pt x="3883" y="2658"/>
                      </a:cubicBezTo>
                      <a:cubicBezTo>
                        <a:pt x="3883" y="2658"/>
                        <a:pt x="3939" y="2619"/>
                        <a:pt x="3913" y="2182"/>
                      </a:cubicBezTo>
                      <a:cubicBezTo>
                        <a:pt x="3913" y="2182"/>
                        <a:pt x="3934" y="2050"/>
                        <a:pt x="4050" y="2050"/>
                      </a:cubicBezTo>
                      <a:cubicBezTo>
                        <a:pt x="4166" y="2050"/>
                        <a:pt x="4196" y="2067"/>
                        <a:pt x="4187" y="2208"/>
                      </a:cubicBezTo>
                      <a:cubicBezTo>
                        <a:pt x="4179" y="2349"/>
                        <a:pt x="4200" y="2418"/>
                        <a:pt x="4226" y="2461"/>
                      </a:cubicBezTo>
                      <a:cubicBezTo>
                        <a:pt x="4251" y="2504"/>
                        <a:pt x="4234" y="2546"/>
                        <a:pt x="4157" y="2504"/>
                      </a:cubicBezTo>
                      <a:cubicBezTo>
                        <a:pt x="4157" y="2504"/>
                        <a:pt x="4157" y="2504"/>
                        <a:pt x="4157" y="2504"/>
                      </a:cubicBezTo>
                      <a:close/>
                      <a:moveTo>
                        <a:pt x="4341" y="2482"/>
                      </a:moveTo>
                      <a:cubicBezTo>
                        <a:pt x="4341" y="2482"/>
                        <a:pt x="4320" y="2576"/>
                        <a:pt x="4269" y="2397"/>
                      </a:cubicBezTo>
                      <a:cubicBezTo>
                        <a:pt x="4269" y="2397"/>
                        <a:pt x="4217" y="2050"/>
                        <a:pt x="4290" y="2024"/>
                      </a:cubicBezTo>
                      <a:cubicBezTo>
                        <a:pt x="4290" y="2024"/>
                        <a:pt x="4354" y="1964"/>
                        <a:pt x="4367" y="1925"/>
                      </a:cubicBezTo>
                      <a:cubicBezTo>
                        <a:pt x="4380" y="1887"/>
                        <a:pt x="4359" y="1891"/>
                        <a:pt x="4307" y="1934"/>
                      </a:cubicBezTo>
                      <a:cubicBezTo>
                        <a:pt x="4256" y="1977"/>
                        <a:pt x="4251" y="2050"/>
                        <a:pt x="4149" y="1964"/>
                      </a:cubicBezTo>
                      <a:cubicBezTo>
                        <a:pt x="4149" y="1964"/>
                        <a:pt x="4050" y="1925"/>
                        <a:pt x="3990" y="1960"/>
                      </a:cubicBezTo>
                      <a:cubicBezTo>
                        <a:pt x="3990" y="1960"/>
                        <a:pt x="3956" y="2015"/>
                        <a:pt x="3917" y="2015"/>
                      </a:cubicBezTo>
                      <a:cubicBezTo>
                        <a:pt x="3917" y="2015"/>
                        <a:pt x="3866" y="1955"/>
                        <a:pt x="3960" y="1913"/>
                      </a:cubicBezTo>
                      <a:cubicBezTo>
                        <a:pt x="4054" y="1870"/>
                        <a:pt x="4072" y="1861"/>
                        <a:pt x="4102" y="1788"/>
                      </a:cubicBezTo>
                      <a:cubicBezTo>
                        <a:pt x="4132" y="1715"/>
                        <a:pt x="4376" y="1780"/>
                        <a:pt x="4410" y="1887"/>
                      </a:cubicBezTo>
                      <a:cubicBezTo>
                        <a:pt x="4444" y="1994"/>
                        <a:pt x="4508" y="2114"/>
                        <a:pt x="4453" y="2234"/>
                      </a:cubicBezTo>
                      <a:cubicBezTo>
                        <a:pt x="4397" y="2354"/>
                        <a:pt x="4337" y="2337"/>
                        <a:pt x="4341" y="2482"/>
                      </a:cubicBezTo>
                      <a:cubicBezTo>
                        <a:pt x="4341" y="2482"/>
                        <a:pt x="4341" y="2482"/>
                        <a:pt x="4341" y="2482"/>
                      </a:cubicBezTo>
                      <a:close/>
                      <a:moveTo>
                        <a:pt x="4508" y="2538"/>
                      </a:moveTo>
                      <a:cubicBezTo>
                        <a:pt x="4508" y="2538"/>
                        <a:pt x="4367" y="2585"/>
                        <a:pt x="4453" y="2405"/>
                      </a:cubicBezTo>
                      <a:cubicBezTo>
                        <a:pt x="4538" y="2225"/>
                        <a:pt x="4560" y="2375"/>
                        <a:pt x="4543" y="1990"/>
                      </a:cubicBezTo>
                      <a:cubicBezTo>
                        <a:pt x="4543" y="1990"/>
                        <a:pt x="4517" y="1865"/>
                        <a:pt x="4487" y="1840"/>
                      </a:cubicBezTo>
                      <a:cubicBezTo>
                        <a:pt x="4457" y="1814"/>
                        <a:pt x="4483" y="1745"/>
                        <a:pt x="4521" y="1741"/>
                      </a:cubicBezTo>
                      <a:cubicBezTo>
                        <a:pt x="4560" y="1737"/>
                        <a:pt x="4513" y="1596"/>
                        <a:pt x="4453" y="1557"/>
                      </a:cubicBezTo>
                      <a:cubicBezTo>
                        <a:pt x="4453" y="1557"/>
                        <a:pt x="4419" y="1287"/>
                        <a:pt x="4440" y="1274"/>
                      </a:cubicBezTo>
                      <a:cubicBezTo>
                        <a:pt x="4440" y="1274"/>
                        <a:pt x="4620" y="1433"/>
                        <a:pt x="4671" y="2062"/>
                      </a:cubicBezTo>
                      <a:cubicBezTo>
                        <a:pt x="4671" y="2062"/>
                        <a:pt x="4693" y="2486"/>
                        <a:pt x="4508" y="2538"/>
                      </a:cubicBezTo>
                      <a:cubicBezTo>
                        <a:pt x="4508" y="2538"/>
                        <a:pt x="4508" y="2538"/>
                        <a:pt x="4508" y="2538"/>
                      </a:cubicBezTo>
                      <a:close/>
                      <a:moveTo>
                        <a:pt x="2932" y="743"/>
                      </a:moveTo>
                      <a:cubicBezTo>
                        <a:pt x="2855" y="906"/>
                        <a:pt x="2791" y="790"/>
                        <a:pt x="2705" y="790"/>
                      </a:cubicBezTo>
                      <a:cubicBezTo>
                        <a:pt x="2619" y="790"/>
                        <a:pt x="2641" y="846"/>
                        <a:pt x="2662" y="842"/>
                      </a:cubicBezTo>
                      <a:cubicBezTo>
                        <a:pt x="2684" y="837"/>
                        <a:pt x="2731" y="846"/>
                        <a:pt x="2731" y="846"/>
                      </a:cubicBezTo>
                      <a:cubicBezTo>
                        <a:pt x="2750" y="842"/>
                        <a:pt x="2804" y="872"/>
                        <a:pt x="2804" y="872"/>
                      </a:cubicBezTo>
                      <a:cubicBezTo>
                        <a:pt x="2855" y="880"/>
                        <a:pt x="2872" y="914"/>
                        <a:pt x="2906" y="889"/>
                      </a:cubicBezTo>
                      <a:cubicBezTo>
                        <a:pt x="2941" y="863"/>
                        <a:pt x="2979" y="859"/>
                        <a:pt x="2975" y="777"/>
                      </a:cubicBezTo>
                      <a:cubicBezTo>
                        <a:pt x="2971" y="696"/>
                        <a:pt x="2932" y="743"/>
                        <a:pt x="2932" y="743"/>
                      </a:cubicBezTo>
                      <a:cubicBezTo>
                        <a:pt x="2932" y="743"/>
                        <a:pt x="2932" y="743"/>
                        <a:pt x="2932" y="743"/>
                      </a:cubicBezTo>
                      <a:close/>
                      <a:moveTo>
                        <a:pt x="1986" y="2512"/>
                      </a:moveTo>
                      <a:cubicBezTo>
                        <a:pt x="2045" y="2525"/>
                        <a:pt x="1968" y="2431"/>
                        <a:pt x="1947" y="2375"/>
                      </a:cubicBezTo>
                      <a:cubicBezTo>
                        <a:pt x="1926" y="2319"/>
                        <a:pt x="1947" y="2229"/>
                        <a:pt x="1896" y="2234"/>
                      </a:cubicBezTo>
                      <a:cubicBezTo>
                        <a:pt x="1844" y="2238"/>
                        <a:pt x="1878" y="2367"/>
                        <a:pt x="1878" y="2367"/>
                      </a:cubicBezTo>
                      <a:cubicBezTo>
                        <a:pt x="1878" y="2414"/>
                        <a:pt x="1926" y="2499"/>
                        <a:pt x="1986" y="2512"/>
                      </a:cubicBezTo>
                      <a:cubicBezTo>
                        <a:pt x="1986" y="2512"/>
                        <a:pt x="1986" y="2512"/>
                        <a:pt x="1986" y="2512"/>
                      </a:cubicBezTo>
                      <a:close/>
                      <a:moveTo>
                        <a:pt x="4277" y="1608"/>
                      </a:moveTo>
                      <a:cubicBezTo>
                        <a:pt x="4333" y="1608"/>
                        <a:pt x="4337" y="1386"/>
                        <a:pt x="4299" y="1317"/>
                      </a:cubicBezTo>
                      <a:cubicBezTo>
                        <a:pt x="4260" y="1249"/>
                        <a:pt x="4269" y="1321"/>
                        <a:pt x="4269" y="1321"/>
                      </a:cubicBezTo>
                      <a:cubicBezTo>
                        <a:pt x="4269" y="1321"/>
                        <a:pt x="4222" y="1608"/>
                        <a:pt x="4277" y="1608"/>
                      </a:cubicBezTo>
                      <a:cubicBezTo>
                        <a:pt x="4277" y="1608"/>
                        <a:pt x="4277" y="1608"/>
                        <a:pt x="4277" y="1608"/>
                      </a:cubicBezTo>
                      <a:close/>
                      <a:moveTo>
                        <a:pt x="3755" y="2127"/>
                      </a:moveTo>
                      <a:cubicBezTo>
                        <a:pt x="3755" y="2127"/>
                        <a:pt x="3656" y="2229"/>
                        <a:pt x="3660" y="2311"/>
                      </a:cubicBezTo>
                      <a:cubicBezTo>
                        <a:pt x="3665" y="2392"/>
                        <a:pt x="3558" y="2354"/>
                        <a:pt x="3536" y="2482"/>
                      </a:cubicBezTo>
                      <a:cubicBezTo>
                        <a:pt x="3515" y="2611"/>
                        <a:pt x="3579" y="2482"/>
                        <a:pt x="3600" y="2469"/>
                      </a:cubicBezTo>
                      <a:cubicBezTo>
                        <a:pt x="3622" y="2456"/>
                        <a:pt x="3660" y="2422"/>
                        <a:pt x="3690" y="2392"/>
                      </a:cubicBezTo>
                      <a:cubicBezTo>
                        <a:pt x="3720" y="2362"/>
                        <a:pt x="3695" y="2234"/>
                        <a:pt x="3759" y="2174"/>
                      </a:cubicBezTo>
                      <a:cubicBezTo>
                        <a:pt x="3823" y="2114"/>
                        <a:pt x="3772" y="2131"/>
                        <a:pt x="3755" y="2127"/>
                      </a:cubicBezTo>
                      <a:cubicBezTo>
                        <a:pt x="3755" y="2127"/>
                        <a:pt x="3755" y="2127"/>
                        <a:pt x="3755" y="2127"/>
                      </a:cubicBezTo>
                      <a:close/>
                      <a:moveTo>
                        <a:pt x="3112" y="2058"/>
                      </a:moveTo>
                      <a:cubicBezTo>
                        <a:pt x="3146" y="2105"/>
                        <a:pt x="3159" y="2058"/>
                        <a:pt x="3181" y="2002"/>
                      </a:cubicBezTo>
                      <a:cubicBezTo>
                        <a:pt x="3202" y="1947"/>
                        <a:pt x="3151" y="1827"/>
                        <a:pt x="3108" y="1835"/>
                      </a:cubicBezTo>
                      <a:cubicBezTo>
                        <a:pt x="3065" y="1844"/>
                        <a:pt x="3116" y="1913"/>
                        <a:pt x="3116" y="1913"/>
                      </a:cubicBezTo>
                      <a:cubicBezTo>
                        <a:pt x="3125" y="1990"/>
                        <a:pt x="3078" y="2011"/>
                        <a:pt x="3112" y="2058"/>
                      </a:cubicBezTo>
                      <a:cubicBezTo>
                        <a:pt x="3112" y="2058"/>
                        <a:pt x="3112" y="2058"/>
                        <a:pt x="3112" y="2058"/>
                      </a:cubicBezTo>
                      <a:close/>
                      <a:moveTo>
                        <a:pt x="3039" y="1296"/>
                      </a:moveTo>
                      <a:cubicBezTo>
                        <a:pt x="2966" y="1356"/>
                        <a:pt x="3001" y="1446"/>
                        <a:pt x="3001" y="1446"/>
                      </a:cubicBezTo>
                      <a:cubicBezTo>
                        <a:pt x="3048" y="1471"/>
                        <a:pt x="3112" y="1454"/>
                        <a:pt x="3078" y="1381"/>
                      </a:cubicBezTo>
                      <a:cubicBezTo>
                        <a:pt x="3044" y="1309"/>
                        <a:pt x="3129" y="1309"/>
                        <a:pt x="3142" y="1261"/>
                      </a:cubicBezTo>
                      <a:cubicBezTo>
                        <a:pt x="3155" y="1214"/>
                        <a:pt x="3112" y="1236"/>
                        <a:pt x="3039" y="1296"/>
                      </a:cubicBezTo>
                      <a:cubicBezTo>
                        <a:pt x="3039" y="1296"/>
                        <a:pt x="3039" y="1296"/>
                        <a:pt x="3039" y="1296"/>
                      </a:cubicBezTo>
                      <a:close/>
                    </a:path>
                  </a:pathLst>
                </a:custGeom>
                <a:solidFill>
                  <a:schemeClr val="accent4">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grpSp>
        </p:grpSp>
        <p:grpSp>
          <p:nvGrpSpPr>
            <p:cNvPr id="7" name="ïşľíd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02118EC-1552-4A0E-A962-9C6B4A9035D8}"/>
                </a:ext>
              </a:extLst>
            </p:cNvPr>
            <p:cNvGrpSpPr/>
            <p:nvPr/>
          </p:nvGrpSpPr>
          <p:grpSpPr>
            <a:xfrm>
              <a:off x="6937729" y="1940222"/>
              <a:ext cx="2330096" cy="1935960"/>
              <a:chOff x="3324225" y="1243013"/>
              <a:chExt cx="5537200" cy="4600575"/>
            </a:xfrm>
          </p:grpSpPr>
          <p:sp>
            <p:nvSpPr>
              <p:cNvPr id="17" name="î$ļîďé">
                <a:extLst>
                  <a:ext uri="{FF2B5EF4-FFF2-40B4-BE49-F238E27FC236}">
                    <a16:creationId xmlns:a16="http://schemas.microsoft.com/office/drawing/2014/main" id="{E19CC84E-C776-422A-B216-9C5D8B8F440B}"/>
                  </a:ext>
                </a:extLst>
              </p:cNvPr>
              <p:cNvSpPr/>
              <p:nvPr/>
            </p:nvSpPr>
            <p:spPr bwMode="auto">
              <a:xfrm>
                <a:off x="3324225" y="5126038"/>
                <a:ext cx="5537200" cy="717550"/>
              </a:xfrm>
              <a:custGeom>
                <a:avLst/>
                <a:gdLst>
                  <a:gd name="T0" fmla="*/ 1872 w 1872"/>
                  <a:gd name="T1" fmla="*/ 78 h 243"/>
                  <a:gd name="T2" fmla="*/ 935 w 1872"/>
                  <a:gd name="T3" fmla="*/ 243 h 243"/>
                  <a:gd name="T4" fmla="*/ 0 w 1872"/>
                  <a:gd name="T5" fmla="*/ 78 h 243"/>
                  <a:gd name="T6" fmla="*/ 936 w 1872"/>
                  <a:gd name="T7" fmla="*/ 0 h 243"/>
                  <a:gd name="T8" fmla="*/ 1872 w 1872"/>
                  <a:gd name="T9" fmla="*/ 78 h 243"/>
                </a:gdLst>
                <a:ahLst/>
                <a:cxnLst>
                  <a:cxn ang="0">
                    <a:pos x="T0" y="T1"/>
                  </a:cxn>
                  <a:cxn ang="0">
                    <a:pos x="T2" y="T3"/>
                  </a:cxn>
                  <a:cxn ang="0">
                    <a:pos x="T4" y="T5"/>
                  </a:cxn>
                  <a:cxn ang="0">
                    <a:pos x="T6" y="T7"/>
                  </a:cxn>
                  <a:cxn ang="0">
                    <a:pos x="T8" y="T9"/>
                  </a:cxn>
                </a:cxnLst>
                <a:rect l="0" t="0" r="r" b="b"/>
                <a:pathLst>
                  <a:path w="1872" h="243">
                    <a:moveTo>
                      <a:pt x="1872" y="78"/>
                    </a:moveTo>
                    <a:cubicBezTo>
                      <a:pt x="1872" y="121"/>
                      <a:pt x="1452" y="243"/>
                      <a:pt x="935" y="243"/>
                    </a:cubicBezTo>
                    <a:cubicBezTo>
                      <a:pt x="418" y="243"/>
                      <a:pt x="0" y="121"/>
                      <a:pt x="0" y="78"/>
                    </a:cubicBezTo>
                    <a:cubicBezTo>
                      <a:pt x="0" y="35"/>
                      <a:pt x="419" y="0"/>
                      <a:pt x="936" y="0"/>
                    </a:cubicBezTo>
                    <a:cubicBezTo>
                      <a:pt x="1453" y="0"/>
                      <a:pt x="1872" y="35"/>
                      <a:pt x="1872" y="78"/>
                    </a:cubicBezTo>
                    <a:close/>
                  </a:path>
                </a:pathLst>
              </a:custGeom>
              <a:solidFill>
                <a:srgbClr val="F2F1F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18" name="ïśḷîḋê">
                <a:extLst>
                  <a:ext uri="{FF2B5EF4-FFF2-40B4-BE49-F238E27FC236}">
                    <a16:creationId xmlns:a16="http://schemas.microsoft.com/office/drawing/2014/main" id="{0210B3E8-E5C2-4C80-BBE0-9F3C42324BFC}"/>
                  </a:ext>
                </a:extLst>
              </p:cNvPr>
              <p:cNvSpPr/>
              <p:nvPr/>
            </p:nvSpPr>
            <p:spPr bwMode="auto">
              <a:xfrm>
                <a:off x="4297363" y="5133976"/>
                <a:ext cx="2973388" cy="377825"/>
              </a:xfrm>
              <a:custGeom>
                <a:avLst/>
                <a:gdLst>
                  <a:gd name="T0" fmla="*/ 534 w 1005"/>
                  <a:gd name="T1" fmla="*/ 42 h 128"/>
                  <a:gd name="T2" fmla="*/ 242 w 1005"/>
                  <a:gd name="T3" fmla="*/ 42 h 128"/>
                  <a:gd name="T4" fmla="*/ 119 w 1005"/>
                  <a:gd name="T5" fmla="*/ 49 h 128"/>
                  <a:gd name="T6" fmla="*/ 50 w 1005"/>
                  <a:gd name="T7" fmla="*/ 58 h 128"/>
                  <a:gd name="T8" fmla="*/ 14 w 1005"/>
                  <a:gd name="T9" fmla="*/ 96 h 128"/>
                  <a:gd name="T10" fmla="*/ 69 w 1005"/>
                  <a:gd name="T11" fmla="*/ 120 h 128"/>
                  <a:gd name="T12" fmla="*/ 206 w 1005"/>
                  <a:gd name="T13" fmla="*/ 127 h 128"/>
                  <a:gd name="T14" fmla="*/ 339 w 1005"/>
                  <a:gd name="T15" fmla="*/ 127 h 128"/>
                  <a:gd name="T16" fmla="*/ 486 w 1005"/>
                  <a:gd name="T17" fmla="*/ 118 h 128"/>
                  <a:gd name="T18" fmla="*/ 776 w 1005"/>
                  <a:gd name="T19" fmla="*/ 91 h 128"/>
                  <a:gd name="T20" fmla="*/ 993 w 1005"/>
                  <a:gd name="T21" fmla="*/ 39 h 128"/>
                  <a:gd name="T22" fmla="*/ 916 w 1005"/>
                  <a:gd name="T23" fmla="*/ 2 h 128"/>
                  <a:gd name="T24" fmla="*/ 857 w 1005"/>
                  <a:gd name="T25" fmla="*/ 0 h 128"/>
                  <a:gd name="T26" fmla="*/ 810 w 1005"/>
                  <a:gd name="T27" fmla="*/ 18 h 128"/>
                  <a:gd name="T28" fmla="*/ 534 w 1005"/>
                  <a:gd name="T29" fmla="*/ 4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5" h="128">
                    <a:moveTo>
                      <a:pt x="534" y="42"/>
                    </a:moveTo>
                    <a:cubicBezTo>
                      <a:pt x="437" y="41"/>
                      <a:pt x="340" y="39"/>
                      <a:pt x="242" y="42"/>
                    </a:cubicBezTo>
                    <a:cubicBezTo>
                      <a:pt x="201" y="43"/>
                      <a:pt x="160" y="47"/>
                      <a:pt x="119" y="49"/>
                    </a:cubicBezTo>
                    <a:cubicBezTo>
                      <a:pt x="96" y="51"/>
                      <a:pt x="73" y="52"/>
                      <a:pt x="50" y="58"/>
                    </a:cubicBezTo>
                    <a:cubicBezTo>
                      <a:pt x="35" y="62"/>
                      <a:pt x="0" y="73"/>
                      <a:pt x="14" y="96"/>
                    </a:cubicBezTo>
                    <a:cubicBezTo>
                      <a:pt x="24" y="112"/>
                      <a:pt x="51" y="117"/>
                      <a:pt x="69" y="120"/>
                    </a:cubicBezTo>
                    <a:cubicBezTo>
                      <a:pt x="114" y="128"/>
                      <a:pt x="160" y="127"/>
                      <a:pt x="206" y="127"/>
                    </a:cubicBezTo>
                    <a:cubicBezTo>
                      <a:pt x="251" y="127"/>
                      <a:pt x="295" y="128"/>
                      <a:pt x="339" y="127"/>
                    </a:cubicBezTo>
                    <a:cubicBezTo>
                      <a:pt x="388" y="125"/>
                      <a:pt x="437" y="122"/>
                      <a:pt x="486" y="118"/>
                    </a:cubicBezTo>
                    <a:cubicBezTo>
                      <a:pt x="582" y="111"/>
                      <a:pt x="679" y="94"/>
                      <a:pt x="776" y="91"/>
                    </a:cubicBezTo>
                    <a:cubicBezTo>
                      <a:pt x="976" y="84"/>
                      <a:pt x="1005" y="45"/>
                      <a:pt x="993" y="39"/>
                    </a:cubicBezTo>
                    <a:cubicBezTo>
                      <a:pt x="975" y="30"/>
                      <a:pt x="936" y="7"/>
                      <a:pt x="916" y="2"/>
                    </a:cubicBezTo>
                    <a:cubicBezTo>
                      <a:pt x="897" y="1"/>
                      <a:pt x="877" y="1"/>
                      <a:pt x="857" y="0"/>
                    </a:cubicBezTo>
                    <a:cubicBezTo>
                      <a:pt x="841" y="6"/>
                      <a:pt x="826" y="13"/>
                      <a:pt x="810" y="18"/>
                    </a:cubicBezTo>
                    <a:cubicBezTo>
                      <a:pt x="721" y="49"/>
                      <a:pt x="627" y="44"/>
                      <a:pt x="534" y="42"/>
                    </a:cubicBezTo>
                    <a:close/>
                  </a:path>
                </a:pathLst>
              </a:custGeom>
              <a:solidFill>
                <a:srgbClr val="E6E5F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19" name="îSľïḓè">
                <a:extLst>
                  <a:ext uri="{FF2B5EF4-FFF2-40B4-BE49-F238E27FC236}">
                    <a16:creationId xmlns:a16="http://schemas.microsoft.com/office/drawing/2014/main" id="{24A95E1B-EBD2-4865-B067-A54A2B94E50D}"/>
                  </a:ext>
                </a:extLst>
              </p:cNvPr>
              <p:cNvSpPr/>
              <p:nvPr/>
            </p:nvSpPr>
            <p:spPr bwMode="auto">
              <a:xfrm>
                <a:off x="4746625" y="2687638"/>
                <a:ext cx="355600" cy="709613"/>
              </a:xfrm>
              <a:custGeom>
                <a:avLst/>
                <a:gdLst>
                  <a:gd name="T0" fmla="*/ 62 w 120"/>
                  <a:gd name="T1" fmla="*/ 237 h 240"/>
                  <a:gd name="T2" fmla="*/ 98 w 120"/>
                  <a:gd name="T3" fmla="*/ 0 h 240"/>
                  <a:gd name="T4" fmla="*/ 82 w 120"/>
                  <a:gd name="T5" fmla="*/ 4 h 240"/>
                  <a:gd name="T6" fmla="*/ 65 w 120"/>
                  <a:gd name="T7" fmla="*/ 161 h 240"/>
                  <a:gd name="T8" fmla="*/ 0 w 120"/>
                  <a:gd name="T9" fmla="*/ 236 h 240"/>
                  <a:gd name="T10" fmla="*/ 62 w 120"/>
                  <a:gd name="T11" fmla="*/ 237 h 240"/>
                </a:gdLst>
                <a:ahLst/>
                <a:cxnLst>
                  <a:cxn ang="0">
                    <a:pos x="T0" y="T1"/>
                  </a:cxn>
                  <a:cxn ang="0">
                    <a:pos x="T2" y="T3"/>
                  </a:cxn>
                  <a:cxn ang="0">
                    <a:pos x="T4" y="T5"/>
                  </a:cxn>
                  <a:cxn ang="0">
                    <a:pos x="T6" y="T7"/>
                  </a:cxn>
                  <a:cxn ang="0">
                    <a:pos x="T8" y="T9"/>
                  </a:cxn>
                  <a:cxn ang="0">
                    <a:pos x="T10" y="T11"/>
                  </a:cxn>
                </a:cxnLst>
                <a:rect l="0" t="0" r="r" b="b"/>
                <a:pathLst>
                  <a:path w="120" h="240">
                    <a:moveTo>
                      <a:pt x="62" y="237"/>
                    </a:moveTo>
                    <a:cubicBezTo>
                      <a:pt x="120" y="146"/>
                      <a:pt x="118" y="68"/>
                      <a:pt x="98" y="0"/>
                    </a:cubicBezTo>
                    <a:cubicBezTo>
                      <a:pt x="92" y="1"/>
                      <a:pt x="87" y="3"/>
                      <a:pt x="82" y="4"/>
                    </a:cubicBezTo>
                    <a:cubicBezTo>
                      <a:pt x="89" y="57"/>
                      <a:pt x="86" y="113"/>
                      <a:pt x="65" y="161"/>
                    </a:cubicBezTo>
                    <a:cubicBezTo>
                      <a:pt x="52" y="192"/>
                      <a:pt x="29" y="219"/>
                      <a:pt x="0" y="236"/>
                    </a:cubicBezTo>
                    <a:cubicBezTo>
                      <a:pt x="20" y="240"/>
                      <a:pt x="41" y="240"/>
                      <a:pt x="62" y="237"/>
                    </a:cubicBezTo>
                    <a:close/>
                  </a:path>
                </a:pathLst>
              </a:custGeom>
              <a:solidFill>
                <a:srgbClr val="3851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10000"/>
              </a:bodyPr>
              <a:lstStyle/>
              <a:p>
                <a:pPr algn="ctr"/>
                <a:endParaRPr/>
              </a:p>
            </p:txBody>
          </p:sp>
          <p:sp>
            <p:nvSpPr>
              <p:cNvPr id="20" name="îśľïḑe">
                <a:extLst>
                  <a:ext uri="{FF2B5EF4-FFF2-40B4-BE49-F238E27FC236}">
                    <a16:creationId xmlns:a16="http://schemas.microsoft.com/office/drawing/2014/main" id="{BF97F36A-563F-4F75-9FA5-4D0D719D5AAD}"/>
                  </a:ext>
                </a:extLst>
              </p:cNvPr>
              <p:cNvSpPr/>
              <p:nvPr/>
            </p:nvSpPr>
            <p:spPr bwMode="auto">
              <a:xfrm>
                <a:off x="5046663" y="3103563"/>
                <a:ext cx="0" cy="0"/>
              </a:xfrm>
              <a:prstGeom prst="line">
                <a:avLst/>
              </a:prstGeom>
              <a:noFill/>
              <a:ln w="12700" cap="flat">
                <a:solidFill>
                  <a:srgbClr val="ED7892"/>
                </a:solidFill>
                <a:prstDash val="solid"/>
                <a:miter lim="800000"/>
                <a:headEnd/>
                <a:tailEnd/>
              </a:ln>
              <a:extLst>
                <a:ext uri="{909E8E84-426E-40DD-AFC4-6F175D3DCCD1}">
                  <a14:hiddenFill xmlns:a14="http://schemas.microsoft.com/office/drawing/2010/main">
                    <a:noFill/>
                  </a14:hiddenFill>
                </a:ext>
              </a:extLst>
            </p:spPr>
            <p:txBody>
              <a:bodyPr wrap="square" lIns="91440" tIns="45720" rIns="91440" bIns="45720" anchor="ctr">
                <a:normAutofit fontScale="25000" lnSpcReduction="20000"/>
              </a:bodyPr>
              <a:lstStyle/>
              <a:p>
                <a:pPr algn="ctr"/>
                <a:endParaRPr/>
              </a:p>
            </p:txBody>
          </p:sp>
          <p:sp>
            <p:nvSpPr>
              <p:cNvPr id="21" name="îṧḻïďe">
                <a:extLst>
                  <a:ext uri="{FF2B5EF4-FFF2-40B4-BE49-F238E27FC236}">
                    <a16:creationId xmlns:a16="http://schemas.microsoft.com/office/drawing/2014/main" id="{B082788B-6140-49CC-8A23-8AB1D453A114}"/>
                  </a:ext>
                </a:extLst>
              </p:cNvPr>
              <p:cNvSpPr/>
              <p:nvPr/>
            </p:nvSpPr>
            <p:spPr bwMode="auto">
              <a:xfrm>
                <a:off x="3351213" y="3967163"/>
                <a:ext cx="657225" cy="1412875"/>
              </a:xfrm>
              <a:custGeom>
                <a:avLst/>
                <a:gdLst>
                  <a:gd name="T0" fmla="*/ 175 w 222"/>
                  <a:gd name="T1" fmla="*/ 478 h 478"/>
                  <a:gd name="T2" fmla="*/ 117 w 222"/>
                  <a:gd name="T3" fmla="*/ 478 h 478"/>
                  <a:gd name="T4" fmla="*/ 105 w 222"/>
                  <a:gd name="T5" fmla="*/ 447 h 478"/>
                  <a:gd name="T6" fmla="*/ 73 w 222"/>
                  <a:gd name="T7" fmla="*/ 409 h 478"/>
                  <a:gd name="T8" fmla="*/ 83 w 222"/>
                  <a:gd name="T9" fmla="*/ 342 h 478"/>
                  <a:gd name="T10" fmla="*/ 73 w 222"/>
                  <a:gd name="T11" fmla="*/ 303 h 478"/>
                  <a:gd name="T12" fmla="*/ 50 w 222"/>
                  <a:gd name="T13" fmla="*/ 285 h 478"/>
                  <a:gd name="T14" fmla="*/ 41 w 222"/>
                  <a:gd name="T15" fmla="*/ 220 h 478"/>
                  <a:gd name="T16" fmla="*/ 51 w 222"/>
                  <a:gd name="T17" fmla="*/ 175 h 478"/>
                  <a:gd name="T18" fmla="*/ 21 w 222"/>
                  <a:gd name="T19" fmla="*/ 106 h 478"/>
                  <a:gd name="T20" fmla="*/ 19 w 222"/>
                  <a:gd name="T21" fmla="*/ 38 h 478"/>
                  <a:gd name="T22" fmla="*/ 25 w 222"/>
                  <a:gd name="T23" fmla="*/ 32 h 478"/>
                  <a:gd name="T24" fmla="*/ 129 w 222"/>
                  <a:gd name="T25" fmla="*/ 74 h 478"/>
                  <a:gd name="T26" fmla="*/ 137 w 222"/>
                  <a:gd name="T27" fmla="*/ 118 h 478"/>
                  <a:gd name="T28" fmla="*/ 190 w 222"/>
                  <a:gd name="T29" fmla="*/ 193 h 478"/>
                  <a:gd name="T30" fmla="*/ 192 w 222"/>
                  <a:gd name="T31" fmla="*/ 299 h 478"/>
                  <a:gd name="T32" fmla="*/ 221 w 222"/>
                  <a:gd name="T33" fmla="*/ 369 h 478"/>
                  <a:gd name="T34" fmla="*/ 194 w 222"/>
                  <a:gd name="T35" fmla="*/ 440 h 478"/>
                  <a:gd name="T36" fmla="*/ 175 w 222"/>
                  <a:gd name="T37"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2" h="478">
                    <a:moveTo>
                      <a:pt x="175" y="478"/>
                    </a:moveTo>
                    <a:cubicBezTo>
                      <a:pt x="117" y="478"/>
                      <a:pt x="117" y="478"/>
                      <a:pt x="117" y="478"/>
                    </a:cubicBezTo>
                    <a:cubicBezTo>
                      <a:pt x="115" y="469"/>
                      <a:pt x="106" y="449"/>
                      <a:pt x="105" y="447"/>
                    </a:cubicBezTo>
                    <a:cubicBezTo>
                      <a:pt x="96" y="433"/>
                      <a:pt x="81" y="424"/>
                      <a:pt x="73" y="409"/>
                    </a:cubicBezTo>
                    <a:cubicBezTo>
                      <a:pt x="59" y="384"/>
                      <a:pt x="73" y="364"/>
                      <a:pt x="83" y="342"/>
                    </a:cubicBezTo>
                    <a:cubicBezTo>
                      <a:pt x="91" y="327"/>
                      <a:pt x="85" y="314"/>
                      <a:pt x="73" y="303"/>
                    </a:cubicBezTo>
                    <a:cubicBezTo>
                      <a:pt x="65" y="297"/>
                      <a:pt x="57" y="292"/>
                      <a:pt x="50" y="285"/>
                    </a:cubicBezTo>
                    <a:cubicBezTo>
                      <a:pt x="33" y="267"/>
                      <a:pt x="34" y="243"/>
                      <a:pt x="41" y="220"/>
                    </a:cubicBezTo>
                    <a:cubicBezTo>
                      <a:pt x="45" y="205"/>
                      <a:pt x="51" y="190"/>
                      <a:pt x="51" y="175"/>
                    </a:cubicBezTo>
                    <a:cubicBezTo>
                      <a:pt x="53" y="146"/>
                      <a:pt x="35" y="128"/>
                      <a:pt x="21" y="106"/>
                    </a:cubicBezTo>
                    <a:cubicBezTo>
                      <a:pt x="6" y="83"/>
                      <a:pt x="0" y="60"/>
                      <a:pt x="19" y="38"/>
                    </a:cubicBezTo>
                    <a:cubicBezTo>
                      <a:pt x="20" y="36"/>
                      <a:pt x="22" y="34"/>
                      <a:pt x="25" y="32"/>
                    </a:cubicBezTo>
                    <a:cubicBezTo>
                      <a:pt x="61" y="0"/>
                      <a:pt x="119" y="32"/>
                      <a:pt x="129" y="74"/>
                    </a:cubicBezTo>
                    <a:cubicBezTo>
                      <a:pt x="132" y="88"/>
                      <a:pt x="133" y="103"/>
                      <a:pt x="137" y="118"/>
                    </a:cubicBezTo>
                    <a:cubicBezTo>
                      <a:pt x="145" y="151"/>
                      <a:pt x="181" y="161"/>
                      <a:pt x="190" y="193"/>
                    </a:cubicBezTo>
                    <a:cubicBezTo>
                      <a:pt x="200" y="228"/>
                      <a:pt x="175" y="264"/>
                      <a:pt x="192" y="299"/>
                    </a:cubicBezTo>
                    <a:cubicBezTo>
                      <a:pt x="203" y="321"/>
                      <a:pt x="219" y="344"/>
                      <a:pt x="221" y="369"/>
                    </a:cubicBezTo>
                    <a:cubicBezTo>
                      <a:pt x="222" y="395"/>
                      <a:pt x="212" y="421"/>
                      <a:pt x="194" y="440"/>
                    </a:cubicBezTo>
                    <a:cubicBezTo>
                      <a:pt x="186" y="447"/>
                      <a:pt x="178" y="466"/>
                      <a:pt x="175" y="478"/>
                    </a:cubicBezTo>
                    <a:close/>
                  </a:path>
                </a:pathLst>
              </a:custGeom>
              <a:solidFill>
                <a:srgbClr val="4A64A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22" name="ïśliḋê">
                <a:extLst>
                  <a:ext uri="{FF2B5EF4-FFF2-40B4-BE49-F238E27FC236}">
                    <a16:creationId xmlns:a16="http://schemas.microsoft.com/office/drawing/2014/main" id="{8AF2F1C7-C334-41D4-A132-ABA63F34D9F6}"/>
                  </a:ext>
                </a:extLst>
              </p:cNvPr>
              <p:cNvSpPr/>
              <p:nvPr/>
            </p:nvSpPr>
            <p:spPr bwMode="auto">
              <a:xfrm>
                <a:off x="3513138" y="4105276"/>
                <a:ext cx="349250" cy="1274763"/>
              </a:xfrm>
              <a:custGeom>
                <a:avLst/>
                <a:gdLst>
                  <a:gd name="T0" fmla="*/ 89 w 118"/>
                  <a:gd name="T1" fmla="*/ 366 h 431"/>
                  <a:gd name="T2" fmla="*/ 98 w 118"/>
                  <a:gd name="T3" fmla="*/ 417 h 431"/>
                  <a:gd name="T4" fmla="*/ 101 w 118"/>
                  <a:gd name="T5" fmla="*/ 431 h 431"/>
                  <a:gd name="T6" fmla="*/ 95 w 118"/>
                  <a:gd name="T7" fmla="*/ 431 h 431"/>
                  <a:gd name="T8" fmla="*/ 94 w 118"/>
                  <a:gd name="T9" fmla="*/ 420 h 431"/>
                  <a:gd name="T10" fmla="*/ 89 w 118"/>
                  <a:gd name="T11" fmla="*/ 395 h 431"/>
                  <a:gd name="T12" fmla="*/ 75 w 118"/>
                  <a:gd name="T13" fmla="*/ 371 h 431"/>
                  <a:gd name="T14" fmla="*/ 51 w 118"/>
                  <a:gd name="T15" fmla="*/ 340 h 431"/>
                  <a:gd name="T16" fmla="*/ 51 w 118"/>
                  <a:gd name="T17" fmla="*/ 339 h 431"/>
                  <a:gd name="T18" fmla="*/ 78 w 118"/>
                  <a:gd name="T19" fmla="*/ 373 h 431"/>
                  <a:gd name="T20" fmla="*/ 88 w 118"/>
                  <a:gd name="T21" fmla="*/ 388 h 431"/>
                  <a:gd name="T22" fmla="*/ 86 w 118"/>
                  <a:gd name="T23" fmla="*/ 371 h 431"/>
                  <a:gd name="T24" fmla="*/ 86 w 118"/>
                  <a:gd name="T25" fmla="*/ 371 h 431"/>
                  <a:gd name="T26" fmla="*/ 83 w 118"/>
                  <a:gd name="T27" fmla="*/ 309 h 431"/>
                  <a:gd name="T28" fmla="*/ 86 w 118"/>
                  <a:gd name="T29" fmla="*/ 271 h 431"/>
                  <a:gd name="T30" fmla="*/ 33 w 118"/>
                  <a:gd name="T31" fmla="*/ 208 h 431"/>
                  <a:gd name="T32" fmla="*/ 34 w 118"/>
                  <a:gd name="T33" fmla="*/ 207 h 431"/>
                  <a:gd name="T34" fmla="*/ 86 w 118"/>
                  <a:gd name="T35" fmla="*/ 267 h 431"/>
                  <a:gd name="T36" fmla="*/ 85 w 118"/>
                  <a:gd name="T37" fmla="*/ 254 h 431"/>
                  <a:gd name="T38" fmla="*/ 67 w 118"/>
                  <a:gd name="T39" fmla="*/ 204 h 431"/>
                  <a:gd name="T40" fmla="*/ 55 w 118"/>
                  <a:gd name="T41" fmla="*/ 184 h 431"/>
                  <a:gd name="T42" fmla="*/ 54 w 118"/>
                  <a:gd name="T43" fmla="*/ 183 h 431"/>
                  <a:gd name="T44" fmla="*/ 54 w 118"/>
                  <a:gd name="T45" fmla="*/ 183 h 431"/>
                  <a:gd name="T46" fmla="*/ 45 w 118"/>
                  <a:gd name="T47" fmla="*/ 164 h 431"/>
                  <a:gd name="T48" fmla="*/ 40 w 118"/>
                  <a:gd name="T49" fmla="*/ 115 h 431"/>
                  <a:gd name="T50" fmla="*/ 38 w 118"/>
                  <a:gd name="T51" fmla="*/ 81 h 431"/>
                  <a:gd name="T52" fmla="*/ 3 w 118"/>
                  <a:gd name="T53" fmla="*/ 43 h 431"/>
                  <a:gd name="T54" fmla="*/ 3 w 118"/>
                  <a:gd name="T55" fmla="*/ 42 h 431"/>
                  <a:gd name="T56" fmla="*/ 38 w 118"/>
                  <a:gd name="T57" fmla="*/ 75 h 431"/>
                  <a:gd name="T58" fmla="*/ 32 w 118"/>
                  <a:gd name="T59" fmla="*/ 53 h 431"/>
                  <a:gd name="T60" fmla="*/ 28 w 118"/>
                  <a:gd name="T61" fmla="*/ 46 h 431"/>
                  <a:gd name="T62" fmla="*/ 28 w 118"/>
                  <a:gd name="T63" fmla="*/ 45 h 431"/>
                  <a:gd name="T64" fmla="*/ 28 w 118"/>
                  <a:gd name="T65" fmla="*/ 44 h 431"/>
                  <a:gd name="T66" fmla="*/ 0 w 118"/>
                  <a:gd name="T67" fmla="*/ 1 h 431"/>
                  <a:gd name="T68" fmla="*/ 1 w 118"/>
                  <a:gd name="T69" fmla="*/ 1 h 431"/>
                  <a:gd name="T70" fmla="*/ 27 w 118"/>
                  <a:gd name="T71" fmla="*/ 38 h 431"/>
                  <a:gd name="T72" fmla="*/ 24 w 118"/>
                  <a:gd name="T73" fmla="*/ 12 h 431"/>
                  <a:gd name="T74" fmla="*/ 24 w 118"/>
                  <a:gd name="T75" fmla="*/ 12 h 431"/>
                  <a:gd name="T76" fmla="*/ 29 w 118"/>
                  <a:gd name="T77" fmla="*/ 42 h 431"/>
                  <a:gd name="T78" fmla="*/ 43 w 118"/>
                  <a:gd name="T79" fmla="*/ 87 h 431"/>
                  <a:gd name="T80" fmla="*/ 45 w 118"/>
                  <a:gd name="T81" fmla="*/ 146 h 431"/>
                  <a:gd name="T82" fmla="*/ 55 w 118"/>
                  <a:gd name="T83" fmla="*/ 175 h 431"/>
                  <a:gd name="T84" fmla="*/ 63 w 118"/>
                  <a:gd name="T85" fmla="*/ 121 h 431"/>
                  <a:gd name="T86" fmla="*/ 64 w 118"/>
                  <a:gd name="T87" fmla="*/ 122 h 431"/>
                  <a:gd name="T88" fmla="*/ 57 w 118"/>
                  <a:gd name="T89" fmla="*/ 178 h 431"/>
                  <a:gd name="T90" fmla="*/ 68 w 118"/>
                  <a:gd name="T91" fmla="*/ 197 h 431"/>
                  <a:gd name="T92" fmla="*/ 88 w 118"/>
                  <a:gd name="T93" fmla="*/ 241 h 431"/>
                  <a:gd name="T94" fmla="*/ 89 w 118"/>
                  <a:gd name="T95" fmla="*/ 295 h 431"/>
                  <a:gd name="T96" fmla="*/ 88 w 118"/>
                  <a:gd name="T97" fmla="*/ 357 h 431"/>
                  <a:gd name="T98" fmla="*/ 89 w 118"/>
                  <a:gd name="T99" fmla="*/ 361 h 431"/>
                  <a:gd name="T100" fmla="*/ 98 w 118"/>
                  <a:gd name="T101" fmla="*/ 343 h 431"/>
                  <a:gd name="T102" fmla="*/ 117 w 118"/>
                  <a:gd name="T103" fmla="*/ 314 h 431"/>
                  <a:gd name="T104" fmla="*/ 118 w 118"/>
                  <a:gd name="T105" fmla="*/ 314 h 431"/>
                  <a:gd name="T106" fmla="*/ 103 w 118"/>
                  <a:gd name="T107" fmla="*/ 338 h 431"/>
                  <a:gd name="T108" fmla="*/ 89 w 118"/>
                  <a:gd name="T109" fmla="*/ 366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431">
                    <a:moveTo>
                      <a:pt x="89" y="366"/>
                    </a:moveTo>
                    <a:cubicBezTo>
                      <a:pt x="92" y="383"/>
                      <a:pt x="95" y="400"/>
                      <a:pt x="98" y="417"/>
                    </a:cubicBezTo>
                    <a:cubicBezTo>
                      <a:pt x="99" y="422"/>
                      <a:pt x="100" y="426"/>
                      <a:pt x="101" y="431"/>
                    </a:cubicBezTo>
                    <a:cubicBezTo>
                      <a:pt x="95" y="431"/>
                      <a:pt x="95" y="431"/>
                      <a:pt x="95" y="431"/>
                    </a:cubicBezTo>
                    <a:cubicBezTo>
                      <a:pt x="95" y="427"/>
                      <a:pt x="94" y="424"/>
                      <a:pt x="94" y="420"/>
                    </a:cubicBezTo>
                    <a:cubicBezTo>
                      <a:pt x="92" y="411"/>
                      <a:pt x="91" y="403"/>
                      <a:pt x="89" y="395"/>
                    </a:cubicBezTo>
                    <a:cubicBezTo>
                      <a:pt x="86" y="386"/>
                      <a:pt x="79" y="378"/>
                      <a:pt x="75" y="371"/>
                    </a:cubicBezTo>
                    <a:cubicBezTo>
                      <a:pt x="67" y="360"/>
                      <a:pt x="59" y="350"/>
                      <a:pt x="51" y="340"/>
                    </a:cubicBezTo>
                    <a:cubicBezTo>
                      <a:pt x="50" y="340"/>
                      <a:pt x="51" y="339"/>
                      <a:pt x="51" y="339"/>
                    </a:cubicBezTo>
                    <a:cubicBezTo>
                      <a:pt x="61" y="350"/>
                      <a:pt x="70" y="361"/>
                      <a:pt x="78" y="373"/>
                    </a:cubicBezTo>
                    <a:cubicBezTo>
                      <a:pt x="81" y="378"/>
                      <a:pt x="85" y="382"/>
                      <a:pt x="88" y="388"/>
                    </a:cubicBezTo>
                    <a:cubicBezTo>
                      <a:pt x="87" y="382"/>
                      <a:pt x="86" y="376"/>
                      <a:pt x="86" y="371"/>
                    </a:cubicBezTo>
                    <a:cubicBezTo>
                      <a:pt x="86" y="371"/>
                      <a:pt x="86" y="371"/>
                      <a:pt x="86" y="371"/>
                    </a:cubicBezTo>
                    <a:cubicBezTo>
                      <a:pt x="83" y="351"/>
                      <a:pt x="81" y="330"/>
                      <a:pt x="83" y="309"/>
                    </a:cubicBezTo>
                    <a:cubicBezTo>
                      <a:pt x="84" y="297"/>
                      <a:pt x="85" y="284"/>
                      <a:pt x="86" y="271"/>
                    </a:cubicBezTo>
                    <a:cubicBezTo>
                      <a:pt x="71" y="248"/>
                      <a:pt x="54" y="227"/>
                      <a:pt x="33" y="208"/>
                    </a:cubicBezTo>
                    <a:cubicBezTo>
                      <a:pt x="33" y="208"/>
                      <a:pt x="33" y="207"/>
                      <a:pt x="34" y="207"/>
                    </a:cubicBezTo>
                    <a:cubicBezTo>
                      <a:pt x="54" y="224"/>
                      <a:pt x="72" y="244"/>
                      <a:pt x="86" y="267"/>
                    </a:cubicBezTo>
                    <a:cubicBezTo>
                      <a:pt x="86" y="262"/>
                      <a:pt x="86" y="258"/>
                      <a:pt x="85" y="254"/>
                    </a:cubicBezTo>
                    <a:cubicBezTo>
                      <a:pt x="84" y="236"/>
                      <a:pt x="77" y="220"/>
                      <a:pt x="67" y="204"/>
                    </a:cubicBezTo>
                    <a:cubicBezTo>
                      <a:pt x="63" y="197"/>
                      <a:pt x="59" y="191"/>
                      <a:pt x="55" y="184"/>
                    </a:cubicBezTo>
                    <a:cubicBezTo>
                      <a:pt x="55" y="184"/>
                      <a:pt x="54" y="184"/>
                      <a:pt x="54" y="183"/>
                    </a:cubicBezTo>
                    <a:cubicBezTo>
                      <a:pt x="54" y="183"/>
                      <a:pt x="54" y="183"/>
                      <a:pt x="54" y="183"/>
                    </a:cubicBezTo>
                    <a:cubicBezTo>
                      <a:pt x="51" y="177"/>
                      <a:pt x="48" y="171"/>
                      <a:pt x="45" y="164"/>
                    </a:cubicBezTo>
                    <a:cubicBezTo>
                      <a:pt x="40" y="148"/>
                      <a:pt x="39" y="132"/>
                      <a:pt x="40" y="115"/>
                    </a:cubicBezTo>
                    <a:cubicBezTo>
                      <a:pt x="40" y="104"/>
                      <a:pt x="40" y="92"/>
                      <a:pt x="38" y="81"/>
                    </a:cubicBezTo>
                    <a:cubicBezTo>
                      <a:pt x="31" y="65"/>
                      <a:pt x="19" y="52"/>
                      <a:pt x="3" y="43"/>
                    </a:cubicBezTo>
                    <a:cubicBezTo>
                      <a:pt x="2" y="43"/>
                      <a:pt x="3" y="42"/>
                      <a:pt x="3" y="42"/>
                    </a:cubicBezTo>
                    <a:cubicBezTo>
                      <a:pt x="18" y="50"/>
                      <a:pt x="30" y="61"/>
                      <a:pt x="38" y="75"/>
                    </a:cubicBezTo>
                    <a:cubicBezTo>
                      <a:pt x="36" y="68"/>
                      <a:pt x="35" y="60"/>
                      <a:pt x="32" y="53"/>
                    </a:cubicBezTo>
                    <a:cubicBezTo>
                      <a:pt x="31" y="51"/>
                      <a:pt x="30" y="48"/>
                      <a:pt x="28" y="46"/>
                    </a:cubicBezTo>
                    <a:cubicBezTo>
                      <a:pt x="28" y="46"/>
                      <a:pt x="28" y="45"/>
                      <a:pt x="28" y="45"/>
                    </a:cubicBezTo>
                    <a:cubicBezTo>
                      <a:pt x="28" y="45"/>
                      <a:pt x="28" y="45"/>
                      <a:pt x="28" y="44"/>
                    </a:cubicBezTo>
                    <a:cubicBezTo>
                      <a:pt x="20" y="29"/>
                      <a:pt x="10" y="15"/>
                      <a:pt x="0" y="1"/>
                    </a:cubicBezTo>
                    <a:cubicBezTo>
                      <a:pt x="0" y="1"/>
                      <a:pt x="0" y="0"/>
                      <a:pt x="1" y="1"/>
                    </a:cubicBezTo>
                    <a:cubicBezTo>
                      <a:pt x="11" y="13"/>
                      <a:pt x="20" y="25"/>
                      <a:pt x="27" y="38"/>
                    </a:cubicBezTo>
                    <a:cubicBezTo>
                      <a:pt x="27" y="29"/>
                      <a:pt x="26" y="21"/>
                      <a:pt x="24" y="12"/>
                    </a:cubicBezTo>
                    <a:cubicBezTo>
                      <a:pt x="24" y="12"/>
                      <a:pt x="24" y="12"/>
                      <a:pt x="24" y="12"/>
                    </a:cubicBezTo>
                    <a:cubicBezTo>
                      <a:pt x="26" y="21"/>
                      <a:pt x="28" y="32"/>
                      <a:pt x="29" y="42"/>
                    </a:cubicBezTo>
                    <a:cubicBezTo>
                      <a:pt x="36" y="55"/>
                      <a:pt x="41" y="70"/>
                      <a:pt x="43" y="87"/>
                    </a:cubicBezTo>
                    <a:cubicBezTo>
                      <a:pt x="44" y="107"/>
                      <a:pt x="42" y="127"/>
                      <a:pt x="45" y="146"/>
                    </a:cubicBezTo>
                    <a:cubicBezTo>
                      <a:pt x="47" y="157"/>
                      <a:pt x="50" y="166"/>
                      <a:pt x="55" y="175"/>
                    </a:cubicBezTo>
                    <a:cubicBezTo>
                      <a:pt x="56" y="157"/>
                      <a:pt x="58" y="139"/>
                      <a:pt x="63" y="121"/>
                    </a:cubicBezTo>
                    <a:cubicBezTo>
                      <a:pt x="63" y="121"/>
                      <a:pt x="64" y="121"/>
                      <a:pt x="64" y="122"/>
                    </a:cubicBezTo>
                    <a:cubicBezTo>
                      <a:pt x="60" y="140"/>
                      <a:pt x="57" y="159"/>
                      <a:pt x="57" y="178"/>
                    </a:cubicBezTo>
                    <a:cubicBezTo>
                      <a:pt x="60" y="185"/>
                      <a:pt x="64" y="191"/>
                      <a:pt x="68" y="197"/>
                    </a:cubicBezTo>
                    <a:cubicBezTo>
                      <a:pt x="76" y="211"/>
                      <a:pt x="85" y="225"/>
                      <a:pt x="88" y="241"/>
                    </a:cubicBezTo>
                    <a:cubicBezTo>
                      <a:pt x="91" y="259"/>
                      <a:pt x="90" y="277"/>
                      <a:pt x="89" y="295"/>
                    </a:cubicBezTo>
                    <a:cubicBezTo>
                      <a:pt x="87" y="316"/>
                      <a:pt x="86" y="336"/>
                      <a:pt x="88" y="357"/>
                    </a:cubicBezTo>
                    <a:cubicBezTo>
                      <a:pt x="88" y="358"/>
                      <a:pt x="89" y="360"/>
                      <a:pt x="89" y="361"/>
                    </a:cubicBezTo>
                    <a:cubicBezTo>
                      <a:pt x="91" y="355"/>
                      <a:pt x="94" y="349"/>
                      <a:pt x="98" y="343"/>
                    </a:cubicBezTo>
                    <a:cubicBezTo>
                      <a:pt x="104" y="333"/>
                      <a:pt x="115" y="326"/>
                      <a:pt x="117" y="314"/>
                    </a:cubicBezTo>
                    <a:cubicBezTo>
                      <a:pt x="118" y="314"/>
                      <a:pt x="118" y="314"/>
                      <a:pt x="118" y="314"/>
                    </a:cubicBezTo>
                    <a:cubicBezTo>
                      <a:pt x="116" y="324"/>
                      <a:pt x="109" y="331"/>
                      <a:pt x="103" y="338"/>
                    </a:cubicBezTo>
                    <a:cubicBezTo>
                      <a:pt x="97" y="347"/>
                      <a:pt x="92" y="356"/>
                      <a:pt x="89" y="366"/>
                    </a:cubicBezTo>
                    <a:close/>
                  </a:path>
                </a:pathLst>
              </a:custGeom>
              <a:solidFill>
                <a:srgbClr val="23449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23" name="î$ľiḋe">
                <a:extLst>
                  <a:ext uri="{FF2B5EF4-FFF2-40B4-BE49-F238E27FC236}">
                    <a16:creationId xmlns:a16="http://schemas.microsoft.com/office/drawing/2014/main" id="{10E978CF-B685-4915-A1BA-953D424276F1}"/>
                  </a:ext>
                </a:extLst>
              </p:cNvPr>
              <p:cNvSpPr/>
              <p:nvPr/>
            </p:nvSpPr>
            <p:spPr bwMode="auto">
              <a:xfrm>
                <a:off x="3779838" y="4310063"/>
                <a:ext cx="393700" cy="1069975"/>
              </a:xfrm>
              <a:custGeom>
                <a:avLst/>
                <a:gdLst>
                  <a:gd name="T0" fmla="*/ 114 w 133"/>
                  <a:gd name="T1" fmla="*/ 245 h 362"/>
                  <a:gd name="T2" fmla="*/ 122 w 133"/>
                  <a:gd name="T3" fmla="*/ 302 h 362"/>
                  <a:gd name="T4" fmla="*/ 88 w 133"/>
                  <a:gd name="T5" fmla="*/ 349 h 362"/>
                  <a:gd name="T6" fmla="*/ 75 w 133"/>
                  <a:gd name="T7" fmla="*/ 362 h 362"/>
                  <a:gd name="T8" fmla="*/ 25 w 133"/>
                  <a:gd name="T9" fmla="*/ 362 h 362"/>
                  <a:gd name="T10" fmla="*/ 22 w 133"/>
                  <a:gd name="T11" fmla="*/ 337 h 362"/>
                  <a:gd name="T12" fmla="*/ 5 w 133"/>
                  <a:gd name="T13" fmla="*/ 303 h 362"/>
                  <a:gd name="T14" fmla="*/ 26 w 133"/>
                  <a:gd name="T15" fmla="*/ 256 h 362"/>
                  <a:gd name="T16" fmla="*/ 26 w 133"/>
                  <a:gd name="T17" fmla="*/ 225 h 362"/>
                  <a:gd name="T18" fmla="*/ 12 w 133"/>
                  <a:gd name="T19" fmla="*/ 207 h 362"/>
                  <a:gd name="T20" fmla="*/ 18 w 133"/>
                  <a:gd name="T21" fmla="*/ 158 h 362"/>
                  <a:gd name="T22" fmla="*/ 35 w 133"/>
                  <a:gd name="T23" fmla="*/ 127 h 362"/>
                  <a:gd name="T24" fmla="*/ 25 w 133"/>
                  <a:gd name="T25" fmla="*/ 70 h 362"/>
                  <a:gd name="T26" fmla="*/ 37 w 133"/>
                  <a:gd name="T27" fmla="*/ 20 h 362"/>
                  <a:gd name="T28" fmla="*/ 43 w 133"/>
                  <a:gd name="T29" fmla="*/ 17 h 362"/>
                  <a:gd name="T30" fmla="*/ 111 w 133"/>
                  <a:gd name="T31" fmla="*/ 68 h 362"/>
                  <a:gd name="T32" fmla="*/ 108 w 133"/>
                  <a:gd name="T33" fmla="*/ 101 h 362"/>
                  <a:gd name="T34" fmla="*/ 133 w 133"/>
                  <a:gd name="T35" fmla="*/ 166 h 362"/>
                  <a:gd name="T36" fmla="*/ 114 w 133"/>
                  <a:gd name="T37" fmla="*/ 24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362">
                    <a:moveTo>
                      <a:pt x="114" y="245"/>
                    </a:moveTo>
                    <a:cubicBezTo>
                      <a:pt x="118" y="263"/>
                      <a:pt x="126" y="283"/>
                      <a:pt x="122" y="302"/>
                    </a:cubicBezTo>
                    <a:cubicBezTo>
                      <a:pt x="118" y="321"/>
                      <a:pt x="105" y="339"/>
                      <a:pt x="88" y="349"/>
                    </a:cubicBezTo>
                    <a:cubicBezTo>
                      <a:pt x="84" y="351"/>
                      <a:pt x="79" y="356"/>
                      <a:pt x="75" y="362"/>
                    </a:cubicBezTo>
                    <a:cubicBezTo>
                      <a:pt x="25" y="362"/>
                      <a:pt x="25" y="362"/>
                      <a:pt x="25" y="362"/>
                    </a:cubicBezTo>
                    <a:cubicBezTo>
                      <a:pt x="25" y="355"/>
                      <a:pt x="23" y="339"/>
                      <a:pt x="22" y="337"/>
                    </a:cubicBezTo>
                    <a:cubicBezTo>
                      <a:pt x="18" y="325"/>
                      <a:pt x="8" y="315"/>
                      <a:pt x="5" y="303"/>
                    </a:cubicBezTo>
                    <a:cubicBezTo>
                      <a:pt x="0" y="282"/>
                      <a:pt x="14" y="270"/>
                      <a:pt x="26" y="256"/>
                    </a:cubicBezTo>
                    <a:cubicBezTo>
                      <a:pt x="34" y="246"/>
                      <a:pt x="33" y="235"/>
                      <a:pt x="26" y="225"/>
                    </a:cubicBezTo>
                    <a:cubicBezTo>
                      <a:pt x="21" y="219"/>
                      <a:pt x="16" y="214"/>
                      <a:pt x="12" y="207"/>
                    </a:cubicBezTo>
                    <a:cubicBezTo>
                      <a:pt x="3" y="191"/>
                      <a:pt x="9" y="173"/>
                      <a:pt x="18" y="158"/>
                    </a:cubicBezTo>
                    <a:cubicBezTo>
                      <a:pt x="24" y="148"/>
                      <a:pt x="31" y="138"/>
                      <a:pt x="35" y="127"/>
                    </a:cubicBezTo>
                    <a:cubicBezTo>
                      <a:pt x="41" y="106"/>
                      <a:pt x="32" y="89"/>
                      <a:pt x="25" y="70"/>
                    </a:cubicBezTo>
                    <a:cubicBezTo>
                      <a:pt x="19" y="51"/>
                      <a:pt x="19" y="33"/>
                      <a:pt x="37" y="20"/>
                    </a:cubicBezTo>
                    <a:cubicBezTo>
                      <a:pt x="39" y="19"/>
                      <a:pt x="40" y="18"/>
                      <a:pt x="43" y="17"/>
                    </a:cubicBezTo>
                    <a:cubicBezTo>
                      <a:pt x="76" y="0"/>
                      <a:pt x="112" y="35"/>
                      <a:pt x="111" y="68"/>
                    </a:cubicBezTo>
                    <a:cubicBezTo>
                      <a:pt x="111" y="79"/>
                      <a:pt x="108" y="90"/>
                      <a:pt x="108" y="101"/>
                    </a:cubicBezTo>
                    <a:cubicBezTo>
                      <a:pt x="108" y="127"/>
                      <a:pt x="132" y="141"/>
                      <a:pt x="133" y="166"/>
                    </a:cubicBezTo>
                    <a:cubicBezTo>
                      <a:pt x="133" y="194"/>
                      <a:pt x="109" y="216"/>
                      <a:pt x="114" y="245"/>
                    </a:cubicBezTo>
                    <a:close/>
                  </a:path>
                </a:pathLst>
              </a:custGeom>
              <a:solidFill>
                <a:srgbClr val="EB628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24" name="íŝļïḑé">
                <a:extLst>
                  <a:ext uri="{FF2B5EF4-FFF2-40B4-BE49-F238E27FC236}">
                    <a16:creationId xmlns:a16="http://schemas.microsoft.com/office/drawing/2014/main" id="{CA49392F-C976-413C-BFF3-50573B7CD834}"/>
                  </a:ext>
                </a:extLst>
              </p:cNvPr>
              <p:cNvSpPr/>
              <p:nvPr/>
            </p:nvSpPr>
            <p:spPr bwMode="auto">
              <a:xfrm>
                <a:off x="3878263" y="4410076"/>
                <a:ext cx="161925" cy="969963"/>
              </a:xfrm>
              <a:custGeom>
                <a:avLst/>
                <a:gdLst>
                  <a:gd name="T0" fmla="*/ 40 w 55"/>
                  <a:gd name="T1" fmla="*/ 268 h 328"/>
                  <a:gd name="T2" fmla="*/ 24 w 55"/>
                  <a:gd name="T3" fmla="*/ 285 h 328"/>
                  <a:gd name="T4" fmla="*/ 21 w 55"/>
                  <a:gd name="T5" fmla="*/ 325 h 328"/>
                  <a:gd name="T6" fmla="*/ 21 w 55"/>
                  <a:gd name="T7" fmla="*/ 328 h 328"/>
                  <a:gd name="T8" fmla="*/ 17 w 55"/>
                  <a:gd name="T9" fmla="*/ 328 h 328"/>
                  <a:gd name="T10" fmla="*/ 17 w 55"/>
                  <a:gd name="T11" fmla="*/ 326 h 328"/>
                  <a:gd name="T12" fmla="*/ 19 w 55"/>
                  <a:gd name="T13" fmla="*/ 307 h 328"/>
                  <a:gd name="T14" fmla="*/ 12 w 55"/>
                  <a:gd name="T15" fmla="*/ 287 h 328"/>
                  <a:gd name="T16" fmla="*/ 1 w 55"/>
                  <a:gd name="T17" fmla="*/ 259 h 328"/>
                  <a:gd name="T18" fmla="*/ 1 w 55"/>
                  <a:gd name="T19" fmla="*/ 259 h 328"/>
                  <a:gd name="T20" fmla="*/ 15 w 55"/>
                  <a:gd name="T21" fmla="*/ 289 h 328"/>
                  <a:gd name="T22" fmla="*/ 19 w 55"/>
                  <a:gd name="T23" fmla="*/ 301 h 328"/>
                  <a:gd name="T24" fmla="*/ 21 w 55"/>
                  <a:gd name="T25" fmla="*/ 288 h 328"/>
                  <a:gd name="T26" fmla="*/ 21 w 55"/>
                  <a:gd name="T27" fmla="*/ 288 h 328"/>
                  <a:gd name="T28" fmla="*/ 30 w 55"/>
                  <a:gd name="T29" fmla="*/ 243 h 328"/>
                  <a:gd name="T30" fmla="*/ 40 w 55"/>
                  <a:gd name="T31" fmla="*/ 215 h 328"/>
                  <a:gd name="T32" fmla="*/ 13 w 55"/>
                  <a:gd name="T33" fmla="*/ 159 h 328"/>
                  <a:gd name="T34" fmla="*/ 14 w 55"/>
                  <a:gd name="T35" fmla="*/ 158 h 328"/>
                  <a:gd name="T36" fmla="*/ 41 w 55"/>
                  <a:gd name="T37" fmla="*/ 212 h 328"/>
                  <a:gd name="T38" fmla="*/ 43 w 55"/>
                  <a:gd name="T39" fmla="*/ 202 h 328"/>
                  <a:gd name="T40" fmla="*/ 39 w 55"/>
                  <a:gd name="T41" fmla="*/ 162 h 328"/>
                  <a:gd name="T42" fmla="*/ 34 w 55"/>
                  <a:gd name="T43" fmla="*/ 145 h 328"/>
                  <a:gd name="T44" fmla="*/ 34 w 55"/>
                  <a:gd name="T45" fmla="*/ 145 h 328"/>
                  <a:gd name="T46" fmla="*/ 34 w 55"/>
                  <a:gd name="T47" fmla="*/ 144 h 328"/>
                  <a:gd name="T48" fmla="*/ 31 w 55"/>
                  <a:gd name="T49" fmla="*/ 129 h 328"/>
                  <a:gd name="T50" fmla="*/ 36 w 55"/>
                  <a:gd name="T51" fmla="*/ 92 h 328"/>
                  <a:gd name="T52" fmla="*/ 41 w 55"/>
                  <a:gd name="T53" fmla="*/ 67 h 328"/>
                  <a:gd name="T54" fmla="*/ 23 w 55"/>
                  <a:gd name="T55" fmla="*/ 32 h 328"/>
                  <a:gd name="T56" fmla="*/ 23 w 55"/>
                  <a:gd name="T57" fmla="*/ 31 h 328"/>
                  <a:gd name="T58" fmla="*/ 42 w 55"/>
                  <a:gd name="T59" fmla="*/ 62 h 328"/>
                  <a:gd name="T60" fmla="*/ 42 w 55"/>
                  <a:gd name="T61" fmla="*/ 45 h 328"/>
                  <a:gd name="T62" fmla="*/ 41 w 55"/>
                  <a:gd name="T63" fmla="*/ 39 h 328"/>
                  <a:gd name="T64" fmla="*/ 41 w 55"/>
                  <a:gd name="T65" fmla="*/ 38 h 328"/>
                  <a:gd name="T66" fmla="*/ 41 w 55"/>
                  <a:gd name="T67" fmla="*/ 37 h 328"/>
                  <a:gd name="T68" fmla="*/ 29 w 55"/>
                  <a:gd name="T69" fmla="*/ 1 h 328"/>
                  <a:gd name="T70" fmla="*/ 29 w 55"/>
                  <a:gd name="T71" fmla="*/ 0 h 328"/>
                  <a:gd name="T72" fmla="*/ 41 w 55"/>
                  <a:gd name="T73" fmla="*/ 33 h 328"/>
                  <a:gd name="T74" fmla="*/ 44 w 55"/>
                  <a:gd name="T75" fmla="*/ 13 h 328"/>
                  <a:gd name="T76" fmla="*/ 44 w 55"/>
                  <a:gd name="T77" fmla="*/ 13 h 328"/>
                  <a:gd name="T78" fmla="*/ 42 w 55"/>
                  <a:gd name="T79" fmla="*/ 36 h 328"/>
                  <a:gd name="T80" fmla="*/ 44 w 55"/>
                  <a:gd name="T81" fmla="*/ 72 h 328"/>
                  <a:gd name="T82" fmla="*/ 34 w 55"/>
                  <a:gd name="T83" fmla="*/ 116 h 328"/>
                  <a:gd name="T84" fmla="*/ 36 w 55"/>
                  <a:gd name="T85" fmla="*/ 138 h 328"/>
                  <a:gd name="T86" fmla="*/ 52 w 55"/>
                  <a:gd name="T87" fmla="*/ 101 h 328"/>
                  <a:gd name="T88" fmla="*/ 53 w 55"/>
                  <a:gd name="T89" fmla="*/ 101 h 328"/>
                  <a:gd name="T90" fmla="*/ 36 w 55"/>
                  <a:gd name="T91" fmla="*/ 141 h 328"/>
                  <a:gd name="T92" fmla="*/ 41 w 55"/>
                  <a:gd name="T93" fmla="*/ 157 h 328"/>
                  <a:gd name="T94" fmla="*/ 47 w 55"/>
                  <a:gd name="T95" fmla="*/ 193 h 328"/>
                  <a:gd name="T96" fmla="*/ 37 w 55"/>
                  <a:gd name="T97" fmla="*/ 233 h 328"/>
                  <a:gd name="T98" fmla="*/ 25 w 55"/>
                  <a:gd name="T99" fmla="*/ 279 h 328"/>
                  <a:gd name="T100" fmla="*/ 25 w 55"/>
                  <a:gd name="T101" fmla="*/ 282 h 328"/>
                  <a:gd name="T102" fmla="*/ 35 w 55"/>
                  <a:gd name="T103" fmla="*/ 270 h 328"/>
                  <a:gd name="T104" fmla="*/ 55 w 55"/>
                  <a:gd name="T105" fmla="*/ 253 h 328"/>
                  <a:gd name="T106" fmla="*/ 55 w 55"/>
                  <a:gd name="T107" fmla="*/ 253 h 328"/>
                  <a:gd name="T108" fmla="*/ 40 w 55"/>
                  <a:gd name="T109" fmla="*/ 26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 h="328">
                    <a:moveTo>
                      <a:pt x="40" y="268"/>
                    </a:moveTo>
                    <a:cubicBezTo>
                      <a:pt x="33" y="273"/>
                      <a:pt x="28" y="279"/>
                      <a:pt x="24" y="285"/>
                    </a:cubicBezTo>
                    <a:cubicBezTo>
                      <a:pt x="23" y="298"/>
                      <a:pt x="22" y="312"/>
                      <a:pt x="21" y="325"/>
                    </a:cubicBezTo>
                    <a:cubicBezTo>
                      <a:pt x="21" y="326"/>
                      <a:pt x="21" y="327"/>
                      <a:pt x="21" y="328"/>
                    </a:cubicBezTo>
                    <a:cubicBezTo>
                      <a:pt x="17" y="328"/>
                      <a:pt x="17" y="328"/>
                      <a:pt x="17" y="328"/>
                    </a:cubicBezTo>
                    <a:cubicBezTo>
                      <a:pt x="17" y="327"/>
                      <a:pt x="17" y="327"/>
                      <a:pt x="17" y="326"/>
                    </a:cubicBezTo>
                    <a:cubicBezTo>
                      <a:pt x="18" y="319"/>
                      <a:pt x="18" y="313"/>
                      <a:pt x="19" y="307"/>
                    </a:cubicBezTo>
                    <a:cubicBezTo>
                      <a:pt x="18" y="300"/>
                      <a:pt x="14" y="292"/>
                      <a:pt x="12" y="287"/>
                    </a:cubicBezTo>
                    <a:cubicBezTo>
                      <a:pt x="9" y="277"/>
                      <a:pt x="5" y="268"/>
                      <a:pt x="1" y="259"/>
                    </a:cubicBezTo>
                    <a:cubicBezTo>
                      <a:pt x="0" y="259"/>
                      <a:pt x="1" y="258"/>
                      <a:pt x="1" y="259"/>
                    </a:cubicBezTo>
                    <a:cubicBezTo>
                      <a:pt x="7" y="268"/>
                      <a:pt x="11" y="278"/>
                      <a:pt x="15" y="289"/>
                    </a:cubicBezTo>
                    <a:cubicBezTo>
                      <a:pt x="16" y="293"/>
                      <a:pt x="18" y="297"/>
                      <a:pt x="19" y="301"/>
                    </a:cubicBezTo>
                    <a:cubicBezTo>
                      <a:pt x="20" y="297"/>
                      <a:pt x="20" y="293"/>
                      <a:pt x="21" y="288"/>
                    </a:cubicBezTo>
                    <a:cubicBezTo>
                      <a:pt x="21" y="288"/>
                      <a:pt x="21" y="288"/>
                      <a:pt x="21" y="288"/>
                    </a:cubicBezTo>
                    <a:cubicBezTo>
                      <a:pt x="22" y="273"/>
                      <a:pt x="25" y="258"/>
                      <a:pt x="30" y="243"/>
                    </a:cubicBezTo>
                    <a:cubicBezTo>
                      <a:pt x="33" y="234"/>
                      <a:pt x="37" y="225"/>
                      <a:pt x="40" y="215"/>
                    </a:cubicBezTo>
                    <a:cubicBezTo>
                      <a:pt x="34" y="195"/>
                      <a:pt x="25" y="176"/>
                      <a:pt x="13" y="159"/>
                    </a:cubicBezTo>
                    <a:cubicBezTo>
                      <a:pt x="13" y="158"/>
                      <a:pt x="14" y="158"/>
                      <a:pt x="14" y="158"/>
                    </a:cubicBezTo>
                    <a:cubicBezTo>
                      <a:pt x="26" y="175"/>
                      <a:pt x="35" y="193"/>
                      <a:pt x="41" y="212"/>
                    </a:cubicBezTo>
                    <a:cubicBezTo>
                      <a:pt x="41" y="209"/>
                      <a:pt x="42" y="206"/>
                      <a:pt x="43" y="202"/>
                    </a:cubicBezTo>
                    <a:cubicBezTo>
                      <a:pt x="45" y="189"/>
                      <a:pt x="43" y="176"/>
                      <a:pt x="39" y="162"/>
                    </a:cubicBezTo>
                    <a:cubicBezTo>
                      <a:pt x="37" y="157"/>
                      <a:pt x="36" y="151"/>
                      <a:pt x="34" y="145"/>
                    </a:cubicBezTo>
                    <a:cubicBezTo>
                      <a:pt x="34" y="145"/>
                      <a:pt x="34" y="145"/>
                      <a:pt x="34" y="145"/>
                    </a:cubicBezTo>
                    <a:cubicBezTo>
                      <a:pt x="34" y="144"/>
                      <a:pt x="34" y="144"/>
                      <a:pt x="34" y="144"/>
                    </a:cubicBezTo>
                    <a:cubicBezTo>
                      <a:pt x="32" y="139"/>
                      <a:pt x="31" y="134"/>
                      <a:pt x="31" y="129"/>
                    </a:cubicBezTo>
                    <a:cubicBezTo>
                      <a:pt x="30" y="116"/>
                      <a:pt x="33" y="104"/>
                      <a:pt x="36" y="92"/>
                    </a:cubicBezTo>
                    <a:cubicBezTo>
                      <a:pt x="38" y="83"/>
                      <a:pt x="40" y="75"/>
                      <a:pt x="41" y="67"/>
                    </a:cubicBezTo>
                    <a:cubicBezTo>
                      <a:pt x="39" y="53"/>
                      <a:pt x="33" y="41"/>
                      <a:pt x="23" y="32"/>
                    </a:cubicBezTo>
                    <a:cubicBezTo>
                      <a:pt x="22" y="31"/>
                      <a:pt x="23" y="31"/>
                      <a:pt x="23" y="31"/>
                    </a:cubicBezTo>
                    <a:cubicBezTo>
                      <a:pt x="32" y="40"/>
                      <a:pt x="39" y="50"/>
                      <a:pt x="42" y="62"/>
                    </a:cubicBezTo>
                    <a:cubicBezTo>
                      <a:pt x="43" y="56"/>
                      <a:pt x="43" y="51"/>
                      <a:pt x="42" y="45"/>
                    </a:cubicBezTo>
                    <a:cubicBezTo>
                      <a:pt x="42" y="43"/>
                      <a:pt x="41" y="41"/>
                      <a:pt x="41" y="39"/>
                    </a:cubicBezTo>
                    <a:cubicBezTo>
                      <a:pt x="41" y="38"/>
                      <a:pt x="41" y="38"/>
                      <a:pt x="41" y="38"/>
                    </a:cubicBezTo>
                    <a:cubicBezTo>
                      <a:pt x="41" y="38"/>
                      <a:pt x="41" y="38"/>
                      <a:pt x="41" y="37"/>
                    </a:cubicBezTo>
                    <a:cubicBezTo>
                      <a:pt x="38" y="25"/>
                      <a:pt x="33" y="12"/>
                      <a:pt x="29" y="1"/>
                    </a:cubicBezTo>
                    <a:cubicBezTo>
                      <a:pt x="28" y="0"/>
                      <a:pt x="29" y="0"/>
                      <a:pt x="29" y="0"/>
                    </a:cubicBezTo>
                    <a:cubicBezTo>
                      <a:pt x="34" y="11"/>
                      <a:pt x="39" y="22"/>
                      <a:pt x="41" y="33"/>
                    </a:cubicBezTo>
                    <a:cubicBezTo>
                      <a:pt x="43" y="26"/>
                      <a:pt x="44" y="20"/>
                      <a:pt x="44" y="13"/>
                    </a:cubicBezTo>
                    <a:cubicBezTo>
                      <a:pt x="44" y="13"/>
                      <a:pt x="44" y="13"/>
                      <a:pt x="44" y="13"/>
                    </a:cubicBezTo>
                    <a:cubicBezTo>
                      <a:pt x="44" y="20"/>
                      <a:pt x="44" y="28"/>
                      <a:pt x="42" y="36"/>
                    </a:cubicBezTo>
                    <a:cubicBezTo>
                      <a:pt x="45" y="47"/>
                      <a:pt x="46" y="59"/>
                      <a:pt x="44" y="72"/>
                    </a:cubicBezTo>
                    <a:cubicBezTo>
                      <a:pt x="41" y="86"/>
                      <a:pt x="35" y="101"/>
                      <a:pt x="34" y="116"/>
                    </a:cubicBezTo>
                    <a:cubicBezTo>
                      <a:pt x="33" y="123"/>
                      <a:pt x="34" y="131"/>
                      <a:pt x="36" y="138"/>
                    </a:cubicBezTo>
                    <a:cubicBezTo>
                      <a:pt x="40" y="125"/>
                      <a:pt x="45" y="113"/>
                      <a:pt x="52" y="101"/>
                    </a:cubicBezTo>
                    <a:cubicBezTo>
                      <a:pt x="52" y="100"/>
                      <a:pt x="53" y="101"/>
                      <a:pt x="53" y="101"/>
                    </a:cubicBezTo>
                    <a:cubicBezTo>
                      <a:pt x="46" y="114"/>
                      <a:pt x="40" y="127"/>
                      <a:pt x="36" y="141"/>
                    </a:cubicBezTo>
                    <a:cubicBezTo>
                      <a:pt x="37" y="147"/>
                      <a:pt x="39" y="152"/>
                      <a:pt x="41" y="157"/>
                    </a:cubicBezTo>
                    <a:cubicBezTo>
                      <a:pt x="45" y="169"/>
                      <a:pt x="48" y="181"/>
                      <a:pt x="47" y="193"/>
                    </a:cubicBezTo>
                    <a:cubicBezTo>
                      <a:pt x="46" y="207"/>
                      <a:pt x="42" y="220"/>
                      <a:pt x="37" y="233"/>
                    </a:cubicBezTo>
                    <a:cubicBezTo>
                      <a:pt x="32" y="248"/>
                      <a:pt x="27" y="263"/>
                      <a:pt x="25" y="279"/>
                    </a:cubicBezTo>
                    <a:cubicBezTo>
                      <a:pt x="25" y="280"/>
                      <a:pt x="25" y="281"/>
                      <a:pt x="25" y="282"/>
                    </a:cubicBezTo>
                    <a:cubicBezTo>
                      <a:pt x="28" y="278"/>
                      <a:pt x="31" y="274"/>
                      <a:pt x="35" y="270"/>
                    </a:cubicBezTo>
                    <a:cubicBezTo>
                      <a:pt x="42" y="264"/>
                      <a:pt x="51" y="261"/>
                      <a:pt x="55" y="253"/>
                    </a:cubicBezTo>
                    <a:cubicBezTo>
                      <a:pt x="55" y="252"/>
                      <a:pt x="55" y="253"/>
                      <a:pt x="55" y="253"/>
                    </a:cubicBezTo>
                    <a:cubicBezTo>
                      <a:pt x="52" y="260"/>
                      <a:pt x="45" y="263"/>
                      <a:pt x="40" y="268"/>
                    </a:cubicBezTo>
                    <a:close/>
                  </a:path>
                </a:pathLst>
              </a:custGeom>
              <a:solidFill>
                <a:srgbClr val="E8466C"/>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25" name="îṥ1íde">
                <a:extLst>
                  <a:ext uri="{FF2B5EF4-FFF2-40B4-BE49-F238E27FC236}">
                    <a16:creationId xmlns:a16="http://schemas.microsoft.com/office/drawing/2014/main" id="{21B662B8-D6B6-47A3-850A-37FB907187E0}"/>
                  </a:ext>
                </a:extLst>
              </p:cNvPr>
              <p:cNvSpPr/>
              <p:nvPr/>
            </p:nvSpPr>
            <p:spPr bwMode="auto">
              <a:xfrm>
                <a:off x="7572375" y="4516438"/>
                <a:ext cx="401638" cy="863600"/>
              </a:xfrm>
              <a:custGeom>
                <a:avLst/>
                <a:gdLst>
                  <a:gd name="T0" fmla="*/ 29 w 136"/>
                  <a:gd name="T1" fmla="*/ 292 h 292"/>
                  <a:gd name="T2" fmla="*/ 65 w 136"/>
                  <a:gd name="T3" fmla="*/ 292 h 292"/>
                  <a:gd name="T4" fmla="*/ 72 w 136"/>
                  <a:gd name="T5" fmla="*/ 273 h 292"/>
                  <a:gd name="T6" fmla="*/ 92 w 136"/>
                  <a:gd name="T7" fmla="*/ 250 h 292"/>
                  <a:gd name="T8" fmla="*/ 85 w 136"/>
                  <a:gd name="T9" fmla="*/ 209 h 292"/>
                  <a:gd name="T10" fmla="*/ 92 w 136"/>
                  <a:gd name="T11" fmla="*/ 185 h 292"/>
                  <a:gd name="T12" fmla="*/ 106 w 136"/>
                  <a:gd name="T13" fmla="*/ 174 h 292"/>
                  <a:gd name="T14" fmla="*/ 111 w 136"/>
                  <a:gd name="T15" fmla="*/ 134 h 292"/>
                  <a:gd name="T16" fmla="*/ 105 w 136"/>
                  <a:gd name="T17" fmla="*/ 106 h 292"/>
                  <a:gd name="T18" fmla="*/ 124 w 136"/>
                  <a:gd name="T19" fmla="*/ 64 h 292"/>
                  <a:gd name="T20" fmla="*/ 125 w 136"/>
                  <a:gd name="T21" fmla="*/ 23 h 292"/>
                  <a:gd name="T22" fmla="*/ 121 w 136"/>
                  <a:gd name="T23" fmla="*/ 19 h 292"/>
                  <a:gd name="T24" fmla="*/ 57 w 136"/>
                  <a:gd name="T25" fmla="*/ 45 h 292"/>
                  <a:gd name="T26" fmla="*/ 53 w 136"/>
                  <a:gd name="T27" fmla="*/ 72 h 292"/>
                  <a:gd name="T28" fmla="*/ 20 w 136"/>
                  <a:gd name="T29" fmla="*/ 118 h 292"/>
                  <a:gd name="T30" fmla="*/ 19 w 136"/>
                  <a:gd name="T31" fmla="*/ 182 h 292"/>
                  <a:gd name="T32" fmla="*/ 1 w 136"/>
                  <a:gd name="T33" fmla="*/ 226 h 292"/>
                  <a:gd name="T34" fmla="*/ 18 w 136"/>
                  <a:gd name="T35" fmla="*/ 269 h 292"/>
                  <a:gd name="T36" fmla="*/ 29 w 136"/>
                  <a:gd name="T37" fmla="*/ 2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6" h="292">
                    <a:moveTo>
                      <a:pt x="29" y="292"/>
                    </a:moveTo>
                    <a:cubicBezTo>
                      <a:pt x="65" y="292"/>
                      <a:pt x="65" y="292"/>
                      <a:pt x="65" y="292"/>
                    </a:cubicBezTo>
                    <a:cubicBezTo>
                      <a:pt x="66" y="286"/>
                      <a:pt x="71" y="274"/>
                      <a:pt x="72" y="273"/>
                    </a:cubicBezTo>
                    <a:cubicBezTo>
                      <a:pt x="78" y="265"/>
                      <a:pt x="87" y="259"/>
                      <a:pt x="92" y="250"/>
                    </a:cubicBezTo>
                    <a:cubicBezTo>
                      <a:pt x="100" y="234"/>
                      <a:pt x="92" y="223"/>
                      <a:pt x="85" y="209"/>
                    </a:cubicBezTo>
                    <a:cubicBezTo>
                      <a:pt x="81" y="200"/>
                      <a:pt x="84" y="192"/>
                      <a:pt x="92" y="185"/>
                    </a:cubicBezTo>
                    <a:cubicBezTo>
                      <a:pt x="96" y="181"/>
                      <a:pt x="102" y="178"/>
                      <a:pt x="106" y="174"/>
                    </a:cubicBezTo>
                    <a:cubicBezTo>
                      <a:pt x="116" y="163"/>
                      <a:pt x="115" y="148"/>
                      <a:pt x="111" y="134"/>
                    </a:cubicBezTo>
                    <a:cubicBezTo>
                      <a:pt x="109" y="125"/>
                      <a:pt x="105" y="116"/>
                      <a:pt x="105" y="106"/>
                    </a:cubicBezTo>
                    <a:cubicBezTo>
                      <a:pt x="104" y="89"/>
                      <a:pt x="115" y="78"/>
                      <a:pt x="124" y="64"/>
                    </a:cubicBezTo>
                    <a:cubicBezTo>
                      <a:pt x="132" y="51"/>
                      <a:pt x="136" y="37"/>
                      <a:pt x="125" y="23"/>
                    </a:cubicBezTo>
                    <a:cubicBezTo>
                      <a:pt x="124" y="22"/>
                      <a:pt x="122" y="20"/>
                      <a:pt x="121" y="19"/>
                    </a:cubicBezTo>
                    <a:cubicBezTo>
                      <a:pt x="99" y="0"/>
                      <a:pt x="64" y="19"/>
                      <a:pt x="57" y="45"/>
                    </a:cubicBezTo>
                    <a:cubicBezTo>
                      <a:pt x="55" y="54"/>
                      <a:pt x="55" y="63"/>
                      <a:pt x="53" y="72"/>
                    </a:cubicBezTo>
                    <a:cubicBezTo>
                      <a:pt x="48" y="92"/>
                      <a:pt x="26" y="98"/>
                      <a:pt x="20" y="118"/>
                    </a:cubicBezTo>
                    <a:cubicBezTo>
                      <a:pt x="14" y="139"/>
                      <a:pt x="29" y="161"/>
                      <a:pt x="19" y="182"/>
                    </a:cubicBezTo>
                    <a:cubicBezTo>
                      <a:pt x="12" y="196"/>
                      <a:pt x="2" y="210"/>
                      <a:pt x="1" y="226"/>
                    </a:cubicBezTo>
                    <a:cubicBezTo>
                      <a:pt x="0" y="241"/>
                      <a:pt x="7" y="257"/>
                      <a:pt x="18" y="269"/>
                    </a:cubicBezTo>
                    <a:cubicBezTo>
                      <a:pt x="22" y="273"/>
                      <a:pt x="28" y="284"/>
                      <a:pt x="29" y="292"/>
                    </a:cubicBezTo>
                    <a:close/>
                  </a:path>
                </a:pathLst>
              </a:custGeom>
              <a:solidFill>
                <a:srgbClr val="4A64A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26" name="îşļíḓe">
                <a:extLst>
                  <a:ext uri="{FF2B5EF4-FFF2-40B4-BE49-F238E27FC236}">
                    <a16:creationId xmlns:a16="http://schemas.microsoft.com/office/drawing/2014/main" id="{4C9F4E2D-928C-4432-9AD1-97195A6EC08F}"/>
                  </a:ext>
                </a:extLst>
              </p:cNvPr>
              <p:cNvSpPr/>
              <p:nvPr/>
            </p:nvSpPr>
            <p:spPr bwMode="auto">
              <a:xfrm>
                <a:off x="7661275" y="4598988"/>
                <a:ext cx="215900" cy="781050"/>
              </a:xfrm>
              <a:custGeom>
                <a:avLst/>
                <a:gdLst>
                  <a:gd name="T0" fmla="*/ 18 w 73"/>
                  <a:gd name="T1" fmla="*/ 224 h 264"/>
                  <a:gd name="T2" fmla="*/ 12 w 73"/>
                  <a:gd name="T3" fmla="*/ 255 h 264"/>
                  <a:gd name="T4" fmla="*/ 11 w 73"/>
                  <a:gd name="T5" fmla="*/ 264 h 264"/>
                  <a:gd name="T6" fmla="*/ 14 w 73"/>
                  <a:gd name="T7" fmla="*/ 264 h 264"/>
                  <a:gd name="T8" fmla="*/ 15 w 73"/>
                  <a:gd name="T9" fmla="*/ 257 h 264"/>
                  <a:gd name="T10" fmla="*/ 18 w 73"/>
                  <a:gd name="T11" fmla="*/ 242 h 264"/>
                  <a:gd name="T12" fmla="*/ 27 w 73"/>
                  <a:gd name="T13" fmla="*/ 228 h 264"/>
                  <a:gd name="T14" fmla="*/ 42 w 73"/>
                  <a:gd name="T15" fmla="*/ 208 h 264"/>
                  <a:gd name="T16" fmla="*/ 41 w 73"/>
                  <a:gd name="T17" fmla="*/ 208 h 264"/>
                  <a:gd name="T18" fmla="*/ 25 w 73"/>
                  <a:gd name="T19" fmla="*/ 229 h 264"/>
                  <a:gd name="T20" fmla="*/ 19 w 73"/>
                  <a:gd name="T21" fmla="*/ 237 h 264"/>
                  <a:gd name="T22" fmla="*/ 20 w 73"/>
                  <a:gd name="T23" fmla="*/ 227 h 264"/>
                  <a:gd name="T24" fmla="*/ 20 w 73"/>
                  <a:gd name="T25" fmla="*/ 227 h 264"/>
                  <a:gd name="T26" fmla="*/ 22 w 73"/>
                  <a:gd name="T27" fmla="*/ 190 h 264"/>
                  <a:gd name="T28" fmla="*/ 20 w 73"/>
                  <a:gd name="T29" fmla="*/ 166 h 264"/>
                  <a:gd name="T30" fmla="*/ 52 w 73"/>
                  <a:gd name="T31" fmla="*/ 128 h 264"/>
                  <a:gd name="T32" fmla="*/ 52 w 73"/>
                  <a:gd name="T33" fmla="*/ 127 h 264"/>
                  <a:gd name="T34" fmla="*/ 20 w 73"/>
                  <a:gd name="T35" fmla="*/ 164 h 264"/>
                  <a:gd name="T36" fmla="*/ 20 w 73"/>
                  <a:gd name="T37" fmla="*/ 156 h 264"/>
                  <a:gd name="T38" fmla="*/ 31 w 73"/>
                  <a:gd name="T39" fmla="*/ 125 h 264"/>
                  <a:gd name="T40" fmla="*/ 39 w 73"/>
                  <a:gd name="T41" fmla="*/ 113 h 264"/>
                  <a:gd name="T42" fmla="*/ 39 w 73"/>
                  <a:gd name="T43" fmla="*/ 112 h 264"/>
                  <a:gd name="T44" fmla="*/ 39 w 73"/>
                  <a:gd name="T45" fmla="*/ 112 h 264"/>
                  <a:gd name="T46" fmla="*/ 45 w 73"/>
                  <a:gd name="T47" fmla="*/ 101 h 264"/>
                  <a:gd name="T48" fmla="*/ 48 w 73"/>
                  <a:gd name="T49" fmla="*/ 71 h 264"/>
                  <a:gd name="T50" fmla="*/ 49 w 73"/>
                  <a:gd name="T51" fmla="*/ 50 h 264"/>
                  <a:gd name="T52" fmla="*/ 71 w 73"/>
                  <a:gd name="T53" fmla="*/ 27 h 264"/>
                  <a:gd name="T54" fmla="*/ 70 w 73"/>
                  <a:gd name="T55" fmla="*/ 26 h 264"/>
                  <a:gd name="T56" fmla="*/ 50 w 73"/>
                  <a:gd name="T57" fmla="*/ 46 h 264"/>
                  <a:gd name="T58" fmla="*/ 53 w 73"/>
                  <a:gd name="T59" fmla="*/ 33 h 264"/>
                  <a:gd name="T60" fmla="*/ 55 w 73"/>
                  <a:gd name="T61" fmla="*/ 28 h 264"/>
                  <a:gd name="T62" fmla="*/ 56 w 73"/>
                  <a:gd name="T63" fmla="*/ 28 h 264"/>
                  <a:gd name="T64" fmla="*/ 56 w 73"/>
                  <a:gd name="T65" fmla="*/ 28 h 264"/>
                  <a:gd name="T66" fmla="*/ 73 w 73"/>
                  <a:gd name="T67" fmla="*/ 1 h 264"/>
                  <a:gd name="T68" fmla="*/ 72 w 73"/>
                  <a:gd name="T69" fmla="*/ 1 h 264"/>
                  <a:gd name="T70" fmla="*/ 56 w 73"/>
                  <a:gd name="T71" fmla="*/ 24 h 264"/>
                  <a:gd name="T72" fmla="*/ 58 w 73"/>
                  <a:gd name="T73" fmla="*/ 8 h 264"/>
                  <a:gd name="T74" fmla="*/ 58 w 73"/>
                  <a:gd name="T75" fmla="*/ 8 h 264"/>
                  <a:gd name="T76" fmla="*/ 55 w 73"/>
                  <a:gd name="T77" fmla="*/ 26 h 264"/>
                  <a:gd name="T78" fmla="*/ 46 w 73"/>
                  <a:gd name="T79" fmla="*/ 54 h 264"/>
                  <a:gd name="T80" fmla="*/ 45 w 73"/>
                  <a:gd name="T81" fmla="*/ 90 h 264"/>
                  <a:gd name="T82" fmla="*/ 39 w 73"/>
                  <a:gd name="T83" fmla="*/ 107 h 264"/>
                  <a:gd name="T84" fmla="*/ 34 w 73"/>
                  <a:gd name="T85" fmla="*/ 75 h 264"/>
                  <a:gd name="T86" fmla="*/ 33 w 73"/>
                  <a:gd name="T87" fmla="*/ 75 h 264"/>
                  <a:gd name="T88" fmla="*/ 38 w 73"/>
                  <a:gd name="T89" fmla="*/ 109 h 264"/>
                  <a:gd name="T90" fmla="*/ 31 w 73"/>
                  <a:gd name="T91" fmla="*/ 121 h 264"/>
                  <a:gd name="T92" fmla="*/ 19 w 73"/>
                  <a:gd name="T93" fmla="*/ 148 h 264"/>
                  <a:gd name="T94" fmla="*/ 18 w 73"/>
                  <a:gd name="T95" fmla="*/ 181 h 264"/>
                  <a:gd name="T96" fmla="*/ 19 w 73"/>
                  <a:gd name="T97" fmla="*/ 219 h 264"/>
                  <a:gd name="T98" fmla="*/ 18 w 73"/>
                  <a:gd name="T99" fmla="*/ 221 h 264"/>
                  <a:gd name="T100" fmla="*/ 13 w 73"/>
                  <a:gd name="T101" fmla="*/ 210 h 264"/>
                  <a:gd name="T102" fmla="*/ 1 w 73"/>
                  <a:gd name="T103" fmla="*/ 192 h 264"/>
                  <a:gd name="T104" fmla="*/ 0 w 73"/>
                  <a:gd name="T105" fmla="*/ 193 h 264"/>
                  <a:gd name="T106" fmla="*/ 10 w 73"/>
                  <a:gd name="T107" fmla="*/ 207 h 264"/>
                  <a:gd name="T108" fmla="*/ 18 w 73"/>
                  <a:gd name="T109" fmla="*/ 2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3" h="264">
                    <a:moveTo>
                      <a:pt x="18" y="224"/>
                    </a:moveTo>
                    <a:cubicBezTo>
                      <a:pt x="16" y="235"/>
                      <a:pt x="14" y="245"/>
                      <a:pt x="12" y="255"/>
                    </a:cubicBezTo>
                    <a:cubicBezTo>
                      <a:pt x="12" y="258"/>
                      <a:pt x="11" y="261"/>
                      <a:pt x="11" y="264"/>
                    </a:cubicBezTo>
                    <a:cubicBezTo>
                      <a:pt x="14" y="264"/>
                      <a:pt x="14" y="264"/>
                      <a:pt x="14" y="264"/>
                    </a:cubicBezTo>
                    <a:cubicBezTo>
                      <a:pt x="15" y="262"/>
                      <a:pt x="15" y="259"/>
                      <a:pt x="15" y="257"/>
                    </a:cubicBezTo>
                    <a:cubicBezTo>
                      <a:pt x="16" y="252"/>
                      <a:pt x="17" y="247"/>
                      <a:pt x="18" y="242"/>
                    </a:cubicBezTo>
                    <a:cubicBezTo>
                      <a:pt x="20" y="237"/>
                      <a:pt x="24" y="231"/>
                      <a:pt x="27" y="228"/>
                    </a:cubicBezTo>
                    <a:cubicBezTo>
                      <a:pt x="31" y="221"/>
                      <a:pt x="36" y="215"/>
                      <a:pt x="42" y="208"/>
                    </a:cubicBezTo>
                    <a:cubicBezTo>
                      <a:pt x="42" y="208"/>
                      <a:pt x="41" y="208"/>
                      <a:pt x="41" y="208"/>
                    </a:cubicBezTo>
                    <a:cubicBezTo>
                      <a:pt x="35" y="215"/>
                      <a:pt x="30" y="221"/>
                      <a:pt x="25" y="229"/>
                    </a:cubicBezTo>
                    <a:cubicBezTo>
                      <a:pt x="23" y="231"/>
                      <a:pt x="21" y="234"/>
                      <a:pt x="19" y="237"/>
                    </a:cubicBezTo>
                    <a:cubicBezTo>
                      <a:pt x="19" y="234"/>
                      <a:pt x="20" y="231"/>
                      <a:pt x="20" y="227"/>
                    </a:cubicBezTo>
                    <a:cubicBezTo>
                      <a:pt x="20" y="227"/>
                      <a:pt x="20" y="227"/>
                      <a:pt x="20" y="227"/>
                    </a:cubicBezTo>
                    <a:cubicBezTo>
                      <a:pt x="22" y="215"/>
                      <a:pt x="23" y="202"/>
                      <a:pt x="22" y="190"/>
                    </a:cubicBezTo>
                    <a:cubicBezTo>
                      <a:pt x="21" y="182"/>
                      <a:pt x="20" y="174"/>
                      <a:pt x="20" y="166"/>
                    </a:cubicBezTo>
                    <a:cubicBezTo>
                      <a:pt x="29" y="152"/>
                      <a:pt x="40" y="139"/>
                      <a:pt x="52" y="128"/>
                    </a:cubicBezTo>
                    <a:cubicBezTo>
                      <a:pt x="53" y="127"/>
                      <a:pt x="52" y="127"/>
                      <a:pt x="52" y="127"/>
                    </a:cubicBezTo>
                    <a:cubicBezTo>
                      <a:pt x="39" y="138"/>
                      <a:pt x="29" y="150"/>
                      <a:pt x="20" y="164"/>
                    </a:cubicBezTo>
                    <a:cubicBezTo>
                      <a:pt x="20" y="161"/>
                      <a:pt x="20" y="158"/>
                      <a:pt x="20" y="156"/>
                    </a:cubicBezTo>
                    <a:cubicBezTo>
                      <a:pt x="21" y="145"/>
                      <a:pt x="26" y="135"/>
                      <a:pt x="31" y="125"/>
                    </a:cubicBezTo>
                    <a:cubicBezTo>
                      <a:pt x="34" y="121"/>
                      <a:pt x="37" y="117"/>
                      <a:pt x="39" y="113"/>
                    </a:cubicBezTo>
                    <a:cubicBezTo>
                      <a:pt x="39" y="113"/>
                      <a:pt x="39" y="113"/>
                      <a:pt x="39" y="112"/>
                    </a:cubicBezTo>
                    <a:cubicBezTo>
                      <a:pt x="39" y="112"/>
                      <a:pt x="39" y="112"/>
                      <a:pt x="39" y="112"/>
                    </a:cubicBezTo>
                    <a:cubicBezTo>
                      <a:pt x="41" y="109"/>
                      <a:pt x="43" y="105"/>
                      <a:pt x="45" y="101"/>
                    </a:cubicBezTo>
                    <a:cubicBezTo>
                      <a:pt x="48" y="91"/>
                      <a:pt x="48" y="81"/>
                      <a:pt x="48" y="71"/>
                    </a:cubicBezTo>
                    <a:cubicBezTo>
                      <a:pt x="48" y="64"/>
                      <a:pt x="48" y="57"/>
                      <a:pt x="49" y="50"/>
                    </a:cubicBezTo>
                    <a:cubicBezTo>
                      <a:pt x="54" y="40"/>
                      <a:pt x="61" y="32"/>
                      <a:pt x="71" y="27"/>
                    </a:cubicBezTo>
                    <a:cubicBezTo>
                      <a:pt x="71" y="27"/>
                      <a:pt x="71" y="26"/>
                      <a:pt x="70" y="26"/>
                    </a:cubicBezTo>
                    <a:cubicBezTo>
                      <a:pt x="62" y="31"/>
                      <a:pt x="54" y="38"/>
                      <a:pt x="50" y="46"/>
                    </a:cubicBezTo>
                    <a:cubicBezTo>
                      <a:pt x="50" y="42"/>
                      <a:pt x="51" y="37"/>
                      <a:pt x="53" y="33"/>
                    </a:cubicBezTo>
                    <a:cubicBezTo>
                      <a:pt x="54" y="31"/>
                      <a:pt x="54" y="30"/>
                      <a:pt x="55" y="28"/>
                    </a:cubicBezTo>
                    <a:cubicBezTo>
                      <a:pt x="55" y="28"/>
                      <a:pt x="56" y="28"/>
                      <a:pt x="56" y="28"/>
                    </a:cubicBezTo>
                    <a:cubicBezTo>
                      <a:pt x="56" y="28"/>
                      <a:pt x="56" y="28"/>
                      <a:pt x="56" y="28"/>
                    </a:cubicBezTo>
                    <a:cubicBezTo>
                      <a:pt x="60" y="18"/>
                      <a:pt x="66" y="10"/>
                      <a:pt x="73" y="1"/>
                    </a:cubicBezTo>
                    <a:cubicBezTo>
                      <a:pt x="73" y="1"/>
                      <a:pt x="72" y="0"/>
                      <a:pt x="72" y="1"/>
                    </a:cubicBezTo>
                    <a:cubicBezTo>
                      <a:pt x="66" y="8"/>
                      <a:pt x="60" y="16"/>
                      <a:pt x="56" y="24"/>
                    </a:cubicBezTo>
                    <a:cubicBezTo>
                      <a:pt x="56" y="18"/>
                      <a:pt x="57" y="13"/>
                      <a:pt x="58" y="8"/>
                    </a:cubicBezTo>
                    <a:cubicBezTo>
                      <a:pt x="58" y="8"/>
                      <a:pt x="58" y="8"/>
                      <a:pt x="58" y="8"/>
                    </a:cubicBezTo>
                    <a:cubicBezTo>
                      <a:pt x="56" y="14"/>
                      <a:pt x="55" y="20"/>
                      <a:pt x="55" y="26"/>
                    </a:cubicBezTo>
                    <a:cubicBezTo>
                      <a:pt x="50" y="34"/>
                      <a:pt x="47" y="43"/>
                      <a:pt x="46" y="54"/>
                    </a:cubicBezTo>
                    <a:cubicBezTo>
                      <a:pt x="46" y="66"/>
                      <a:pt x="47" y="78"/>
                      <a:pt x="45" y="90"/>
                    </a:cubicBezTo>
                    <a:cubicBezTo>
                      <a:pt x="44" y="96"/>
                      <a:pt x="42" y="102"/>
                      <a:pt x="39" y="107"/>
                    </a:cubicBezTo>
                    <a:cubicBezTo>
                      <a:pt x="39" y="96"/>
                      <a:pt x="37" y="85"/>
                      <a:pt x="34" y="75"/>
                    </a:cubicBezTo>
                    <a:cubicBezTo>
                      <a:pt x="34" y="74"/>
                      <a:pt x="33" y="74"/>
                      <a:pt x="33" y="75"/>
                    </a:cubicBezTo>
                    <a:cubicBezTo>
                      <a:pt x="36" y="86"/>
                      <a:pt x="38" y="98"/>
                      <a:pt x="38" y="109"/>
                    </a:cubicBezTo>
                    <a:cubicBezTo>
                      <a:pt x="36" y="113"/>
                      <a:pt x="34" y="117"/>
                      <a:pt x="31" y="121"/>
                    </a:cubicBezTo>
                    <a:cubicBezTo>
                      <a:pt x="26" y="129"/>
                      <a:pt x="21" y="138"/>
                      <a:pt x="19" y="148"/>
                    </a:cubicBezTo>
                    <a:cubicBezTo>
                      <a:pt x="17" y="159"/>
                      <a:pt x="18" y="170"/>
                      <a:pt x="18" y="181"/>
                    </a:cubicBezTo>
                    <a:cubicBezTo>
                      <a:pt x="20" y="194"/>
                      <a:pt x="20" y="206"/>
                      <a:pt x="19" y="219"/>
                    </a:cubicBezTo>
                    <a:cubicBezTo>
                      <a:pt x="19" y="220"/>
                      <a:pt x="18" y="220"/>
                      <a:pt x="18" y="221"/>
                    </a:cubicBezTo>
                    <a:cubicBezTo>
                      <a:pt x="17" y="217"/>
                      <a:pt x="15" y="214"/>
                      <a:pt x="13" y="210"/>
                    </a:cubicBezTo>
                    <a:cubicBezTo>
                      <a:pt x="9" y="204"/>
                      <a:pt x="3" y="200"/>
                      <a:pt x="1" y="192"/>
                    </a:cubicBezTo>
                    <a:cubicBezTo>
                      <a:pt x="1" y="192"/>
                      <a:pt x="0" y="192"/>
                      <a:pt x="0" y="193"/>
                    </a:cubicBezTo>
                    <a:cubicBezTo>
                      <a:pt x="2" y="199"/>
                      <a:pt x="6" y="203"/>
                      <a:pt x="10" y="207"/>
                    </a:cubicBezTo>
                    <a:cubicBezTo>
                      <a:pt x="13" y="212"/>
                      <a:pt x="16" y="218"/>
                      <a:pt x="18" y="224"/>
                    </a:cubicBezTo>
                    <a:close/>
                  </a:path>
                </a:pathLst>
              </a:custGeom>
              <a:solidFill>
                <a:srgbClr val="234495"/>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10000"/>
              </a:bodyPr>
              <a:lstStyle/>
              <a:p>
                <a:pPr algn="ctr"/>
                <a:endParaRPr/>
              </a:p>
            </p:txBody>
          </p:sp>
          <p:sp>
            <p:nvSpPr>
              <p:cNvPr id="27" name="îṧľîḓê">
                <a:extLst>
                  <a:ext uri="{FF2B5EF4-FFF2-40B4-BE49-F238E27FC236}">
                    <a16:creationId xmlns:a16="http://schemas.microsoft.com/office/drawing/2014/main" id="{59B216AC-120E-46F4-8EEE-06470CDA1739}"/>
                  </a:ext>
                </a:extLst>
              </p:cNvPr>
              <p:cNvSpPr/>
              <p:nvPr/>
            </p:nvSpPr>
            <p:spPr bwMode="auto">
              <a:xfrm>
                <a:off x="7470775" y="4725988"/>
                <a:ext cx="239713" cy="654050"/>
              </a:xfrm>
              <a:custGeom>
                <a:avLst/>
                <a:gdLst>
                  <a:gd name="T0" fmla="*/ 12 w 81"/>
                  <a:gd name="T1" fmla="*/ 149 h 221"/>
                  <a:gd name="T2" fmla="*/ 7 w 81"/>
                  <a:gd name="T3" fmla="*/ 184 h 221"/>
                  <a:gd name="T4" fmla="*/ 27 w 81"/>
                  <a:gd name="T5" fmla="*/ 213 h 221"/>
                  <a:gd name="T6" fmla="*/ 36 w 81"/>
                  <a:gd name="T7" fmla="*/ 221 h 221"/>
                  <a:gd name="T8" fmla="*/ 66 w 81"/>
                  <a:gd name="T9" fmla="*/ 221 h 221"/>
                  <a:gd name="T10" fmla="*/ 68 w 81"/>
                  <a:gd name="T11" fmla="*/ 206 h 221"/>
                  <a:gd name="T12" fmla="*/ 78 w 81"/>
                  <a:gd name="T13" fmla="*/ 185 h 221"/>
                  <a:gd name="T14" fmla="*/ 66 w 81"/>
                  <a:gd name="T15" fmla="*/ 156 h 221"/>
                  <a:gd name="T16" fmla="*/ 66 w 81"/>
                  <a:gd name="T17" fmla="*/ 137 h 221"/>
                  <a:gd name="T18" fmla="*/ 74 w 81"/>
                  <a:gd name="T19" fmla="*/ 126 h 221"/>
                  <a:gd name="T20" fmla="*/ 70 w 81"/>
                  <a:gd name="T21" fmla="*/ 96 h 221"/>
                  <a:gd name="T22" fmla="*/ 60 w 81"/>
                  <a:gd name="T23" fmla="*/ 77 h 221"/>
                  <a:gd name="T24" fmla="*/ 66 w 81"/>
                  <a:gd name="T25" fmla="*/ 42 h 221"/>
                  <a:gd name="T26" fmla="*/ 59 w 81"/>
                  <a:gd name="T27" fmla="*/ 12 h 221"/>
                  <a:gd name="T28" fmla="*/ 56 w 81"/>
                  <a:gd name="T29" fmla="*/ 10 h 221"/>
                  <a:gd name="T30" fmla="*/ 14 w 81"/>
                  <a:gd name="T31" fmla="*/ 41 h 221"/>
                  <a:gd name="T32" fmla="*/ 15 w 81"/>
                  <a:gd name="T33" fmla="*/ 61 h 221"/>
                  <a:gd name="T34" fmla="*/ 0 w 81"/>
                  <a:gd name="T35" fmla="*/ 101 h 221"/>
                  <a:gd name="T36" fmla="*/ 12 w 81"/>
                  <a:gd name="T37" fmla="*/ 14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221">
                    <a:moveTo>
                      <a:pt x="12" y="149"/>
                    </a:moveTo>
                    <a:cubicBezTo>
                      <a:pt x="9" y="161"/>
                      <a:pt x="5" y="173"/>
                      <a:pt x="7" y="184"/>
                    </a:cubicBezTo>
                    <a:cubicBezTo>
                      <a:pt x="9" y="196"/>
                      <a:pt x="17" y="207"/>
                      <a:pt x="27" y="213"/>
                    </a:cubicBezTo>
                    <a:cubicBezTo>
                      <a:pt x="30" y="214"/>
                      <a:pt x="33" y="218"/>
                      <a:pt x="36" y="221"/>
                    </a:cubicBezTo>
                    <a:cubicBezTo>
                      <a:pt x="66" y="221"/>
                      <a:pt x="66" y="221"/>
                      <a:pt x="66" y="221"/>
                    </a:cubicBezTo>
                    <a:cubicBezTo>
                      <a:pt x="66" y="217"/>
                      <a:pt x="68" y="207"/>
                      <a:pt x="68" y="206"/>
                    </a:cubicBezTo>
                    <a:cubicBezTo>
                      <a:pt x="71" y="198"/>
                      <a:pt x="76" y="192"/>
                      <a:pt x="78" y="185"/>
                    </a:cubicBezTo>
                    <a:cubicBezTo>
                      <a:pt x="81" y="172"/>
                      <a:pt x="73" y="165"/>
                      <a:pt x="66" y="156"/>
                    </a:cubicBezTo>
                    <a:cubicBezTo>
                      <a:pt x="61" y="150"/>
                      <a:pt x="62" y="144"/>
                      <a:pt x="66" y="137"/>
                    </a:cubicBezTo>
                    <a:cubicBezTo>
                      <a:pt x="68" y="134"/>
                      <a:pt x="72" y="130"/>
                      <a:pt x="74" y="126"/>
                    </a:cubicBezTo>
                    <a:cubicBezTo>
                      <a:pt x="79" y="116"/>
                      <a:pt x="76" y="106"/>
                      <a:pt x="70" y="96"/>
                    </a:cubicBezTo>
                    <a:cubicBezTo>
                      <a:pt x="67" y="90"/>
                      <a:pt x="62" y="84"/>
                      <a:pt x="60" y="77"/>
                    </a:cubicBezTo>
                    <a:cubicBezTo>
                      <a:pt x="56" y="65"/>
                      <a:pt x="62" y="54"/>
                      <a:pt x="66" y="42"/>
                    </a:cubicBezTo>
                    <a:cubicBezTo>
                      <a:pt x="70" y="31"/>
                      <a:pt x="70" y="20"/>
                      <a:pt x="59" y="12"/>
                    </a:cubicBezTo>
                    <a:cubicBezTo>
                      <a:pt x="58" y="11"/>
                      <a:pt x="57" y="10"/>
                      <a:pt x="56" y="10"/>
                    </a:cubicBezTo>
                    <a:cubicBezTo>
                      <a:pt x="35" y="0"/>
                      <a:pt x="13" y="21"/>
                      <a:pt x="14" y="41"/>
                    </a:cubicBezTo>
                    <a:cubicBezTo>
                      <a:pt x="14" y="48"/>
                      <a:pt x="15" y="55"/>
                      <a:pt x="15" y="61"/>
                    </a:cubicBezTo>
                    <a:cubicBezTo>
                      <a:pt x="16" y="77"/>
                      <a:pt x="1" y="86"/>
                      <a:pt x="0" y="101"/>
                    </a:cubicBezTo>
                    <a:cubicBezTo>
                      <a:pt x="0" y="118"/>
                      <a:pt x="15" y="132"/>
                      <a:pt x="12" y="149"/>
                    </a:cubicBezTo>
                    <a:close/>
                  </a:path>
                </a:pathLst>
              </a:custGeom>
              <a:solidFill>
                <a:srgbClr val="EB628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algn="ctr"/>
                <a:endParaRPr/>
              </a:p>
            </p:txBody>
          </p:sp>
          <p:sp>
            <p:nvSpPr>
              <p:cNvPr id="28" name="îṥḷîḋé">
                <a:extLst>
                  <a:ext uri="{FF2B5EF4-FFF2-40B4-BE49-F238E27FC236}">
                    <a16:creationId xmlns:a16="http://schemas.microsoft.com/office/drawing/2014/main" id="{A878E3A8-8DD0-423A-8D1D-EC718982B7D1}"/>
                  </a:ext>
                </a:extLst>
              </p:cNvPr>
              <p:cNvSpPr/>
              <p:nvPr/>
            </p:nvSpPr>
            <p:spPr bwMode="auto">
              <a:xfrm>
                <a:off x="7551738" y="4784726"/>
                <a:ext cx="100013" cy="595313"/>
              </a:xfrm>
              <a:custGeom>
                <a:avLst/>
                <a:gdLst>
                  <a:gd name="T0" fmla="*/ 10 w 34"/>
                  <a:gd name="T1" fmla="*/ 164 h 201"/>
                  <a:gd name="T2" fmla="*/ 19 w 34"/>
                  <a:gd name="T3" fmla="*/ 175 h 201"/>
                  <a:gd name="T4" fmla="*/ 21 w 34"/>
                  <a:gd name="T5" fmla="*/ 199 h 201"/>
                  <a:gd name="T6" fmla="*/ 22 w 34"/>
                  <a:gd name="T7" fmla="*/ 201 h 201"/>
                  <a:gd name="T8" fmla="*/ 24 w 34"/>
                  <a:gd name="T9" fmla="*/ 201 h 201"/>
                  <a:gd name="T10" fmla="*/ 24 w 34"/>
                  <a:gd name="T11" fmla="*/ 200 h 201"/>
                  <a:gd name="T12" fmla="*/ 23 w 34"/>
                  <a:gd name="T13" fmla="*/ 188 h 201"/>
                  <a:gd name="T14" fmla="*/ 27 w 34"/>
                  <a:gd name="T15" fmla="*/ 176 h 201"/>
                  <a:gd name="T16" fmla="*/ 34 w 34"/>
                  <a:gd name="T17" fmla="*/ 159 h 201"/>
                  <a:gd name="T18" fmla="*/ 33 w 34"/>
                  <a:gd name="T19" fmla="*/ 159 h 201"/>
                  <a:gd name="T20" fmla="*/ 25 w 34"/>
                  <a:gd name="T21" fmla="*/ 177 h 201"/>
                  <a:gd name="T22" fmla="*/ 23 w 34"/>
                  <a:gd name="T23" fmla="*/ 185 h 201"/>
                  <a:gd name="T24" fmla="*/ 22 w 34"/>
                  <a:gd name="T25" fmla="*/ 177 h 201"/>
                  <a:gd name="T26" fmla="*/ 22 w 34"/>
                  <a:gd name="T27" fmla="*/ 177 h 201"/>
                  <a:gd name="T28" fmla="*/ 16 w 34"/>
                  <a:gd name="T29" fmla="*/ 149 h 201"/>
                  <a:gd name="T30" fmla="*/ 10 w 34"/>
                  <a:gd name="T31" fmla="*/ 132 h 201"/>
                  <a:gd name="T32" fmla="*/ 26 w 34"/>
                  <a:gd name="T33" fmla="*/ 98 h 201"/>
                  <a:gd name="T34" fmla="*/ 26 w 34"/>
                  <a:gd name="T35" fmla="*/ 97 h 201"/>
                  <a:gd name="T36" fmla="*/ 9 w 34"/>
                  <a:gd name="T37" fmla="*/ 130 h 201"/>
                  <a:gd name="T38" fmla="*/ 8 w 34"/>
                  <a:gd name="T39" fmla="*/ 124 h 201"/>
                  <a:gd name="T40" fmla="*/ 10 w 34"/>
                  <a:gd name="T41" fmla="*/ 100 h 201"/>
                  <a:gd name="T42" fmla="*/ 14 w 34"/>
                  <a:gd name="T43" fmla="*/ 89 h 201"/>
                  <a:gd name="T44" fmla="*/ 14 w 34"/>
                  <a:gd name="T45" fmla="*/ 89 h 201"/>
                  <a:gd name="T46" fmla="*/ 14 w 34"/>
                  <a:gd name="T47" fmla="*/ 89 h 201"/>
                  <a:gd name="T48" fmla="*/ 16 w 34"/>
                  <a:gd name="T49" fmla="*/ 79 h 201"/>
                  <a:gd name="T50" fmla="*/ 12 w 34"/>
                  <a:gd name="T51" fmla="*/ 57 h 201"/>
                  <a:gd name="T52" fmla="*/ 9 w 34"/>
                  <a:gd name="T53" fmla="*/ 41 h 201"/>
                  <a:gd name="T54" fmla="*/ 20 w 34"/>
                  <a:gd name="T55" fmla="*/ 20 h 201"/>
                  <a:gd name="T56" fmla="*/ 20 w 34"/>
                  <a:gd name="T57" fmla="*/ 20 h 201"/>
                  <a:gd name="T58" fmla="*/ 9 w 34"/>
                  <a:gd name="T59" fmla="*/ 38 h 201"/>
                  <a:gd name="T60" fmla="*/ 9 w 34"/>
                  <a:gd name="T61" fmla="*/ 28 h 201"/>
                  <a:gd name="T62" fmla="*/ 9 w 34"/>
                  <a:gd name="T63" fmla="*/ 24 h 201"/>
                  <a:gd name="T64" fmla="*/ 10 w 34"/>
                  <a:gd name="T65" fmla="*/ 24 h 201"/>
                  <a:gd name="T66" fmla="*/ 9 w 34"/>
                  <a:gd name="T67" fmla="*/ 23 h 201"/>
                  <a:gd name="T68" fmla="*/ 17 w 34"/>
                  <a:gd name="T69" fmla="*/ 1 h 201"/>
                  <a:gd name="T70" fmla="*/ 16 w 34"/>
                  <a:gd name="T71" fmla="*/ 1 h 201"/>
                  <a:gd name="T72" fmla="*/ 9 w 34"/>
                  <a:gd name="T73" fmla="*/ 21 h 201"/>
                  <a:gd name="T74" fmla="*/ 7 w 34"/>
                  <a:gd name="T75" fmla="*/ 8 h 201"/>
                  <a:gd name="T76" fmla="*/ 7 w 34"/>
                  <a:gd name="T77" fmla="*/ 8 h 201"/>
                  <a:gd name="T78" fmla="*/ 9 w 34"/>
                  <a:gd name="T79" fmla="*/ 22 h 201"/>
                  <a:gd name="T80" fmla="*/ 8 w 34"/>
                  <a:gd name="T81" fmla="*/ 44 h 201"/>
                  <a:gd name="T82" fmla="*/ 14 w 34"/>
                  <a:gd name="T83" fmla="*/ 71 h 201"/>
                  <a:gd name="T84" fmla="*/ 13 w 34"/>
                  <a:gd name="T85" fmla="*/ 85 h 201"/>
                  <a:gd name="T86" fmla="*/ 3 w 34"/>
                  <a:gd name="T87" fmla="*/ 62 h 201"/>
                  <a:gd name="T88" fmla="*/ 2 w 34"/>
                  <a:gd name="T89" fmla="*/ 62 h 201"/>
                  <a:gd name="T90" fmla="*/ 12 w 34"/>
                  <a:gd name="T91" fmla="*/ 87 h 201"/>
                  <a:gd name="T92" fmla="*/ 9 w 34"/>
                  <a:gd name="T93" fmla="*/ 96 h 201"/>
                  <a:gd name="T94" fmla="*/ 6 w 34"/>
                  <a:gd name="T95" fmla="*/ 119 h 201"/>
                  <a:gd name="T96" fmla="*/ 12 w 34"/>
                  <a:gd name="T97" fmla="*/ 143 h 201"/>
                  <a:gd name="T98" fmla="*/ 19 w 34"/>
                  <a:gd name="T99" fmla="*/ 171 h 201"/>
                  <a:gd name="T100" fmla="*/ 19 w 34"/>
                  <a:gd name="T101" fmla="*/ 173 h 201"/>
                  <a:gd name="T102" fmla="*/ 13 w 34"/>
                  <a:gd name="T103" fmla="*/ 166 h 201"/>
                  <a:gd name="T104" fmla="*/ 1 w 34"/>
                  <a:gd name="T105" fmla="*/ 155 h 201"/>
                  <a:gd name="T106" fmla="*/ 1 w 34"/>
                  <a:gd name="T107" fmla="*/ 155 h 201"/>
                  <a:gd name="T108" fmla="*/ 10 w 34"/>
                  <a:gd name="T109" fmla="*/ 16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 h="201">
                    <a:moveTo>
                      <a:pt x="10" y="164"/>
                    </a:moveTo>
                    <a:cubicBezTo>
                      <a:pt x="14" y="167"/>
                      <a:pt x="17" y="171"/>
                      <a:pt x="19" y="175"/>
                    </a:cubicBezTo>
                    <a:cubicBezTo>
                      <a:pt x="20" y="183"/>
                      <a:pt x="21" y="191"/>
                      <a:pt x="21" y="199"/>
                    </a:cubicBezTo>
                    <a:cubicBezTo>
                      <a:pt x="21" y="200"/>
                      <a:pt x="22" y="200"/>
                      <a:pt x="22" y="201"/>
                    </a:cubicBezTo>
                    <a:cubicBezTo>
                      <a:pt x="24" y="201"/>
                      <a:pt x="24" y="201"/>
                      <a:pt x="24" y="201"/>
                    </a:cubicBezTo>
                    <a:cubicBezTo>
                      <a:pt x="24" y="201"/>
                      <a:pt x="24" y="200"/>
                      <a:pt x="24" y="200"/>
                    </a:cubicBezTo>
                    <a:cubicBezTo>
                      <a:pt x="23" y="196"/>
                      <a:pt x="23" y="192"/>
                      <a:pt x="23" y="188"/>
                    </a:cubicBezTo>
                    <a:cubicBezTo>
                      <a:pt x="24" y="184"/>
                      <a:pt x="26" y="179"/>
                      <a:pt x="27" y="176"/>
                    </a:cubicBezTo>
                    <a:cubicBezTo>
                      <a:pt x="29" y="170"/>
                      <a:pt x="31" y="164"/>
                      <a:pt x="34" y="159"/>
                    </a:cubicBezTo>
                    <a:cubicBezTo>
                      <a:pt x="34" y="159"/>
                      <a:pt x="34" y="158"/>
                      <a:pt x="33" y="159"/>
                    </a:cubicBezTo>
                    <a:cubicBezTo>
                      <a:pt x="30" y="165"/>
                      <a:pt x="27" y="171"/>
                      <a:pt x="25" y="177"/>
                    </a:cubicBezTo>
                    <a:cubicBezTo>
                      <a:pt x="24" y="179"/>
                      <a:pt x="23" y="182"/>
                      <a:pt x="23" y="185"/>
                    </a:cubicBezTo>
                    <a:cubicBezTo>
                      <a:pt x="22" y="182"/>
                      <a:pt x="22" y="179"/>
                      <a:pt x="22" y="177"/>
                    </a:cubicBezTo>
                    <a:cubicBezTo>
                      <a:pt x="22" y="177"/>
                      <a:pt x="22" y="177"/>
                      <a:pt x="22" y="177"/>
                    </a:cubicBezTo>
                    <a:cubicBezTo>
                      <a:pt x="21" y="167"/>
                      <a:pt x="19" y="158"/>
                      <a:pt x="16" y="149"/>
                    </a:cubicBezTo>
                    <a:cubicBezTo>
                      <a:pt x="14" y="143"/>
                      <a:pt x="12" y="138"/>
                      <a:pt x="10" y="132"/>
                    </a:cubicBezTo>
                    <a:cubicBezTo>
                      <a:pt x="14" y="120"/>
                      <a:pt x="19" y="108"/>
                      <a:pt x="26" y="98"/>
                    </a:cubicBezTo>
                    <a:cubicBezTo>
                      <a:pt x="26" y="97"/>
                      <a:pt x="26" y="97"/>
                      <a:pt x="26" y="97"/>
                    </a:cubicBezTo>
                    <a:cubicBezTo>
                      <a:pt x="19" y="107"/>
                      <a:pt x="13" y="118"/>
                      <a:pt x="9" y="130"/>
                    </a:cubicBezTo>
                    <a:cubicBezTo>
                      <a:pt x="9" y="128"/>
                      <a:pt x="9" y="126"/>
                      <a:pt x="8" y="124"/>
                    </a:cubicBezTo>
                    <a:cubicBezTo>
                      <a:pt x="7" y="116"/>
                      <a:pt x="8" y="108"/>
                      <a:pt x="10" y="100"/>
                    </a:cubicBezTo>
                    <a:cubicBezTo>
                      <a:pt x="11" y="96"/>
                      <a:pt x="13" y="93"/>
                      <a:pt x="14" y="89"/>
                    </a:cubicBezTo>
                    <a:cubicBezTo>
                      <a:pt x="14" y="89"/>
                      <a:pt x="14" y="89"/>
                      <a:pt x="14" y="89"/>
                    </a:cubicBezTo>
                    <a:cubicBezTo>
                      <a:pt x="14" y="89"/>
                      <a:pt x="14" y="89"/>
                      <a:pt x="14" y="89"/>
                    </a:cubicBezTo>
                    <a:cubicBezTo>
                      <a:pt x="15" y="86"/>
                      <a:pt x="15" y="82"/>
                      <a:pt x="16" y="79"/>
                    </a:cubicBezTo>
                    <a:cubicBezTo>
                      <a:pt x="16" y="71"/>
                      <a:pt x="14" y="64"/>
                      <a:pt x="12" y="57"/>
                    </a:cubicBezTo>
                    <a:cubicBezTo>
                      <a:pt x="11" y="51"/>
                      <a:pt x="10" y="46"/>
                      <a:pt x="9" y="41"/>
                    </a:cubicBezTo>
                    <a:cubicBezTo>
                      <a:pt x="10" y="33"/>
                      <a:pt x="14" y="26"/>
                      <a:pt x="20" y="20"/>
                    </a:cubicBezTo>
                    <a:cubicBezTo>
                      <a:pt x="21" y="20"/>
                      <a:pt x="20" y="19"/>
                      <a:pt x="20" y="20"/>
                    </a:cubicBezTo>
                    <a:cubicBezTo>
                      <a:pt x="15" y="25"/>
                      <a:pt x="11" y="31"/>
                      <a:pt x="9" y="38"/>
                    </a:cubicBezTo>
                    <a:cubicBezTo>
                      <a:pt x="8" y="35"/>
                      <a:pt x="8" y="31"/>
                      <a:pt x="9" y="28"/>
                    </a:cubicBezTo>
                    <a:cubicBezTo>
                      <a:pt x="9" y="26"/>
                      <a:pt x="9" y="25"/>
                      <a:pt x="9" y="24"/>
                    </a:cubicBezTo>
                    <a:cubicBezTo>
                      <a:pt x="9" y="24"/>
                      <a:pt x="10" y="24"/>
                      <a:pt x="10" y="24"/>
                    </a:cubicBezTo>
                    <a:cubicBezTo>
                      <a:pt x="9" y="24"/>
                      <a:pt x="9" y="23"/>
                      <a:pt x="9" y="23"/>
                    </a:cubicBezTo>
                    <a:cubicBezTo>
                      <a:pt x="11" y="16"/>
                      <a:pt x="14" y="8"/>
                      <a:pt x="17" y="1"/>
                    </a:cubicBezTo>
                    <a:cubicBezTo>
                      <a:pt x="17" y="0"/>
                      <a:pt x="17" y="0"/>
                      <a:pt x="16" y="1"/>
                    </a:cubicBezTo>
                    <a:cubicBezTo>
                      <a:pt x="13" y="7"/>
                      <a:pt x="11" y="14"/>
                      <a:pt x="9" y="21"/>
                    </a:cubicBezTo>
                    <a:cubicBezTo>
                      <a:pt x="8" y="16"/>
                      <a:pt x="8" y="12"/>
                      <a:pt x="7" y="8"/>
                    </a:cubicBezTo>
                    <a:cubicBezTo>
                      <a:pt x="7" y="8"/>
                      <a:pt x="7" y="8"/>
                      <a:pt x="7" y="8"/>
                    </a:cubicBezTo>
                    <a:cubicBezTo>
                      <a:pt x="7" y="13"/>
                      <a:pt x="8" y="18"/>
                      <a:pt x="9" y="22"/>
                    </a:cubicBezTo>
                    <a:cubicBezTo>
                      <a:pt x="7" y="29"/>
                      <a:pt x="6" y="37"/>
                      <a:pt x="8" y="44"/>
                    </a:cubicBezTo>
                    <a:cubicBezTo>
                      <a:pt x="9" y="53"/>
                      <a:pt x="13" y="62"/>
                      <a:pt x="14" y="71"/>
                    </a:cubicBezTo>
                    <a:cubicBezTo>
                      <a:pt x="14" y="76"/>
                      <a:pt x="14" y="81"/>
                      <a:pt x="13" y="85"/>
                    </a:cubicBezTo>
                    <a:cubicBezTo>
                      <a:pt x="10" y="77"/>
                      <a:pt x="7" y="69"/>
                      <a:pt x="3" y="62"/>
                    </a:cubicBezTo>
                    <a:cubicBezTo>
                      <a:pt x="2" y="62"/>
                      <a:pt x="2" y="62"/>
                      <a:pt x="2" y="62"/>
                    </a:cubicBezTo>
                    <a:cubicBezTo>
                      <a:pt x="6" y="70"/>
                      <a:pt x="10" y="78"/>
                      <a:pt x="12" y="87"/>
                    </a:cubicBezTo>
                    <a:cubicBezTo>
                      <a:pt x="11" y="90"/>
                      <a:pt x="10" y="93"/>
                      <a:pt x="9" y="96"/>
                    </a:cubicBezTo>
                    <a:cubicBezTo>
                      <a:pt x="7" y="104"/>
                      <a:pt x="5" y="111"/>
                      <a:pt x="6" y="119"/>
                    </a:cubicBezTo>
                    <a:cubicBezTo>
                      <a:pt x="6" y="127"/>
                      <a:pt x="9" y="135"/>
                      <a:pt x="12" y="143"/>
                    </a:cubicBezTo>
                    <a:cubicBezTo>
                      <a:pt x="15" y="152"/>
                      <a:pt x="18" y="161"/>
                      <a:pt x="19" y="171"/>
                    </a:cubicBezTo>
                    <a:cubicBezTo>
                      <a:pt x="19" y="172"/>
                      <a:pt x="19" y="172"/>
                      <a:pt x="19" y="173"/>
                    </a:cubicBezTo>
                    <a:cubicBezTo>
                      <a:pt x="17" y="170"/>
                      <a:pt x="15" y="168"/>
                      <a:pt x="13" y="166"/>
                    </a:cubicBezTo>
                    <a:cubicBezTo>
                      <a:pt x="9" y="162"/>
                      <a:pt x="3" y="160"/>
                      <a:pt x="1" y="155"/>
                    </a:cubicBezTo>
                    <a:cubicBezTo>
                      <a:pt x="1" y="155"/>
                      <a:pt x="0" y="155"/>
                      <a:pt x="1" y="155"/>
                    </a:cubicBezTo>
                    <a:cubicBezTo>
                      <a:pt x="3" y="159"/>
                      <a:pt x="7" y="161"/>
                      <a:pt x="10" y="164"/>
                    </a:cubicBezTo>
                    <a:close/>
                  </a:path>
                </a:pathLst>
              </a:custGeom>
              <a:solidFill>
                <a:srgbClr val="E8466C"/>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70000" lnSpcReduction="20000"/>
              </a:bodyPr>
              <a:lstStyle/>
              <a:p>
                <a:pPr algn="ctr"/>
                <a:endParaRPr/>
              </a:p>
            </p:txBody>
          </p:sp>
          <p:sp>
            <p:nvSpPr>
              <p:cNvPr id="29" name="iṥḻiḍê">
                <a:extLst>
                  <a:ext uri="{FF2B5EF4-FFF2-40B4-BE49-F238E27FC236}">
                    <a16:creationId xmlns:a16="http://schemas.microsoft.com/office/drawing/2014/main" id="{32B7C550-7794-4363-A77D-373D725BA481}"/>
                  </a:ext>
                </a:extLst>
              </p:cNvPr>
              <p:cNvSpPr/>
              <p:nvPr/>
            </p:nvSpPr>
            <p:spPr bwMode="auto">
              <a:xfrm>
                <a:off x="4999038" y="1936751"/>
                <a:ext cx="1525588" cy="1525588"/>
              </a:xfrm>
              <a:custGeom>
                <a:avLst/>
                <a:gdLst>
                  <a:gd name="T0" fmla="*/ 455 w 516"/>
                  <a:gd name="T1" fmla="*/ 147 h 516"/>
                  <a:gd name="T2" fmla="*/ 147 w 516"/>
                  <a:gd name="T3" fmla="*/ 61 h 516"/>
                  <a:gd name="T4" fmla="*/ 61 w 516"/>
                  <a:gd name="T5" fmla="*/ 368 h 516"/>
                  <a:gd name="T6" fmla="*/ 369 w 516"/>
                  <a:gd name="T7" fmla="*/ 455 h 516"/>
                  <a:gd name="T8" fmla="*/ 455 w 516"/>
                  <a:gd name="T9" fmla="*/ 147 h 516"/>
                  <a:gd name="T10" fmla="*/ 223 w 516"/>
                  <a:gd name="T11" fmla="*/ 240 h 516"/>
                  <a:gd name="T12" fmla="*/ 159 w 516"/>
                  <a:gd name="T13" fmla="*/ 176 h 516"/>
                  <a:gd name="T14" fmla="*/ 223 w 516"/>
                  <a:gd name="T15" fmla="*/ 111 h 516"/>
                  <a:gd name="T16" fmla="*/ 288 w 516"/>
                  <a:gd name="T17" fmla="*/ 176 h 516"/>
                  <a:gd name="T18" fmla="*/ 223 w 516"/>
                  <a:gd name="T19" fmla="*/ 24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6" h="516">
                    <a:moveTo>
                      <a:pt x="455" y="147"/>
                    </a:moveTo>
                    <a:cubicBezTo>
                      <a:pt x="394" y="38"/>
                      <a:pt x="256" y="0"/>
                      <a:pt x="147" y="61"/>
                    </a:cubicBezTo>
                    <a:cubicBezTo>
                      <a:pt x="38" y="122"/>
                      <a:pt x="0" y="260"/>
                      <a:pt x="61" y="368"/>
                    </a:cubicBezTo>
                    <a:cubicBezTo>
                      <a:pt x="122" y="477"/>
                      <a:pt x="260" y="516"/>
                      <a:pt x="369" y="455"/>
                    </a:cubicBezTo>
                    <a:cubicBezTo>
                      <a:pt x="477" y="394"/>
                      <a:pt x="516" y="256"/>
                      <a:pt x="455" y="147"/>
                    </a:cubicBezTo>
                    <a:close/>
                    <a:moveTo>
                      <a:pt x="223" y="240"/>
                    </a:moveTo>
                    <a:cubicBezTo>
                      <a:pt x="188" y="240"/>
                      <a:pt x="159" y="211"/>
                      <a:pt x="159" y="176"/>
                    </a:cubicBezTo>
                    <a:cubicBezTo>
                      <a:pt x="159" y="140"/>
                      <a:pt x="188" y="111"/>
                      <a:pt x="223" y="111"/>
                    </a:cubicBezTo>
                    <a:cubicBezTo>
                      <a:pt x="259" y="111"/>
                      <a:pt x="288" y="140"/>
                      <a:pt x="288" y="176"/>
                    </a:cubicBezTo>
                    <a:cubicBezTo>
                      <a:pt x="288" y="211"/>
                      <a:pt x="259" y="240"/>
                      <a:pt x="223" y="240"/>
                    </a:cubicBezTo>
                    <a:close/>
                  </a:path>
                </a:pathLst>
              </a:custGeom>
              <a:solidFill>
                <a:srgbClr val="FFE07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0" name="îšlíḋè">
                <a:extLst>
                  <a:ext uri="{FF2B5EF4-FFF2-40B4-BE49-F238E27FC236}">
                    <a16:creationId xmlns:a16="http://schemas.microsoft.com/office/drawing/2014/main" id="{F6815ADF-E427-48D3-A337-DF6C593CCB10}"/>
                  </a:ext>
                </a:extLst>
              </p:cNvPr>
              <p:cNvSpPr/>
              <p:nvPr/>
            </p:nvSpPr>
            <p:spPr bwMode="auto">
              <a:xfrm>
                <a:off x="5838825" y="3175001"/>
                <a:ext cx="757238" cy="576263"/>
              </a:xfrm>
              <a:custGeom>
                <a:avLst/>
                <a:gdLst>
                  <a:gd name="T0" fmla="*/ 246 w 256"/>
                  <a:gd name="T1" fmla="*/ 79 h 195"/>
                  <a:gd name="T2" fmla="*/ 245 w 256"/>
                  <a:gd name="T3" fmla="*/ 40 h 195"/>
                  <a:gd name="T4" fmla="*/ 204 w 256"/>
                  <a:gd name="T5" fmla="*/ 0 h 195"/>
                  <a:gd name="T6" fmla="*/ 103 w 256"/>
                  <a:gd name="T7" fmla="*/ 57 h 195"/>
                  <a:gd name="T8" fmla="*/ 100 w 256"/>
                  <a:gd name="T9" fmla="*/ 59 h 195"/>
                  <a:gd name="T10" fmla="*/ 0 w 256"/>
                  <a:gd name="T11" fmla="*/ 115 h 195"/>
                  <a:gd name="T12" fmla="*/ 12 w 256"/>
                  <a:gd name="T13" fmla="*/ 171 h 195"/>
                  <a:gd name="T14" fmla="*/ 45 w 256"/>
                  <a:gd name="T15" fmla="*/ 191 h 195"/>
                  <a:gd name="T16" fmla="*/ 160 w 256"/>
                  <a:gd name="T17" fmla="*/ 165 h 195"/>
                  <a:gd name="T18" fmla="*/ 246 w 256"/>
                  <a:gd name="T19" fmla="*/ 7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195">
                    <a:moveTo>
                      <a:pt x="246" y="79"/>
                    </a:moveTo>
                    <a:cubicBezTo>
                      <a:pt x="256" y="68"/>
                      <a:pt x="256" y="50"/>
                      <a:pt x="245" y="40"/>
                    </a:cubicBezTo>
                    <a:cubicBezTo>
                      <a:pt x="204" y="0"/>
                      <a:pt x="204" y="0"/>
                      <a:pt x="204" y="0"/>
                    </a:cubicBezTo>
                    <a:cubicBezTo>
                      <a:pt x="103" y="57"/>
                      <a:pt x="103" y="57"/>
                      <a:pt x="103" y="57"/>
                    </a:cubicBezTo>
                    <a:cubicBezTo>
                      <a:pt x="100" y="59"/>
                      <a:pt x="100" y="59"/>
                      <a:pt x="100" y="59"/>
                    </a:cubicBezTo>
                    <a:cubicBezTo>
                      <a:pt x="0" y="115"/>
                      <a:pt x="0" y="115"/>
                      <a:pt x="0" y="115"/>
                    </a:cubicBezTo>
                    <a:cubicBezTo>
                      <a:pt x="12" y="171"/>
                      <a:pt x="12" y="171"/>
                      <a:pt x="12" y="171"/>
                    </a:cubicBezTo>
                    <a:cubicBezTo>
                      <a:pt x="15" y="185"/>
                      <a:pt x="30" y="195"/>
                      <a:pt x="45" y="191"/>
                    </a:cubicBezTo>
                    <a:cubicBezTo>
                      <a:pt x="160" y="165"/>
                      <a:pt x="160" y="165"/>
                      <a:pt x="160" y="165"/>
                    </a:cubicBezTo>
                    <a:lnTo>
                      <a:pt x="246" y="79"/>
                    </a:lnTo>
                    <a:close/>
                  </a:path>
                </a:pathLst>
              </a:custGeom>
              <a:solidFill>
                <a:srgbClr val="FAC60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31" name="iṣliḑè">
                <a:extLst>
                  <a:ext uri="{FF2B5EF4-FFF2-40B4-BE49-F238E27FC236}">
                    <a16:creationId xmlns:a16="http://schemas.microsoft.com/office/drawing/2014/main" id="{790E2875-2C64-4F46-892A-FFEAAEB28FBB}"/>
                  </a:ext>
                </a:extLst>
              </p:cNvPr>
              <p:cNvSpPr/>
              <p:nvPr/>
            </p:nvSpPr>
            <p:spPr bwMode="auto">
              <a:xfrm>
                <a:off x="5853113" y="3192463"/>
                <a:ext cx="1479550" cy="2095500"/>
              </a:xfrm>
              <a:custGeom>
                <a:avLst/>
                <a:gdLst>
                  <a:gd name="T0" fmla="*/ 183 w 500"/>
                  <a:gd name="T1" fmla="*/ 0 h 709"/>
                  <a:gd name="T2" fmla="*/ 117 w 500"/>
                  <a:gd name="T3" fmla="*/ 37 h 709"/>
                  <a:gd name="T4" fmla="*/ 66 w 500"/>
                  <a:gd name="T5" fmla="*/ 66 h 709"/>
                  <a:gd name="T6" fmla="*/ 0 w 500"/>
                  <a:gd name="T7" fmla="*/ 103 h 709"/>
                  <a:gd name="T8" fmla="*/ 317 w 500"/>
                  <a:gd name="T9" fmla="*/ 668 h 709"/>
                  <a:gd name="T10" fmla="*/ 432 w 500"/>
                  <a:gd name="T11" fmla="*/ 706 h 709"/>
                  <a:gd name="T12" fmla="*/ 458 w 500"/>
                  <a:gd name="T13" fmla="*/ 704 h 709"/>
                  <a:gd name="T14" fmla="*/ 458 w 500"/>
                  <a:gd name="T15" fmla="*/ 704 h 709"/>
                  <a:gd name="T16" fmla="*/ 473 w 500"/>
                  <a:gd name="T17" fmla="*/ 683 h 709"/>
                  <a:gd name="T18" fmla="*/ 500 w 500"/>
                  <a:gd name="T19" fmla="*/ 565 h 709"/>
                  <a:gd name="T20" fmla="*/ 467 w 500"/>
                  <a:gd name="T21" fmla="*/ 505 h 709"/>
                  <a:gd name="T22" fmla="*/ 439 w 500"/>
                  <a:gd name="T23" fmla="*/ 499 h 709"/>
                  <a:gd name="T24" fmla="*/ 432 w 500"/>
                  <a:gd name="T25" fmla="*/ 483 h 709"/>
                  <a:gd name="T26" fmla="*/ 435 w 500"/>
                  <a:gd name="T27" fmla="*/ 476 h 709"/>
                  <a:gd name="T28" fmla="*/ 426 w 500"/>
                  <a:gd name="T29" fmla="*/ 456 h 709"/>
                  <a:gd name="T30" fmla="*/ 405 w 500"/>
                  <a:gd name="T31" fmla="*/ 451 h 709"/>
                  <a:gd name="T32" fmla="*/ 395 w 500"/>
                  <a:gd name="T33" fmla="*/ 443 h 709"/>
                  <a:gd name="T34" fmla="*/ 372 w 500"/>
                  <a:gd name="T35" fmla="*/ 402 h 709"/>
                  <a:gd name="T36" fmla="*/ 371 w 500"/>
                  <a:gd name="T37" fmla="*/ 390 h 709"/>
                  <a:gd name="T38" fmla="*/ 378 w 500"/>
                  <a:gd name="T39" fmla="*/ 368 h 709"/>
                  <a:gd name="T40" fmla="*/ 368 w 500"/>
                  <a:gd name="T41" fmla="*/ 352 h 709"/>
                  <a:gd name="T42" fmla="*/ 354 w 500"/>
                  <a:gd name="T43" fmla="*/ 350 h 709"/>
                  <a:gd name="T44" fmla="*/ 345 w 500"/>
                  <a:gd name="T45" fmla="*/ 336 h 709"/>
                  <a:gd name="T46" fmla="*/ 351 w 500"/>
                  <a:gd name="T47" fmla="*/ 316 h 709"/>
                  <a:gd name="T48" fmla="*/ 348 w 500"/>
                  <a:gd name="T49" fmla="*/ 294 h 709"/>
                  <a:gd name="T50" fmla="*/ 347 w 500"/>
                  <a:gd name="T51" fmla="*/ 292 h 709"/>
                  <a:gd name="T52" fmla="*/ 331 w 500"/>
                  <a:gd name="T53" fmla="*/ 279 h 709"/>
                  <a:gd name="T54" fmla="*/ 309 w 500"/>
                  <a:gd name="T55" fmla="*/ 272 h 709"/>
                  <a:gd name="T56" fmla="*/ 299 w 500"/>
                  <a:gd name="T57" fmla="*/ 254 h 709"/>
                  <a:gd name="T58" fmla="*/ 307 w 500"/>
                  <a:gd name="T59" fmla="*/ 221 h 709"/>
                  <a:gd name="T60" fmla="*/ 183 w 500"/>
                  <a:gd name="T61"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00" h="709">
                    <a:moveTo>
                      <a:pt x="183" y="0"/>
                    </a:moveTo>
                    <a:cubicBezTo>
                      <a:pt x="117" y="37"/>
                      <a:pt x="117" y="37"/>
                      <a:pt x="117" y="37"/>
                    </a:cubicBezTo>
                    <a:cubicBezTo>
                      <a:pt x="66" y="66"/>
                      <a:pt x="66" y="66"/>
                      <a:pt x="66" y="66"/>
                    </a:cubicBezTo>
                    <a:cubicBezTo>
                      <a:pt x="0" y="103"/>
                      <a:pt x="0" y="103"/>
                      <a:pt x="0" y="103"/>
                    </a:cubicBezTo>
                    <a:cubicBezTo>
                      <a:pt x="317" y="668"/>
                      <a:pt x="317" y="668"/>
                      <a:pt x="317" y="668"/>
                    </a:cubicBezTo>
                    <a:cubicBezTo>
                      <a:pt x="432" y="706"/>
                      <a:pt x="432" y="706"/>
                      <a:pt x="432" y="706"/>
                    </a:cubicBezTo>
                    <a:cubicBezTo>
                      <a:pt x="441" y="709"/>
                      <a:pt x="450" y="708"/>
                      <a:pt x="458" y="704"/>
                    </a:cubicBezTo>
                    <a:cubicBezTo>
                      <a:pt x="458" y="704"/>
                      <a:pt x="458" y="704"/>
                      <a:pt x="458" y="704"/>
                    </a:cubicBezTo>
                    <a:cubicBezTo>
                      <a:pt x="466" y="700"/>
                      <a:pt x="471" y="692"/>
                      <a:pt x="473" y="683"/>
                    </a:cubicBezTo>
                    <a:cubicBezTo>
                      <a:pt x="500" y="565"/>
                      <a:pt x="500" y="565"/>
                      <a:pt x="500" y="565"/>
                    </a:cubicBezTo>
                    <a:cubicBezTo>
                      <a:pt x="467" y="505"/>
                      <a:pt x="467" y="505"/>
                      <a:pt x="467" y="505"/>
                    </a:cubicBezTo>
                    <a:cubicBezTo>
                      <a:pt x="439" y="499"/>
                      <a:pt x="439" y="499"/>
                      <a:pt x="439" y="499"/>
                    </a:cubicBezTo>
                    <a:cubicBezTo>
                      <a:pt x="433" y="497"/>
                      <a:pt x="429" y="490"/>
                      <a:pt x="432" y="483"/>
                    </a:cubicBezTo>
                    <a:cubicBezTo>
                      <a:pt x="435" y="476"/>
                      <a:pt x="435" y="476"/>
                      <a:pt x="435" y="476"/>
                    </a:cubicBezTo>
                    <a:cubicBezTo>
                      <a:pt x="439" y="468"/>
                      <a:pt x="434" y="459"/>
                      <a:pt x="426" y="456"/>
                    </a:cubicBezTo>
                    <a:cubicBezTo>
                      <a:pt x="405" y="451"/>
                      <a:pt x="405" y="451"/>
                      <a:pt x="405" y="451"/>
                    </a:cubicBezTo>
                    <a:cubicBezTo>
                      <a:pt x="401" y="450"/>
                      <a:pt x="397" y="447"/>
                      <a:pt x="395" y="443"/>
                    </a:cubicBezTo>
                    <a:cubicBezTo>
                      <a:pt x="372" y="402"/>
                      <a:pt x="372" y="402"/>
                      <a:pt x="372" y="402"/>
                    </a:cubicBezTo>
                    <a:cubicBezTo>
                      <a:pt x="370" y="399"/>
                      <a:pt x="370" y="394"/>
                      <a:pt x="371" y="390"/>
                    </a:cubicBezTo>
                    <a:cubicBezTo>
                      <a:pt x="378" y="368"/>
                      <a:pt x="378" y="368"/>
                      <a:pt x="378" y="368"/>
                    </a:cubicBezTo>
                    <a:cubicBezTo>
                      <a:pt x="380" y="360"/>
                      <a:pt x="375" y="353"/>
                      <a:pt x="368" y="352"/>
                    </a:cubicBezTo>
                    <a:cubicBezTo>
                      <a:pt x="354" y="350"/>
                      <a:pt x="354" y="350"/>
                      <a:pt x="354" y="350"/>
                    </a:cubicBezTo>
                    <a:cubicBezTo>
                      <a:pt x="348" y="349"/>
                      <a:pt x="343" y="343"/>
                      <a:pt x="345" y="336"/>
                    </a:cubicBezTo>
                    <a:cubicBezTo>
                      <a:pt x="351" y="316"/>
                      <a:pt x="351" y="316"/>
                      <a:pt x="351" y="316"/>
                    </a:cubicBezTo>
                    <a:cubicBezTo>
                      <a:pt x="353" y="308"/>
                      <a:pt x="352" y="301"/>
                      <a:pt x="348" y="294"/>
                    </a:cubicBezTo>
                    <a:cubicBezTo>
                      <a:pt x="347" y="292"/>
                      <a:pt x="347" y="292"/>
                      <a:pt x="347" y="292"/>
                    </a:cubicBezTo>
                    <a:cubicBezTo>
                      <a:pt x="344" y="286"/>
                      <a:pt x="338" y="281"/>
                      <a:pt x="331" y="279"/>
                    </a:cubicBezTo>
                    <a:cubicBezTo>
                      <a:pt x="309" y="272"/>
                      <a:pt x="309" y="272"/>
                      <a:pt x="309" y="272"/>
                    </a:cubicBezTo>
                    <a:cubicBezTo>
                      <a:pt x="301" y="270"/>
                      <a:pt x="297" y="262"/>
                      <a:pt x="299" y="254"/>
                    </a:cubicBezTo>
                    <a:cubicBezTo>
                      <a:pt x="307" y="221"/>
                      <a:pt x="307" y="221"/>
                      <a:pt x="307" y="221"/>
                    </a:cubicBezTo>
                    <a:lnTo>
                      <a:pt x="183" y="0"/>
                    </a:lnTo>
                    <a:close/>
                  </a:path>
                </a:pathLst>
              </a:custGeom>
              <a:solidFill>
                <a:srgbClr val="FAC60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2" name="iSľíḍé">
                <a:extLst>
                  <a:ext uri="{FF2B5EF4-FFF2-40B4-BE49-F238E27FC236}">
                    <a16:creationId xmlns:a16="http://schemas.microsoft.com/office/drawing/2014/main" id="{CBE1A6D1-6CF9-469D-AB61-19C4BB88C983}"/>
                  </a:ext>
                </a:extLst>
              </p:cNvPr>
              <p:cNvSpPr/>
              <p:nvPr/>
            </p:nvSpPr>
            <p:spPr bwMode="auto">
              <a:xfrm>
                <a:off x="5808663" y="3154363"/>
                <a:ext cx="760413" cy="573088"/>
              </a:xfrm>
              <a:custGeom>
                <a:avLst/>
                <a:gdLst>
                  <a:gd name="T0" fmla="*/ 246 w 257"/>
                  <a:gd name="T1" fmla="*/ 78 h 194"/>
                  <a:gd name="T2" fmla="*/ 246 w 257"/>
                  <a:gd name="T3" fmla="*/ 39 h 194"/>
                  <a:gd name="T4" fmla="*/ 205 w 257"/>
                  <a:gd name="T5" fmla="*/ 0 h 194"/>
                  <a:gd name="T6" fmla="*/ 104 w 257"/>
                  <a:gd name="T7" fmla="*/ 57 h 194"/>
                  <a:gd name="T8" fmla="*/ 101 w 257"/>
                  <a:gd name="T9" fmla="*/ 58 h 194"/>
                  <a:gd name="T10" fmla="*/ 0 w 257"/>
                  <a:gd name="T11" fmla="*/ 115 h 194"/>
                  <a:gd name="T12" fmla="*/ 13 w 257"/>
                  <a:gd name="T13" fmla="*/ 170 h 194"/>
                  <a:gd name="T14" fmla="*/ 46 w 257"/>
                  <a:gd name="T15" fmla="*/ 191 h 194"/>
                  <a:gd name="T16" fmla="*/ 161 w 257"/>
                  <a:gd name="T17" fmla="*/ 165 h 194"/>
                  <a:gd name="T18" fmla="*/ 246 w 257"/>
                  <a:gd name="T19" fmla="*/ 7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194">
                    <a:moveTo>
                      <a:pt x="246" y="78"/>
                    </a:moveTo>
                    <a:cubicBezTo>
                      <a:pt x="257" y="68"/>
                      <a:pt x="257" y="50"/>
                      <a:pt x="246" y="39"/>
                    </a:cubicBezTo>
                    <a:cubicBezTo>
                      <a:pt x="205" y="0"/>
                      <a:pt x="205" y="0"/>
                      <a:pt x="205" y="0"/>
                    </a:cubicBezTo>
                    <a:cubicBezTo>
                      <a:pt x="104" y="57"/>
                      <a:pt x="104" y="57"/>
                      <a:pt x="104" y="57"/>
                    </a:cubicBezTo>
                    <a:cubicBezTo>
                      <a:pt x="101" y="58"/>
                      <a:pt x="101" y="58"/>
                      <a:pt x="101" y="58"/>
                    </a:cubicBezTo>
                    <a:cubicBezTo>
                      <a:pt x="0" y="115"/>
                      <a:pt x="0" y="115"/>
                      <a:pt x="0" y="115"/>
                    </a:cubicBezTo>
                    <a:cubicBezTo>
                      <a:pt x="13" y="170"/>
                      <a:pt x="13" y="170"/>
                      <a:pt x="13" y="170"/>
                    </a:cubicBezTo>
                    <a:cubicBezTo>
                      <a:pt x="16" y="185"/>
                      <a:pt x="31" y="194"/>
                      <a:pt x="46" y="191"/>
                    </a:cubicBezTo>
                    <a:cubicBezTo>
                      <a:pt x="161" y="165"/>
                      <a:pt x="161" y="165"/>
                      <a:pt x="161" y="165"/>
                    </a:cubicBezTo>
                    <a:lnTo>
                      <a:pt x="246" y="78"/>
                    </a:lnTo>
                    <a:close/>
                  </a:path>
                </a:pathLst>
              </a:custGeom>
              <a:solidFill>
                <a:srgbClr val="FBD55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62500" lnSpcReduction="20000"/>
              </a:bodyPr>
              <a:lstStyle/>
              <a:p>
                <a:pPr algn="ctr"/>
                <a:endParaRPr/>
              </a:p>
            </p:txBody>
          </p:sp>
          <p:sp>
            <p:nvSpPr>
              <p:cNvPr id="33" name="îš1îḋê">
                <a:extLst>
                  <a:ext uri="{FF2B5EF4-FFF2-40B4-BE49-F238E27FC236}">
                    <a16:creationId xmlns:a16="http://schemas.microsoft.com/office/drawing/2014/main" id="{93B602DB-3096-475C-8D5D-28633CDCBCF7}"/>
                  </a:ext>
                </a:extLst>
              </p:cNvPr>
              <p:cNvSpPr/>
              <p:nvPr/>
            </p:nvSpPr>
            <p:spPr bwMode="auto">
              <a:xfrm>
                <a:off x="5856288" y="3216276"/>
                <a:ext cx="1455738" cy="2071688"/>
              </a:xfrm>
              <a:custGeom>
                <a:avLst/>
                <a:gdLst>
                  <a:gd name="T0" fmla="*/ 299 w 492"/>
                  <a:gd name="T1" fmla="*/ 222 h 701"/>
                  <a:gd name="T2" fmla="*/ 175 w 492"/>
                  <a:gd name="T3" fmla="*/ 0 h 701"/>
                  <a:gd name="T4" fmla="*/ 109 w 492"/>
                  <a:gd name="T5" fmla="*/ 37 h 701"/>
                  <a:gd name="T6" fmla="*/ 57 w 492"/>
                  <a:gd name="T7" fmla="*/ 65 h 701"/>
                  <a:gd name="T8" fmla="*/ 0 w 492"/>
                  <a:gd name="T9" fmla="*/ 97 h 701"/>
                  <a:gd name="T10" fmla="*/ 316 w 492"/>
                  <a:gd name="T11" fmla="*/ 660 h 701"/>
                  <a:gd name="T12" fmla="*/ 431 w 492"/>
                  <a:gd name="T13" fmla="*/ 698 h 701"/>
                  <a:gd name="T14" fmla="*/ 457 w 492"/>
                  <a:gd name="T15" fmla="*/ 696 h 701"/>
                  <a:gd name="T16" fmla="*/ 460 w 492"/>
                  <a:gd name="T17" fmla="*/ 694 h 701"/>
                  <a:gd name="T18" fmla="*/ 465 w 492"/>
                  <a:gd name="T19" fmla="*/ 683 h 701"/>
                  <a:gd name="T20" fmla="*/ 492 w 492"/>
                  <a:gd name="T21" fmla="*/ 564 h 701"/>
                  <a:gd name="T22" fmla="*/ 458 w 492"/>
                  <a:gd name="T23" fmla="*/ 505 h 701"/>
                  <a:gd name="T24" fmla="*/ 431 w 492"/>
                  <a:gd name="T25" fmla="*/ 498 h 701"/>
                  <a:gd name="T26" fmla="*/ 423 w 492"/>
                  <a:gd name="T27" fmla="*/ 483 h 701"/>
                  <a:gd name="T28" fmla="*/ 426 w 492"/>
                  <a:gd name="T29" fmla="*/ 475 h 701"/>
                  <a:gd name="T30" fmla="*/ 417 w 492"/>
                  <a:gd name="T31" fmla="*/ 456 h 701"/>
                  <a:gd name="T32" fmla="*/ 396 w 492"/>
                  <a:gd name="T33" fmla="*/ 450 h 701"/>
                  <a:gd name="T34" fmla="*/ 387 w 492"/>
                  <a:gd name="T35" fmla="*/ 443 h 701"/>
                  <a:gd name="T36" fmla="*/ 364 w 492"/>
                  <a:gd name="T37" fmla="*/ 402 h 701"/>
                  <a:gd name="T38" fmla="*/ 362 w 492"/>
                  <a:gd name="T39" fmla="*/ 389 h 701"/>
                  <a:gd name="T40" fmla="*/ 369 w 492"/>
                  <a:gd name="T41" fmla="*/ 367 h 701"/>
                  <a:gd name="T42" fmla="*/ 359 w 492"/>
                  <a:gd name="T43" fmla="*/ 352 h 701"/>
                  <a:gd name="T44" fmla="*/ 346 w 492"/>
                  <a:gd name="T45" fmla="*/ 350 h 701"/>
                  <a:gd name="T46" fmla="*/ 337 w 492"/>
                  <a:gd name="T47" fmla="*/ 336 h 701"/>
                  <a:gd name="T48" fmla="*/ 342 w 492"/>
                  <a:gd name="T49" fmla="*/ 315 h 701"/>
                  <a:gd name="T50" fmla="*/ 340 w 492"/>
                  <a:gd name="T51" fmla="*/ 294 h 701"/>
                  <a:gd name="T52" fmla="*/ 339 w 492"/>
                  <a:gd name="T53" fmla="*/ 292 h 701"/>
                  <a:gd name="T54" fmla="*/ 322 w 492"/>
                  <a:gd name="T55" fmla="*/ 278 h 701"/>
                  <a:gd name="T56" fmla="*/ 301 w 492"/>
                  <a:gd name="T57" fmla="*/ 272 h 701"/>
                  <a:gd name="T58" fmla="*/ 290 w 492"/>
                  <a:gd name="T59" fmla="*/ 254 h 701"/>
                  <a:gd name="T60" fmla="*/ 299 w 492"/>
                  <a:gd name="T61" fmla="*/ 222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2" h="701">
                    <a:moveTo>
                      <a:pt x="299" y="222"/>
                    </a:moveTo>
                    <a:cubicBezTo>
                      <a:pt x="175" y="0"/>
                      <a:pt x="175" y="0"/>
                      <a:pt x="175" y="0"/>
                    </a:cubicBezTo>
                    <a:cubicBezTo>
                      <a:pt x="109" y="37"/>
                      <a:pt x="109" y="37"/>
                      <a:pt x="109" y="37"/>
                    </a:cubicBezTo>
                    <a:cubicBezTo>
                      <a:pt x="57" y="65"/>
                      <a:pt x="57" y="65"/>
                      <a:pt x="57" y="65"/>
                    </a:cubicBezTo>
                    <a:cubicBezTo>
                      <a:pt x="0" y="97"/>
                      <a:pt x="0" y="97"/>
                      <a:pt x="0" y="97"/>
                    </a:cubicBezTo>
                    <a:cubicBezTo>
                      <a:pt x="316" y="660"/>
                      <a:pt x="316" y="660"/>
                      <a:pt x="316" y="660"/>
                    </a:cubicBezTo>
                    <a:cubicBezTo>
                      <a:pt x="431" y="698"/>
                      <a:pt x="431" y="698"/>
                      <a:pt x="431" y="698"/>
                    </a:cubicBezTo>
                    <a:cubicBezTo>
                      <a:pt x="440" y="701"/>
                      <a:pt x="449" y="700"/>
                      <a:pt x="457" y="696"/>
                    </a:cubicBezTo>
                    <a:cubicBezTo>
                      <a:pt x="458" y="695"/>
                      <a:pt x="459" y="695"/>
                      <a:pt x="460" y="694"/>
                    </a:cubicBezTo>
                    <a:cubicBezTo>
                      <a:pt x="462" y="691"/>
                      <a:pt x="464" y="687"/>
                      <a:pt x="465" y="683"/>
                    </a:cubicBezTo>
                    <a:cubicBezTo>
                      <a:pt x="492" y="564"/>
                      <a:pt x="492" y="564"/>
                      <a:pt x="492" y="564"/>
                    </a:cubicBezTo>
                    <a:cubicBezTo>
                      <a:pt x="458" y="505"/>
                      <a:pt x="458" y="505"/>
                      <a:pt x="458" y="505"/>
                    </a:cubicBezTo>
                    <a:cubicBezTo>
                      <a:pt x="431" y="498"/>
                      <a:pt x="431" y="498"/>
                      <a:pt x="431" y="498"/>
                    </a:cubicBezTo>
                    <a:cubicBezTo>
                      <a:pt x="424" y="497"/>
                      <a:pt x="420" y="489"/>
                      <a:pt x="423" y="483"/>
                    </a:cubicBezTo>
                    <a:cubicBezTo>
                      <a:pt x="426" y="475"/>
                      <a:pt x="426" y="475"/>
                      <a:pt x="426" y="475"/>
                    </a:cubicBezTo>
                    <a:cubicBezTo>
                      <a:pt x="430" y="467"/>
                      <a:pt x="426" y="458"/>
                      <a:pt x="417" y="456"/>
                    </a:cubicBezTo>
                    <a:cubicBezTo>
                      <a:pt x="396" y="450"/>
                      <a:pt x="396" y="450"/>
                      <a:pt x="396" y="450"/>
                    </a:cubicBezTo>
                    <a:cubicBezTo>
                      <a:pt x="392" y="449"/>
                      <a:pt x="389" y="447"/>
                      <a:pt x="387" y="443"/>
                    </a:cubicBezTo>
                    <a:cubicBezTo>
                      <a:pt x="364" y="402"/>
                      <a:pt x="364" y="402"/>
                      <a:pt x="364" y="402"/>
                    </a:cubicBezTo>
                    <a:cubicBezTo>
                      <a:pt x="361" y="398"/>
                      <a:pt x="361" y="394"/>
                      <a:pt x="362" y="389"/>
                    </a:cubicBezTo>
                    <a:cubicBezTo>
                      <a:pt x="369" y="367"/>
                      <a:pt x="369" y="367"/>
                      <a:pt x="369" y="367"/>
                    </a:cubicBezTo>
                    <a:cubicBezTo>
                      <a:pt x="371" y="360"/>
                      <a:pt x="367" y="353"/>
                      <a:pt x="359" y="352"/>
                    </a:cubicBezTo>
                    <a:cubicBezTo>
                      <a:pt x="346" y="350"/>
                      <a:pt x="346" y="350"/>
                      <a:pt x="346" y="350"/>
                    </a:cubicBezTo>
                    <a:cubicBezTo>
                      <a:pt x="339" y="349"/>
                      <a:pt x="335" y="342"/>
                      <a:pt x="337" y="336"/>
                    </a:cubicBezTo>
                    <a:cubicBezTo>
                      <a:pt x="342" y="315"/>
                      <a:pt x="342" y="315"/>
                      <a:pt x="342" y="315"/>
                    </a:cubicBezTo>
                    <a:cubicBezTo>
                      <a:pt x="344" y="308"/>
                      <a:pt x="343" y="300"/>
                      <a:pt x="340" y="294"/>
                    </a:cubicBezTo>
                    <a:cubicBezTo>
                      <a:pt x="339" y="292"/>
                      <a:pt x="339" y="292"/>
                      <a:pt x="339" y="292"/>
                    </a:cubicBezTo>
                    <a:cubicBezTo>
                      <a:pt x="335" y="285"/>
                      <a:pt x="329" y="281"/>
                      <a:pt x="322" y="278"/>
                    </a:cubicBezTo>
                    <a:cubicBezTo>
                      <a:pt x="301" y="272"/>
                      <a:pt x="301" y="272"/>
                      <a:pt x="301" y="272"/>
                    </a:cubicBezTo>
                    <a:cubicBezTo>
                      <a:pt x="293" y="270"/>
                      <a:pt x="288" y="261"/>
                      <a:pt x="290" y="254"/>
                    </a:cubicBezTo>
                    <a:lnTo>
                      <a:pt x="299" y="222"/>
                    </a:lnTo>
                    <a:close/>
                  </a:path>
                </a:pathLst>
              </a:custGeom>
              <a:solidFill>
                <a:srgbClr val="FBD55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4" name="ïSlîḋè">
                <a:extLst>
                  <a:ext uri="{FF2B5EF4-FFF2-40B4-BE49-F238E27FC236}">
                    <a16:creationId xmlns:a16="http://schemas.microsoft.com/office/drawing/2014/main" id="{EFF291C5-B2C2-44E1-A106-542F3E8084E0}"/>
                  </a:ext>
                </a:extLst>
              </p:cNvPr>
              <p:cNvSpPr/>
              <p:nvPr/>
            </p:nvSpPr>
            <p:spPr bwMode="auto">
              <a:xfrm>
                <a:off x="6064250" y="3308351"/>
                <a:ext cx="1190625" cy="1979613"/>
              </a:xfrm>
              <a:custGeom>
                <a:avLst/>
                <a:gdLst>
                  <a:gd name="T0" fmla="*/ 42 w 403"/>
                  <a:gd name="T1" fmla="*/ 0 h 670"/>
                  <a:gd name="T2" fmla="*/ 0 w 403"/>
                  <a:gd name="T3" fmla="*/ 24 h 670"/>
                  <a:gd name="T4" fmla="*/ 361 w 403"/>
                  <a:gd name="T5" fmla="*/ 667 h 670"/>
                  <a:gd name="T6" fmla="*/ 361 w 403"/>
                  <a:gd name="T7" fmla="*/ 667 h 670"/>
                  <a:gd name="T8" fmla="*/ 387 w 403"/>
                  <a:gd name="T9" fmla="*/ 665 h 670"/>
                  <a:gd name="T10" fmla="*/ 402 w 403"/>
                  <a:gd name="T11" fmla="*/ 644 h 670"/>
                  <a:gd name="T12" fmla="*/ 403 w 403"/>
                  <a:gd name="T13" fmla="*/ 643 h 670"/>
                  <a:gd name="T14" fmla="*/ 42 w 403"/>
                  <a:gd name="T15" fmla="*/ 0 h 6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3" h="670">
                    <a:moveTo>
                      <a:pt x="42" y="0"/>
                    </a:moveTo>
                    <a:cubicBezTo>
                      <a:pt x="0" y="24"/>
                      <a:pt x="0" y="24"/>
                      <a:pt x="0" y="24"/>
                    </a:cubicBezTo>
                    <a:cubicBezTo>
                      <a:pt x="361" y="667"/>
                      <a:pt x="361" y="667"/>
                      <a:pt x="361" y="667"/>
                    </a:cubicBezTo>
                    <a:cubicBezTo>
                      <a:pt x="361" y="667"/>
                      <a:pt x="361" y="667"/>
                      <a:pt x="361" y="667"/>
                    </a:cubicBezTo>
                    <a:cubicBezTo>
                      <a:pt x="370" y="670"/>
                      <a:pt x="379" y="669"/>
                      <a:pt x="387" y="665"/>
                    </a:cubicBezTo>
                    <a:cubicBezTo>
                      <a:pt x="395" y="661"/>
                      <a:pt x="400" y="653"/>
                      <a:pt x="402" y="644"/>
                    </a:cubicBezTo>
                    <a:cubicBezTo>
                      <a:pt x="403" y="643"/>
                      <a:pt x="403" y="643"/>
                      <a:pt x="403" y="643"/>
                    </a:cubicBezTo>
                    <a:lnTo>
                      <a:pt x="42" y="0"/>
                    </a:lnTo>
                    <a:close/>
                  </a:path>
                </a:pathLst>
              </a:custGeom>
              <a:solidFill>
                <a:srgbClr val="FCCF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5" name="iṡļïďê">
                <a:extLst>
                  <a:ext uri="{FF2B5EF4-FFF2-40B4-BE49-F238E27FC236}">
                    <a16:creationId xmlns:a16="http://schemas.microsoft.com/office/drawing/2014/main" id="{A2D72BAA-1643-439D-B049-98CF09CE5B51}"/>
                  </a:ext>
                </a:extLst>
              </p:cNvPr>
              <p:cNvSpPr/>
              <p:nvPr/>
            </p:nvSpPr>
            <p:spPr bwMode="auto">
              <a:xfrm>
                <a:off x="6051550" y="3695701"/>
                <a:ext cx="804863" cy="1403350"/>
              </a:xfrm>
              <a:custGeom>
                <a:avLst/>
                <a:gdLst>
                  <a:gd name="T0" fmla="*/ 507 w 507"/>
                  <a:gd name="T1" fmla="*/ 876 h 884"/>
                  <a:gd name="T2" fmla="*/ 492 w 507"/>
                  <a:gd name="T3" fmla="*/ 884 h 884"/>
                  <a:gd name="T4" fmla="*/ 0 w 507"/>
                  <a:gd name="T5" fmla="*/ 9 h 884"/>
                  <a:gd name="T6" fmla="*/ 15 w 507"/>
                  <a:gd name="T7" fmla="*/ 0 h 884"/>
                  <a:gd name="T8" fmla="*/ 507 w 507"/>
                  <a:gd name="T9" fmla="*/ 876 h 884"/>
                </a:gdLst>
                <a:ahLst/>
                <a:cxnLst>
                  <a:cxn ang="0">
                    <a:pos x="T0" y="T1"/>
                  </a:cxn>
                  <a:cxn ang="0">
                    <a:pos x="T2" y="T3"/>
                  </a:cxn>
                  <a:cxn ang="0">
                    <a:pos x="T4" y="T5"/>
                  </a:cxn>
                  <a:cxn ang="0">
                    <a:pos x="T6" y="T7"/>
                  </a:cxn>
                  <a:cxn ang="0">
                    <a:pos x="T8" y="T9"/>
                  </a:cxn>
                </a:cxnLst>
                <a:rect l="0" t="0" r="r" b="b"/>
                <a:pathLst>
                  <a:path w="507" h="884">
                    <a:moveTo>
                      <a:pt x="507" y="876"/>
                    </a:moveTo>
                    <a:lnTo>
                      <a:pt x="492" y="884"/>
                    </a:lnTo>
                    <a:lnTo>
                      <a:pt x="0" y="9"/>
                    </a:lnTo>
                    <a:lnTo>
                      <a:pt x="15" y="0"/>
                    </a:lnTo>
                    <a:lnTo>
                      <a:pt x="507" y="876"/>
                    </a:lnTo>
                    <a:close/>
                  </a:path>
                </a:pathLst>
              </a:custGeom>
              <a:solidFill>
                <a:srgbClr val="FCCF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6" name="ïṡľiḍe">
                <a:extLst>
                  <a:ext uri="{FF2B5EF4-FFF2-40B4-BE49-F238E27FC236}">
                    <a16:creationId xmlns:a16="http://schemas.microsoft.com/office/drawing/2014/main" id="{4AA992B8-1293-44C9-A35C-AB2CD3C4894E}"/>
                  </a:ext>
                </a:extLst>
              </p:cNvPr>
              <p:cNvSpPr/>
              <p:nvPr/>
            </p:nvSpPr>
            <p:spPr bwMode="auto">
              <a:xfrm>
                <a:off x="5427663" y="1966913"/>
                <a:ext cx="1174750" cy="1495425"/>
              </a:xfrm>
              <a:custGeom>
                <a:avLst/>
                <a:gdLst>
                  <a:gd name="T0" fmla="*/ 135 w 397"/>
                  <a:gd name="T1" fmla="*/ 0 h 506"/>
                  <a:gd name="T2" fmla="*/ 239 w 397"/>
                  <a:gd name="T3" fmla="*/ 100 h 506"/>
                  <a:gd name="T4" fmla="*/ 144 w 397"/>
                  <a:gd name="T5" fmla="*/ 438 h 506"/>
                  <a:gd name="T6" fmla="*/ 0 w 397"/>
                  <a:gd name="T7" fmla="*/ 469 h 506"/>
                  <a:gd name="T8" fmla="*/ 234 w 397"/>
                  <a:gd name="T9" fmla="*/ 464 h 506"/>
                  <a:gd name="T10" fmla="*/ 330 w 397"/>
                  <a:gd name="T11" fmla="*/ 126 h 506"/>
                  <a:gd name="T12" fmla="*/ 135 w 397"/>
                  <a:gd name="T13" fmla="*/ 0 h 506"/>
                </a:gdLst>
                <a:ahLst/>
                <a:cxnLst>
                  <a:cxn ang="0">
                    <a:pos x="T0" y="T1"/>
                  </a:cxn>
                  <a:cxn ang="0">
                    <a:pos x="T2" y="T3"/>
                  </a:cxn>
                  <a:cxn ang="0">
                    <a:pos x="T4" y="T5"/>
                  </a:cxn>
                  <a:cxn ang="0">
                    <a:pos x="T6" y="T7"/>
                  </a:cxn>
                  <a:cxn ang="0">
                    <a:pos x="T8" y="T9"/>
                  </a:cxn>
                  <a:cxn ang="0">
                    <a:pos x="T10" y="T11"/>
                  </a:cxn>
                  <a:cxn ang="0">
                    <a:pos x="T12" y="T13"/>
                  </a:cxn>
                </a:cxnLst>
                <a:rect l="0" t="0" r="r" b="b"/>
                <a:pathLst>
                  <a:path w="397" h="506">
                    <a:moveTo>
                      <a:pt x="135" y="0"/>
                    </a:moveTo>
                    <a:cubicBezTo>
                      <a:pt x="178" y="22"/>
                      <a:pt x="214" y="56"/>
                      <a:pt x="239" y="100"/>
                    </a:cubicBezTo>
                    <a:cubicBezTo>
                      <a:pt x="306" y="220"/>
                      <a:pt x="264" y="371"/>
                      <a:pt x="144" y="438"/>
                    </a:cubicBezTo>
                    <a:cubicBezTo>
                      <a:pt x="99" y="464"/>
                      <a:pt x="49" y="473"/>
                      <a:pt x="0" y="469"/>
                    </a:cubicBezTo>
                    <a:cubicBezTo>
                      <a:pt x="72" y="505"/>
                      <a:pt x="159" y="506"/>
                      <a:pt x="234" y="464"/>
                    </a:cubicBezTo>
                    <a:cubicBezTo>
                      <a:pt x="354" y="397"/>
                      <a:pt x="397" y="246"/>
                      <a:pt x="330" y="126"/>
                    </a:cubicBezTo>
                    <a:cubicBezTo>
                      <a:pt x="288" y="52"/>
                      <a:pt x="214" y="8"/>
                      <a:pt x="135" y="0"/>
                    </a:cubicBezTo>
                    <a:close/>
                  </a:path>
                </a:pathLst>
              </a:custGeom>
              <a:solidFill>
                <a:srgbClr val="FBD55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7" name="îṩḻíḍe">
                <a:extLst>
                  <a:ext uri="{FF2B5EF4-FFF2-40B4-BE49-F238E27FC236}">
                    <a16:creationId xmlns:a16="http://schemas.microsoft.com/office/drawing/2014/main" id="{31399F9B-1E49-4D7C-B5F2-9B6EDDAD002E}"/>
                  </a:ext>
                </a:extLst>
              </p:cNvPr>
              <p:cNvSpPr/>
              <p:nvPr/>
            </p:nvSpPr>
            <p:spPr bwMode="auto">
              <a:xfrm>
                <a:off x="4921250" y="1860551"/>
                <a:ext cx="1681163" cy="1674813"/>
              </a:xfrm>
              <a:custGeom>
                <a:avLst/>
                <a:gdLst>
                  <a:gd name="T0" fmla="*/ 162 w 568"/>
                  <a:gd name="T1" fmla="*/ 67 h 567"/>
                  <a:gd name="T2" fmla="*/ 67 w 568"/>
                  <a:gd name="T3" fmla="*/ 405 h 567"/>
                  <a:gd name="T4" fmla="*/ 405 w 568"/>
                  <a:gd name="T5" fmla="*/ 500 h 567"/>
                  <a:gd name="T6" fmla="*/ 501 w 568"/>
                  <a:gd name="T7" fmla="*/ 162 h 567"/>
                  <a:gd name="T8" fmla="*/ 162 w 568"/>
                  <a:gd name="T9" fmla="*/ 67 h 567"/>
                  <a:gd name="T10" fmla="*/ 395 w 568"/>
                  <a:gd name="T11" fmla="*/ 481 h 567"/>
                  <a:gd name="T12" fmla="*/ 87 w 568"/>
                  <a:gd name="T13" fmla="*/ 394 h 567"/>
                  <a:gd name="T14" fmla="*/ 173 w 568"/>
                  <a:gd name="T15" fmla="*/ 87 h 567"/>
                  <a:gd name="T16" fmla="*/ 481 w 568"/>
                  <a:gd name="T17" fmla="*/ 173 h 567"/>
                  <a:gd name="T18" fmla="*/ 395 w 568"/>
                  <a:gd name="T19" fmla="*/ 48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8" h="567">
                    <a:moveTo>
                      <a:pt x="162" y="67"/>
                    </a:moveTo>
                    <a:cubicBezTo>
                      <a:pt x="43" y="134"/>
                      <a:pt x="0" y="286"/>
                      <a:pt x="67" y="405"/>
                    </a:cubicBezTo>
                    <a:cubicBezTo>
                      <a:pt x="134" y="525"/>
                      <a:pt x="286" y="567"/>
                      <a:pt x="405" y="500"/>
                    </a:cubicBezTo>
                    <a:cubicBezTo>
                      <a:pt x="525" y="433"/>
                      <a:pt x="568" y="282"/>
                      <a:pt x="501" y="162"/>
                    </a:cubicBezTo>
                    <a:cubicBezTo>
                      <a:pt x="433" y="43"/>
                      <a:pt x="282" y="0"/>
                      <a:pt x="162" y="67"/>
                    </a:cubicBezTo>
                    <a:close/>
                    <a:moveTo>
                      <a:pt x="395" y="481"/>
                    </a:moveTo>
                    <a:cubicBezTo>
                      <a:pt x="286" y="542"/>
                      <a:pt x="148" y="503"/>
                      <a:pt x="87" y="394"/>
                    </a:cubicBezTo>
                    <a:cubicBezTo>
                      <a:pt x="26" y="286"/>
                      <a:pt x="64" y="148"/>
                      <a:pt x="173" y="87"/>
                    </a:cubicBezTo>
                    <a:cubicBezTo>
                      <a:pt x="282" y="26"/>
                      <a:pt x="420" y="64"/>
                      <a:pt x="481" y="173"/>
                    </a:cubicBezTo>
                    <a:cubicBezTo>
                      <a:pt x="542" y="282"/>
                      <a:pt x="503" y="420"/>
                      <a:pt x="395" y="481"/>
                    </a:cubicBezTo>
                    <a:close/>
                  </a:path>
                </a:pathLst>
              </a:custGeom>
              <a:solidFill>
                <a:srgbClr val="FCC203"/>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8" name="iṣ1íḑé">
                <a:extLst>
                  <a:ext uri="{FF2B5EF4-FFF2-40B4-BE49-F238E27FC236}">
                    <a16:creationId xmlns:a16="http://schemas.microsoft.com/office/drawing/2014/main" id="{31963653-CBFD-4B5D-8132-5ECBE7A517E8}"/>
                  </a:ext>
                </a:extLst>
              </p:cNvPr>
              <p:cNvSpPr/>
              <p:nvPr/>
            </p:nvSpPr>
            <p:spPr bwMode="auto">
              <a:xfrm>
                <a:off x="4848225" y="1785938"/>
                <a:ext cx="1830388" cy="1828800"/>
              </a:xfrm>
              <a:custGeom>
                <a:avLst/>
                <a:gdLst>
                  <a:gd name="T0" fmla="*/ 176 w 619"/>
                  <a:gd name="T1" fmla="*/ 73 h 619"/>
                  <a:gd name="T2" fmla="*/ 73 w 619"/>
                  <a:gd name="T3" fmla="*/ 442 h 619"/>
                  <a:gd name="T4" fmla="*/ 442 w 619"/>
                  <a:gd name="T5" fmla="*/ 545 h 619"/>
                  <a:gd name="T6" fmla="*/ 545 w 619"/>
                  <a:gd name="T7" fmla="*/ 177 h 619"/>
                  <a:gd name="T8" fmla="*/ 176 w 619"/>
                  <a:gd name="T9" fmla="*/ 73 h 619"/>
                  <a:gd name="T10" fmla="*/ 425 w 619"/>
                  <a:gd name="T11" fmla="*/ 516 h 619"/>
                  <a:gd name="T12" fmla="*/ 102 w 619"/>
                  <a:gd name="T13" fmla="*/ 426 h 619"/>
                  <a:gd name="T14" fmla="*/ 193 w 619"/>
                  <a:gd name="T15" fmla="*/ 102 h 619"/>
                  <a:gd name="T16" fmla="*/ 516 w 619"/>
                  <a:gd name="T17" fmla="*/ 193 h 619"/>
                  <a:gd name="T18" fmla="*/ 425 w 619"/>
                  <a:gd name="T19" fmla="*/ 516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19">
                    <a:moveTo>
                      <a:pt x="176" y="73"/>
                    </a:moveTo>
                    <a:cubicBezTo>
                      <a:pt x="46" y="146"/>
                      <a:pt x="0" y="311"/>
                      <a:pt x="73" y="442"/>
                    </a:cubicBezTo>
                    <a:cubicBezTo>
                      <a:pt x="146" y="572"/>
                      <a:pt x="311" y="619"/>
                      <a:pt x="442" y="545"/>
                    </a:cubicBezTo>
                    <a:cubicBezTo>
                      <a:pt x="572" y="472"/>
                      <a:pt x="619" y="307"/>
                      <a:pt x="545" y="177"/>
                    </a:cubicBezTo>
                    <a:cubicBezTo>
                      <a:pt x="472" y="46"/>
                      <a:pt x="307" y="0"/>
                      <a:pt x="176" y="73"/>
                    </a:cubicBezTo>
                    <a:close/>
                    <a:moveTo>
                      <a:pt x="425" y="516"/>
                    </a:moveTo>
                    <a:cubicBezTo>
                      <a:pt x="311" y="581"/>
                      <a:pt x="166" y="540"/>
                      <a:pt x="102" y="426"/>
                    </a:cubicBezTo>
                    <a:cubicBezTo>
                      <a:pt x="38" y="311"/>
                      <a:pt x="78" y="166"/>
                      <a:pt x="193" y="102"/>
                    </a:cubicBezTo>
                    <a:cubicBezTo>
                      <a:pt x="307" y="38"/>
                      <a:pt x="452" y="78"/>
                      <a:pt x="516" y="193"/>
                    </a:cubicBezTo>
                    <a:cubicBezTo>
                      <a:pt x="581" y="307"/>
                      <a:pt x="540" y="452"/>
                      <a:pt x="425" y="516"/>
                    </a:cubicBezTo>
                    <a:close/>
                  </a:path>
                </a:pathLst>
              </a:custGeom>
              <a:solidFill>
                <a:srgbClr val="FCCF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39" name="ïşḷíḍe">
                <a:extLst>
                  <a:ext uri="{FF2B5EF4-FFF2-40B4-BE49-F238E27FC236}">
                    <a16:creationId xmlns:a16="http://schemas.microsoft.com/office/drawing/2014/main" id="{CDC003EE-65A0-4D9F-B8BE-3750EAF2C07D}"/>
                  </a:ext>
                </a:extLst>
              </p:cNvPr>
              <p:cNvSpPr/>
              <p:nvPr/>
            </p:nvSpPr>
            <p:spPr bwMode="auto">
              <a:xfrm>
                <a:off x="5468938" y="2265363"/>
                <a:ext cx="381000" cy="381000"/>
              </a:xfrm>
              <a:custGeom>
                <a:avLst/>
                <a:gdLst>
                  <a:gd name="T0" fmla="*/ 64 w 129"/>
                  <a:gd name="T1" fmla="*/ 0 h 129"/>
                  <a:gd name="T2" fmla="*/ 0 w 129"/>
                  <a:gd name="T3" fmla="*/ 65 h 129"/>
                  <a:gd name="T4" fmla="*/ 64 w 129"/>
                  <a:gd name="T5" fmla="*/ 129 h 129"/>
                  <a:gd name="T6" fmla="*/ 129 w 129"/>
                  <a:gd name="T7" fmla="*/ 65 h 129"/>
                  <a:gd name="T8" fmla="*/ 64 w 129"/>
                  <a:gd name="T9" fmla="*/ 0 h 129"/>
                  <a:gd name="T10" fmla="*/ 64 w 129"/>
                  <a:gd name="T11" fmla="*/ 99 h 129"/>
                  <a:gd name="T12" fmla="*/ 30 w 129"/>
                  <a:gd name="T13" fmla="*/ 65 h 129"/>
                  <a:gd name="T14" fmla="*/ 64 w 129"/>
                  <a:gd name="T15" fmla="*/ 30 h 129"/>
                  <a:gd name="T16" fmla="*/ 99 w 129"/>
                  <a:gd name="T17" fmla="*/ 65 h 129"/>
                  <a:gd name="T18" fmla="*/ 64 w 129"/>
                  <a:gd name="T19" fmla="*/ 9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29">
                    <a:moveTo>
                      <a:pt x="64" y="0"/>
                    </a:moveTo>
                    <a:cubicBezTo>
                      <a:pt x="29" y="0"/>
                      <a:pt x="0" y="29"/>
                      <a:pt x="0" y="65"/>
                    </a:cubicBezTo>
                    <a:cubicBezTo>
                      <a:pt x="0" y="100"/>
                      <a:pt x="29" y="129"/>
                      <a:pt x="64" y="129"/>
                    </a:cubicBezTo>
                    <a:cubicBezTo>
                      <a:pt x="100" y="129"/>
                      <a:pt x="129" y="100"/>
                      <a:pt x="129" y="65"/>
                    </a:cubicBezTo>
                    <a:cubicBezTo>
                      <a:pt x="129" y="29"/>
                      <a:pt x="100" y="0"/>
                      <a:pt x="64" y="0"/>
                    </a:cubicBezTo>
                    <a:close/>
                    <a:moveTo>
                      <a:pt x="64" y="99"/>
                    </a:moveTo>
                    <a:cubicBezTo>
                      <a:pt x="45" y="99"/>
                      <a:pt x="30" y="84"/>
                      <a:pt x="30" y="65"/>
                    </a:cubicBezTo>
                    <a:cubicBezTo>
                      <a:pt x="30" y="45"/>
                      <a:pt x="45" y="30"/>
                      <a:pt x="64" y="30"/>
                    </a:cubicBezTo>
                    <a:cubicBezTo>
                      <a:pt x="84" y="30"/>
                      <a:pt x="99" y="45"/>
                      <a:pt x="99" y="65"/>
                    </a:cubicBezTo>
                    <a:cubicBezTo>
                      <a:pt x="99" y="84"/>
                      <a:pt x="84" y="99"/>
                      <a:pt x="64" y="99"/>
                    </a:cubicBezTo>
                    <a:close/>
                  </a:path>
                </a:pathLst>
              </a:custGeom>
              <a:solidFill>
                <a:srgbClr val="FCCF3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0" name="iṣľïde">
                <a:extLst>
                  <a:ext uri="{FF2B5EF4-FFF2-40B4-BE49-F238E27FC236}">
                    <a16:creationId xmlns:a16="http://schemas.microsoft.com/office/drawing/2014/main" id="{1E260CCB-62A6-4F3D-A315-3E33722C13F5}"/>
                  </a:ext>
                </a:extLst>
              </p:cNvPr>
              <p:cNvSpPr/>
              <p:nvPr/>
            </p:nvSpPr>
            <p:spPr bwMode="auto">
              <a:xfrm>
                <a:off x="4259263" y="4510088"/>
                <a:ext cx="638175" cy="490538"/>
              </a:xfrm>
              <a:custGeom>
                <a:avLst/>
                <a:gdLst>
                  <a:gd name="T0" fmla="*/ 149 w 216"/>
                  <a:gd name="T1" fmla="*/ 0 h 166"/>
                  <a:gd name="T2" fmla="*/ 96 w 216"/>
                  <a:gd name="T3" fmla="*/ 115 h 166"/>
                  <a:gd name="T4" fmla="*/ 9 w 216"/>
                  <a:gd name="T5" fmla="*/ 44 h 166"/>
                  <a:gd name="T6" fmla="*/ 0 w 216"/>
                  <a:gd name="T7" fmla="*/ 51 h 166"/>
                  <a:gd name="T8" fmla="*/ 111 w 216"/>
                  <a:gd name="T9" fmla="*/ 152 h 166"/>
                  <a:gd name="T10" fmla="*/ 112 w 216"/>
                  <a:gd name="T11" fmla="*/ 152 h 166"/>
                  <a:gd name="T12" fmla="*/ 216 w 216"/>
                  <a:gd name="T13" fmla="*/ 0 h 166"/>
                  <a:gd name="T14" fmla="*/ 149 w 216"/>
                  <a:gd name="T15" fmla="*/ 0 h 1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166">
                    <a:moveTo>
                      <a:pt x="149" y="0"/>
                    </a:moveTo>
                    <a:cubicBezTo>
                      <a:pt x="142" y="40"/>
                      <a:pt x="126" y="87"/>
                      <a:pt x="96" y="115"/>
                    </a:cubicBezTo>
                    <a:cubicBezTo>
                      <a:pt x="61" y="102"/>
                      <a:pt x="32" y="73"/>
                      <a:pt x="9" y="44"/>
                    </a:cubicBezTo>
                    <a:cubicBezTo>
                      <a:pt x="2" y="49"/>
                      <a:pt x="6" y="46"/>
                      <a:pt x="0" y="51"/>
                    </a:cubicBezTo>
                    <a:cubicBezTo>
                      <a:pt x="24" y="87"/>
                      <a:pt x="74" y="166"/>
                      <a:pt x="111" y="152"/>
                    </a:cubicBezTo>
                    <a:cubicBezTo>
                      <a:pt x="112" y="152"/>
                      <a:pt x="112" y="152"/>
                      <a:pt x="112" y="152"/>
                    </a:cubicBezTo>
                    <a:cubicBezTo>
                      <a:pt x="166" y="117"/>
                      <a:pt x="201" y="57"/>
                      <a:pt x="216" y="0"/>
                    </a:cubicBezTo>
                    <a:lnTo>
                      <a:pt x="149" y="0"/>
                    </a:lnTo>
                    <a:close/>
                  </a:path>
                </a:pathLst>
              </a:custGeom>
              <a:solidFill>
                <a:srgbClr val="F8C4A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algn="ctr"/>
                <a:endParaRPr/>
              </a:p>
            </p:txBody>
          </p:sp>
          <p:sp>
            <p:nvSpPr>
              <p:cNvPr id="41" name="ïṡ1îḑe">
                <a:extLst>
                  <a:ext uri="{FF2B5EF4-FFF2-40B4-BE49-F238E27FC236}">
                    <a16:creationId xmlns:a16="http://schemas.microsoft.com/office/drawing/2014/main" id="{FB4D81F3-D374-4D71-847E-63CAF4880B13}"/>
                  </a:ext>
                </a:extLst>
              </p:cNvPr>
              <p:cNvSpPr/>
              <p:nvPr/>
            </p:nvSpPr>
            <p:spPr bwMode="auto">
              <a:xfrm>
                <a:off x="4159250" y="4629151"/>
                <a:ext cx="134938" cy="93663"/>
              </a:xfrm>
              <a:custGeom>
                <a:avLst/>
                <a:gdLst>
                  <a:gd name="T0" fmla="*/ 45 w 46"/>
                  <a:gd name="T1" fmla="*/ 2 h 32"/>
                  <a:gd name="T2" fmla="*/ 39 w 46"/>
                  <a:gd name="T3" fmla="*/ 1 h 32"/>
                  <a:gd name="T4" fmla="*/ 13 w 46"/>
                  <a:gd name="T5" fmla="*/ 17 h 32"/>
                  <a:gd name="T6" fmla="*/ 5 w 46"/>
                  <a:gd name="T7" fmla="*/ 27 h 32"/>
                  <a:gd name="T8" fmla="*/ 19 w 46"/>
                  <a:gd name="T9" fmla="*/ 24 h 32"/>
                  <a:gd name="T10" fmla="*/ 43 w 46"/>
                  <a:gd name="T11" fmla="*/ 7 h 32"/>
                  <a:gd name="T12" fmla="*/ 45 w 46"/>
                  <a:gd name="T13" fmla="*/ 2 h 32"/>
                </a:gdLst>
                <a:ahLst/>
                <a:cxnLst>
                  <a:cxn ang="0">
                    <a:pos x="T0" y="T1"/>
                  </a:cxn>
                  <a:cxn ang="0">
                    <a:pos x="T2" y="T3"/>
                  </a:cxn>
                  <a:cxn ang="0">
                    <a:pos x="T4" y="T5"/>
                  </a:cxn>
                  <a:cxn ang="0">
                    <a:pos x="T6" y="T7"/>
                  </a:cxn>
                  <a:cxn ang="0">
                    <a:pos x="T8" y="T9"/>
                  </a:cxn>
                  <a:cxn ang="0">
                    <a:pos x="T10" y="T11"/>
                  </a:cxn>
                  <a:cxn ang="0">
                    <a:pos x="T12" y="T13"/>
                  </a:cxn>
                </a:cxnLst>
                <a:rect l="0" t="0" r="r" b="b"/>
                <a:pathLst>
                  <a:path w="46" h="32">
                    <a:moveTo>
                      <a:pt x="45" y="2"/>
                    </a:moveTo>
                    <a:cubicBezTo>
                      <a:pt x="43" y="0"/>
                      <a:pt x="40" y="0"/>
                      <a:pt x="39" y="1"/>
                    </a:cubicBezTo>
                    <a:cubicBezTo>
                      <a:pt x="30" y="6"/>
                      <a:pt x="22" y="12"/>
                      <a:pt x="13" y="17"/>
                    </a:cubicBezTo>
                    <a:cubicBezTo>
                      <a:pt x="10" y="18"/>
                      <a:pt x="0" y="22"/>
                      <a:pt x="5" y="27"/>
                    </a:cubicBezTo>
                    <a:cubicBezTo>
                      <a:pt x="9" y="32"/>
                      <a:pt x="16" y="27"/>
                      <a:pt x="19" y="24"/>
                    </a:cubicBezTo>
                    <a:cubicBezTo>
                      <a:pt x="27" y="19"/>
                      <a:pt x="36" y="13"/>
                      <a:pt x="43" y="7"/>
                    </a:cubicBezTo>
                    <a:cubicBezTo>
                      <a:pt x="45" y="6"/>
                      <a:pt x="46" y="4"/>
                      <a:pt x="45" y="2"/>
                    </a:cubicBezTo>
                    <a:close/>
                  </a:path>
                </a:pathLst>
              </a:custGeom>
              <a:solidFill>
                <a:srgbClr val="4A64A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2" name="iṥľïďé">
                <a:extLst>
                  <a:ext uri="{FF2B5EF4-FFF2-40B4-BE49-F238E27FC236}">
                    <a16:creationId xmlns:a16="http://schemas.microsoft.com/office/drawing/2014/main" id="{03A3E129-6D96-4500-B589-68814EC9F25D}"/>
                  </a:ext>
                </a:extLst>
              </p:cNvPr>
              <p:cNvSpPr/>
              <p:nvPr/>
            </p:nvSpPr>
            <p:spPr bwMode="auto">
              <a:xfrm>
                <a:off x="4838700" y="4510088"/>
                <a:ext cx="174625" cy="812800"/>
              </a:xfrm>
              <a:custGeom>
                <a:avLst/>
                <a:gdLst>
                  <a:gd name="T0" fmla="*/ 2 w 59"/>
                  <a:gd name="T1" fmla="*/ 0 h 275"/>
                  <a:gd name="T2" fmla="*/ 12 w 59"/>
                  <a:gd name="T3" fmla="*/ 274 h 275"/>
                  <a:gd name="T4" fmla="*/ 22 w 59"/>
                  <a:gd name="T5" fmla="*/ 275 h 275"/>
                  <a:gd name="T6" fmla="*/ 59 w 59"/>
                  <a:gd name="T7" fmla="*/ 0 h 275"/>
                  <a:gd name="T8" fmla="*/ 2 w 59"/>
                  <a:gd name="T9" fmla="*/ 0 h 275"/>
                </a:gdLst>
                <a:ahLst/>
                <a:cxnLst>
                  <a:cxn ang="0">
                    <a:pos x="T0" y="T1"/>
                  </a:cxn>
                  <a:cxn ang="0">
                    <a:pos x="T2" y="T3"/>
                  </a:cxn>
                  <a:cxn ang="0">
                    <a:pos x="T4" y="T5"/>
                  </a:cxn>
                  <a:cxn ang="0">
                    <a:pos x="T6" y="T7"/>
                  </a:cxn>
                  <a:cxn ang="0">
                    <a:pos x="T8" y="T9"/>
                  </a:cxn>
                </a:cxnLst>
                <a:rect l="0" t="0" r="r" b="b"/>
                <a:pathLst>
                  <a:path w="59" h="275">
                    <a:moveTo>
                      <a:pt x="2" y="0"/>
                    </a:moveTo>
                    <a:cubicBezTo>
                      <a:pt x="0" y="72"/>
                      <a:pt x="9" y="202"/>
                      <a:pt x="12" y="274"/>
                    </a:cubicBezTo>
                    <a:cubicBezTo>
                      <a:pt x="22" y="275"/>
                      <a:pt x="22" y="275"/>
                      <a:pt x="22" y="275"/>
                    </a:cubicBezTo>
                    <a:cubicBezTo>
                      <a:pt x="30" y="203"/>
                      <a:pt x="52" y="72"/>
                      <a:pt x="59" y="0"/>
                    </a:cubicBezTo>
                    <a:lnTo>
                      <a:pt x="2" y="0"/>
                    </a:lnTo>
                    <a:close/>
                  </a:path>
                </a:pathLst>
              </a:custGeom>
              <a:solidFill>
                <a:srgbClr val="F9CDB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43" name="iṥļiḍé">
                <a:extLst>
                  <a:ext uri="{FF2B5EF4-FFF2-40B4-BE49-F238E27FC236}">
                    <a16:creationId xmlns:a16="http://schemas.microsoft.com/office/drawing/2014/main" id="{604737A1-7929-48CC-A11B-7D5D76D58CD2}"/>
                  </a:ext>
                </a:extLst>
              </p:cNvPr>
              <p:cNvSpPr/>
              <p:nvPr/>
            </p:nvSpPr>
            <p:spPr bwMode="auto">
              <a:xfrm>
                <a:off x="4856163" y="5319713"/>
                <a:ext cx="142875" cy="41275"/>
              </a:xfrm>
              <a:custGeom>
                <a:avLst/>
                <a:gdLst>
                  <a:gd name="T0" fmla="*/ 1 w 48"/>
                  <a:gd name="T1" fmla="*/ 4 h 14"/>
                  <a:gd name="T2" fmla="*/ 5 w 48"/>
                  <a:gd name="T3" fmla="*/ 8 h 14"/>
                  <a:gd name="T4" fmla="*/ 35 w 48"/>
                  <a:gd name="T5" fmla="*/ 11 h 14"/>
                  <a:gd name="T6" fmla="*/ 48 w 48"/>
                  <a:gd name="T7" fmla="*/ 7 h 14"/>
                  <a:gd name="T8" fmla="*/ 34 w 48"/>
                  <a:gd name="T9" fmla="*/ 1 h 14"/>
                  <a:gd name="T10" fmla="*/ 5 w 48"/>
                  <a:gd name="T11" fmla="*/ 0 h 14"/>
                  <a:gd name="T12" fmla="*/ 1 w 48"/>
                  <a:gd name="T13" fmla="*/ 4 h 14"/>
                </a:gdLst>
                <a:ahLst/>
                <a:cxnLst>
                  <a:cxn ang="0">
                    <a:pos x="T0" y="T1"/>
                  </a:cxn>
                  <a:cxn ang="0">
                    <a:pos x="T2" y="T3"/>
                  </a:cxn>
                  <a:cxn ang="0">
                    <a:pos x="T4" y="T5"/>
                  </a:cxn>
                  <a:cxn ang="0">
                    <a:pos x="T6" y="T7"/>
                  </a:cxn>
                  <a:cxn ang="0">
                    <a:pos x="T8" y="T9"/>
                  </a:cxn>
                  <a:cxn ang="0">
                    <a:pos x="T10" y="T11"/>
                  </a:cxn>
                  <a:cxn ang="0">
                    <a:pos x="T12" y="T13"/>
                  </a:cxn>
                </a:cxnLst>
                <a:rect l="0" t="0" r="r" b="b"/>
                <a:pathLst>
                  <a:path w="48" h="14">
                    <a:moveTo>
                      <a:pt x="1" y="4"/>
                    </a:moveTo>
                    <a:cubicBezTo>
                      <a:pt x="0" y="7"/>
                      <a:pt x="3" y="8"/>
                      <a:pt x="5" y="8"/>
                    </a:cubicBezTo>
                    <a:cubicBezTo>
                      <a:pt x="15" y="9"/>
                      <a:pt x="25" y="9"/>
                      <a:pt x="35" y="11"/>
                    </a:cubicBezTo>
                    <a:cubicBezTo>
                      <a:pt x="38" y="11"/>
                      <a:pt x="48" y="14"/>
                      <a:pt x="48" y="7"/>
                    </a:cubicBezTo>
                    <a:cubicBezTo>
                      <a:pt x="47" y="1"/>
                      <a:pt x="38" y="1"/>
                      <a:pt x="34" y="1"/>
                    </a:cubicBezTo>
                    <a:cubicBezTo>
                      <a:pt x="25" y="1"/>
                      <a:pt x="14" y="0"/>
                      <a:pt x="5" y="0"/>
                    </a:cubicBezTo>
                    <a:cubicBezTo>
                      <a:pt x="2" y="0"/>
                      <a:pt x="1" y="1"/>
                      <a:pt x="1" y="4"/>
                    </a:cubicBezTo>
                    <a:close/>
                  </a:path>
                </a:pathLst>
              </a:custGeom>
              <a:solidFill>
                <a:srgbClr val="4A64A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4" name="íṣḷïďê">
                <a:extLst>
                  <a:ext uri="{FF2B5EF4-FFF2-40B4-BE49-F238E27FC236}">
                    <a16:creationId xmlns:a16="http://schemas.microsoft.com/office/drawing/2014/main" id="{0AC9086B-0BB5-4F2B-A433-A70D7382D2FA}"/>
                  </a:ext>
                </a:extLst>
              </p:cNvPr>
              <p:cNvSpPr/>
              <p:nvPr/>
            </p:nvSpPr>
            <p:spPr bwMode="auto">
              <a:xfrm>
                <a:off x="4981575" y="3059113"/>
                <a:ext cx="31750" cy="50800"/>
              </a:xfrm>
              <a:custGeom>
                <a:avLst/>
                <a:gdLst>
                  <a:gd name="T0" fmla="*/ 9 w 11"/>
                  <a:gd name="T1" fmla="*/ 9 h 17"/>
                  <a:gd name="T2" fmla="*/ 1 w 11"/>
                  <a:gd name="T3" fmla="*/ 2 h 17"/>
                  <a:gd name="T4" fmla="*/ 1 w 11"/>
                  <a:gd name="T5" fmla="*/ 14 h 17"/>
                  <a:gd name="T6" fmla="*/ 9 w 11"/>
                  <a:gd name="T7" fmla="*/ 15 h 17"/>
                  <a:gd name="T8" fmla="*/ 9 w 11"/>
                  <a:gd name="T9" fmla="*/ 9 h 17"/>
                </a:gdLst>
                <a:ahLst/>
                <a:cxnLst>
                  <a:cxn ang="0">
                    <a:pos x="T0" y="T1"/>
                  </a:cxn>
                  <a:cxn ang="0">
                    <a:pos x="T2" y="T3"/>
                  </a:cxn>
                  <a:cxn ang="0">
                    <a:pos x="T4" y="T5"/>
                  </a:cxn>
                  <a:cxn ang="0">
                    <a:pos x="T6" y="T7"/>
                  </a:cxn>
                  <a:cxn ang="0">
                    <a:pos x="T8" y="T9"/>
                  </a:cxn>
                </a:cxnLst>
                <a:rect l="0" t="0" r="r" b="b"/>
                <a:pathLst>
                  <a:path w="11" h="17">
                    <a:moveTo>
                      <a:pt x="9" y="9"/>
                    </a:moveTo>
                    <a:cubicBezTo>
                      <a:pt x="2" y="7"/>
                      <a:pt x="1" y="3"/>
                      <a:pt x="1" y="2"/>
                    </a:cubicBezTo>
                    <a:cubicBezTo>
                      <a:pt x="1" y="0"/>
                      <a:pt x="0" y="13"/>
                      <a:pt x="1" y="14"/>
                    </a:cubicBezTo>
                    <a:cubicBezTo>
                      <a:pt x="3" y="17"/>
                      <a:pt x="6" y="17"/>
                      <a:pt x="9" y="15"/>
                    </a:cubicBezTo>
                    <a:cubicBezTo>
                      <a:pt x="11" y="14"/>
                      <a:pt x="11" y="10"/>
                      <a:pt x="9" y="9"/>
                    </a:cubicBezTo>
                    <a:close/>
                  </a:path>
                </a:pathLst>
              </a:custGeom>
              <a:solidFill>
                <a:srgbClr val="ED78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5" name="iṥḻídê">
                <a:extLst>
                  <a:ext uri="{FF2B5EF4-FFF2-40B4-BE49-F238E27FC236}">
                    <a16:creationId xmlns:a16="http://schemas.microsoft.com/office/drawing/2014/main" id="{4A14DBD2-2713-42DD-8232-195685853FC7}"/>
                  </a:ext>
                </a:extLst>
              </p:cNvPr>
              <p:cNvSpPr/>
              <p:nvPr/>
            </p:nvSpPr>
            <p:spPr bwMode="auto">
              <a:xfrm>
                <a:off x="4714875" y="2927351"/>
                <a:ext cx="284163" cy="481013"/>
              </a:xfrm>
              <a:custGeom>
                <a:avLst/>
                <a:gdLst>
                  <a:gd name="T0" fmla="*/ 82 w 96"/>
                  <a:gd name="T1" fmla="*/ 19 h 163"/>
                  <a:gd name="T2" fmla="*/ 73 w 96"/>
                  <a:gd name="T3" fmla="*/ 8 h 163"/>
                  <a:gd name="T4" fmla="*/ 72 w 96"/>
                  <a:gd name="T5" fmla="*/ 7 h 163"/>
                  <a:gd name="T6" fmla="*/ 41 w 96"/>
                  <a:gd name="T7" fmla="*/ 13 h 163"/>
                  <a:gd name="T8" fmla="*/ 17 w 96"/>
                  <a:gd name="T9" fmla="*/ 44 h 163"/>
                  <a:gd name="T10" fmla="*/ 24 w 96"/>
                  <a:gd name="T11" fmla="*/ 117 h 163"/>
                  <a:gd name="T12" fmla="*/ 25 w 96"/>
                  <a:gd name="T13" fmla="*/ 160 h 163"/>
                  <a:gd name="T14" fmla="*/ 27 w 96"/>
                  <a:gd name="T15" fmla="*/ 162 h 163"/>
                  <a:gd name="T16" fmla="*/ 29 w 96"/>
                  <a:gd name="T17" fmla="*/ 163 h 163"/>
                  <a:gd name="T18" fmla="*/ 64 w 96"/>
                  <a:gd name="T19" fmla="*/ 154 h 163"/>
                  <a:gd name="T20" fmla="*/ 65 w 96"/>
                  <a:gd name="T21" fmla="*/ 153 h 163"/>
                  <a:gd name="T22" fmla="*/ 66 w 96"/>
                  <a:gd name="T23" fmla="*/ 151 h 163"/>
                  <a:gd name="T24" fmla="*/ 53 w 96"/>
                  <a:gd name="T25" fmla="*/ 119 h 163"/>
                  <a:gd name="T26" fmla="*/ 84 w 96"/>
                  <a:gd name="T27" fmla="*/ 94 h 163"/>
                  <a:gd name="T28" fmla="*/ 82 w 96"/>
                  <a:gd name="T29" fmla="*/ 1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63">
                    <a:moveTo>
                      <a:pt x="82" y="19"/>
                    </a:moveTo>
                    <a:cubicBezTo>
                      <a:pt x="80" y="15"/>
                      <a:pt x="77" y="11"/>
                      <a:pt x="73" y="8"/>
                    </a:cubicBezTo>
                    <a:cubicBezTo>
                      <a:pt x="73" y="8"/>
                      <a:pt x="72" y="8"/>
                      <a:pt x="72" y="7"/>
                    </a:cubicBezTo>
                    <a:cubicBezTo>
                      <a:pt x="62" y="0"/>
                      <a:pt x="49" y="6"/>
                      <a:pt x="41" y="13"/>
                    </a:cubicBezTo>
                    <a:cubicBezTo>
                      <a:pt x="31" y="22"/>
                      <a:pt x="23" y="32"/>
                      <a:pt x="17" y="44"/>
                    </a:cubicBezTo>
                    <a:cubicBezTo>
                      <a:pt x="6" y="64"/>
                      <a:pt x="0" y="103"/>
                      <a:pt x="24" y="117"/>
                    </a:cubicBezTo>
                    <a:cubicBezTo>
                      <a:pt x="25" y="132"/>
                      <a:pt x="25" y="146"/>
                      <a:pt x="25" y="160"/>
                    </a:cubicBezTo>
                    <a:cubicBezTo>
                      <a:pt x="25" y="161"/>
                      <a:pt x="26" y="162"/>
                      <a:pt x="27" y="162"/>
                    </a:cubicBezTo>
                    <a:cubicBezTo>
                      <a:pt x="27" y="162"/>
                      <a:pt x="28" y="163"/>
                      <a:pt x="29" y="163"/>
                    </a:cubicBezTo>
                    <a:cubicBezTo>
                      <a:pt x="41" y="163"/>
                      <a:pt x="53" y="161"/>
                      <a:pt x="64" y="154"/>
                    </a:cubicBezTo>
                    <a:cubicBezTo>
                      <a:pt x="65" y="154"/>
                      <a:pt x="65" y="154"/>
                      <a:pt x="65" y="153"/>
                    </a:cubicBezTo>
                    <a:cubicBezTo>
                      <a:pt x="66" y="153"/>
                      <a:pt x="67" y="152"/>
                      <a:pt x="66" y="151"/>
                    </a:cubicBezTo>
                    <a:cubicBezTo>
                      <a:pt x="61" y="141"/>
                      <a:pt x="55" y="131"/>
                      <a:pt x="53" y="119"/>
                    </a:cubicBezTo>
                    <a:cubicBezTo>
                      <a:pt x="67" y="116"/>
                      <a:pt x="78" y="107"/>
                      <a:pt x="84" y="94"/>
                    </a:cubicBezTo>
                    <a:cubicBezTo>
                      <a:pt x="96" y="71"/>
                      <a:pt x="95" y="41"/>
                      <a:pt x="82" y="19"/>
                    </a:cubicBezTo>
                    <a:close/>
                  </a:path>
                </a:pathLst>
              </a:custGeom>
              <a:solidFill>
                <a:srgbClr val="F9CDB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algn="ctr"/>
                <a:endParaRPr/>
              </a:p>
            </p:txBody>
          </p:sp>
          <p:sp>
            <p:nvSpPr>
              <p:cNvPr id="46" name="îṧľîḑe">
                <a:extLst>
                  <a:ext uri="{FF2B5EF4-FFF2-40B4-BE49-F238E27FC236}">
                    <a16:creationId xmlns:a16="http://schemas.microsoft.com/office/drawing/2014/main" id="{F377B17A-95CC-487A-99F2-4F64B456DEED}"/>
                  </a:ext>
                </a:extLst>
              </p:cNvPr>
              <p:cNvSpPr/>
              <p:nvPr/>
            </p:nvSpPr>
            <p:spPr bwMode="auto">
              <a:xfrm>
                <a:off x="4856163" y="3106738"/>
                <a:ext cx="106363" cy="58738"/>
              </a:xfrm>
              <a:custGeom>
                <a:avLst/>
                <a:gdLst>
                  <a:gd name="T0" fmla="*/ 29 w 36"/>
                  <a:gd name="T1" fmla="*/ 3 h 20"/>
                  <a:gd name="T2" fmla="*/ 25 w 36"/>
                  <a:gd name="T3" fmla="*/ 2 h 20"/>
                  <a:gd name="T4" fmla="*/ 10 w 36"/>
                  <a:gd name="T5" fmla="*/ 1 h 20"/>
                  <a:gd name="T6" fmla="*/ 2 w 36"/>
                  <a:gd name="T7" fmla="*/ 12 h 20"/>
                  <a:gd name="T8" fmla="*/ 8 w 36"/>
                  <a:gd name="T9" fmla="*/ 17 h 20"/>
                  <a:gd name="T10" fmla="*/ 21 w 36"/>
                  <a:gd name="T11" fmla="*/ 20 h 20"/>
                  <a:gd name="T12" fmla="*/ 34 w 36"/>
                  <a:gd name="T13" fmla="*/ 13 h 20"/>
                  <a:gd name="T14" fmla="*/ 29 w 36"/>
                  <a:gd name="T15" fmla="*/ 3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0">
                    <a:moveTo>
                      <a:pt x="29" y="3"/>
                    </a:moveTo>
                    <a:cubicBezTo>
                      <a:pt x="27" y="2"/>
                      <a:pt x="26" y="2"/>
                      <a:pt x="25" y="2"/>
                    </a:cubicBezTo>
                    <a:cubicBezTo>
                      <a:pt x="20" y="1"/>
                      <a:pt x="15" y="0"/>
                      <a:pt x="10" y="1"/>
                    </a:cubicBezTo>
                    <a:cubicBezTo>
                      <a:pt x="5" y="2"/>
                      <a:pt x="0" y="6"/>
                      <a:pt x="2" y="12"/>
                    </a:cubicBezTo>
                    <a:cubicBezTo>
                      <a:pt x="3" y="14"/>
                      <a:pt x="5" y="16"/>
                      <a:pt x="8" y="17"/>
                    </a:cubicBezTo>
                    <a:cubicBezTo>
                      <a:pt x="12" y="19"/>
                      <a:pt x="16" y="20"/>
                      <a:pt x="21" y="20"/>
                    </a:cubicBezTo>
                    <a:cubicBezTo>
                      <a:pt x="25" y="20"/>
                      <a:pt x="32" y="18"/>
                      <a:pt x="34" y="13"/>
                    </a:cubicBezTo>
                    <a:cubicBezTo>
                      <a:pt x="36" y="9"/>
                      <a:pt x="33" y="5"/>
                      <a:pt x="29" y="3"/>
                    </a:cubicBezTo>
                    <a:close/>
                  </a:path>
                </a:pathLst>
              </a:custGeom>
              <a:solidFill>
                <a:srgbClr val="F8C3A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7" name="iṣ1iḍe">
                <a:extLst>
                  <a:ext uri="{FF2B5EF4-FFF2-40B4-BE49-F238E27FC236}">
                    <a16:creationId xmlns:a16="http://schemas.microsoft.com/office/drawing/2014/main" id="{4C50E3ED-73F5-4C30-B966-C790527A4F0A}"/>
                  </a:ext>
                </a:extLst>
              </p:cNvPr>
              <p:cNvSpPr/>
              <p:nvPr/>
            </p:nvSpPr>
            <p:spPr bwMode="auto">
              <a:xfrm>
                <a:off x="4889500" y="3035301"/>
                <a:ext cx="79375" cy="50800"/>
              </a:xfrm>
              <a:custGeom>
                <a:avLst/>
                <a:gdLst>
                  <a:gd name="T0" fmla="*/ 26 w 27"/>
                  <a:gd name="T1" fmla="*/ 8 h 17"/>
                  <a:gd name="T2" fmla="*/ 10 w 27"/>
                  <a:gd name="T3" fmla="*/ 2 h 17"/>
                  <a:gd name="T4" fmla="*/ 0 w 27"/>
                  <a:gd name="T5" fmla="*/ 17 h 17"/>
                  <a:gd name="T6" fmla="*/ 2 w 27"/>
                  <a:gd name="T7" fmla="*/ 17 h 17"/>
                  <a:gd name="T8" fmla="*/ 10 w 27"/>
                  <a:gd name="T9" fmla="*/ 4 h 17"/>
                  <a:gd name="T10" fmla="*/ 23 w 27"/>
                  <a:gd name="T11" fmla="*/ 10 h 17"/>
                  <a:gd name="T12" fmla="*/ 26 w 27"/>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27" h="17">
                    <a:moveTo>
                      <a:pt x="26" y="8"/>
                    </a:moveTo>
                    <a:cubicBezTo>
                      <a:pt x="23" y="2"/>
                      <a:pt x="16" y="0"/>
                      <a:pt x="10" y="2"/>
                    </a:cubicBezTo>
                    <a:cubicBezTo>
                      <a:pt x="4" y="4"/>
                      <a:pt x="0" y="10"/>
                      <a:pt x="0" y="17"/>
                    </a:cubicBezTo>
                    <a:cubicBezTo>
                      <a:pt x="2" y="17"/>
                      <a:pt x="2" y="17"/>
                      <a:pt x="2" y="17"/>
                    </a:cubicBezTo>
                    <a:cubicBezTo>
                      <a:pt x="2" y="12"/>
                      <a:pt x="5" y="6"/>
                      <a:pt x="10" y="4"/>
                    </a:cubicBezTo>
                    <a:cubicBezTo>
                      <a:pt x="14" y="3"/>
                      <a:pt x="20" y="6"/>
                      <a:pt x="23" y="10"/>
                    </a:cubicBezTo>
                    <a:cubicBezTo>
                      <a:pt x="24" y="12"/>
                      <a:pt x="27" y="10"/>
                      <a:pt x="26" y="8"/>
                    </a:cubicBezTo>
                    <a:close/>
                  </a:path>
                </a:pathLst>
              </a:custGeom>
              <a:solidFill>
                <a:srgbClr val="384C8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48" name="iṧ1iḋê">
                <a:extLst>
                  <a:ext uri="{FF2B5EF4-FFF2-40B4-BE49-F238E27FC236}">
                    <a16:creationId xmlns:a16="http://schemas.microsoft.com/office/drawing/2014/main" id="{0FA1E823-3447-43D4-AA6B-6357CB6864D1}"/>
                  </a:ext>
                </a:extLst>
              </p:cNvPr>
              <p:cNvSpPr/>
              <p:nvPr/>
            </p:nvSpPr>
            <p:spPr bwMode="auto">
              <a:xfrm>
                <a:off x="4176713" y="2800351"/>
                <a:ext cx="850900" cy="661988"/>
              </a:xfrm>
              <a:custGeom>
                <a:avLst/>
                <a:gdLst>
                  <a:gd name="T0" fmla="*/ 20 w 288"/>
                  <a:gd name="T1" fmla="*/ 137 h 224"/>
                  <a:gd name="T2" fmla="*/ 152 w 288"/>
                  <a:gd name="T3" fmla="*/ 104 h 224"/>
                  <a:gd name="T4" fmla="*/ 155 w 288"/>
                  <a:gd name="T5" fmla="*/ 54 h 224"/>
                  <a:gd name="T6" fmla="*/ 224 w 288"/>
                  <a:gd name="T7" fmla="*/ 33 h 224"/>
                  <a:gd name="T8" fmla="*/ 237 w 288"/>
                  <a:gd name="T9" fmla="*/ 6 h 224"/>
                  <a:gd name="T10" fmla="*/ 268 w 288"/>
                  <a:gd name="T11" fmla="*/ 7 h 224"/>
                  <a:gd name="T12" fmla="*/ 266 w 288"/>
                  <a:gd name="T13" fmla="*/ 62 h 224"/>
                  <a:gd name="T14" fmla="*/ 218 w 288"/>
                  <a:gd name="T15" fmla="*/ 80 h 224"/>
                  <a:gd name="T16" fmla="*/ 208 w 288"/>
                  <a:gd name="T17" fmla="*/ 134 h 224"/>
                  <a:gd name="T18" fmla="*/ 151 w 288"/>
                  <a:gd name="T19" fmla="*/ 215 h 224"/>
                  <a:gd name="T20" fmla="*/ 93 w 288"/>
                  <a:gd name="T21" fmla="*/ 224 h 224"/>
                  <a:gd name="T22" fmla="*/ 39 w 288"/>
                  <a:gd name="T23" fmla="*/ 213 h 224"/>
                  <a:gd name="T24" fmla="*/ 4 w 288"/>
                  <a:gd name="T25" fmla="*/ 177 h 224"/>
                  <a:gd name="T26" fmla="*/ 20 w 288"/>
                  <a:gd name="T27" fmla="*/ 13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24">
                    <a:moveTo>
                      <a:pt x="20" y="137"/>
                    </a:moveTo>
                    <a:cubicBezTo>
                      <a:pt x="58" y="107"/>
                      <a:pt x="116" y="137"/>
                      <a:pt x="152" y="104"/>
                    </a:cubicBezTo>
                    <a:cubicBezTo>
                      <a:pt x="139" y="90"/>
                      <a:pt x="143" y="67"/>
                      <a:pt x="155" y="54"/>
                    </a:cubicBezTo>
                    <a:cubicBezTo>
                      <a:pt x="171" y="34"/>
                      <a:pt x="200" y="33"/>
                      <a:pt x="224" y="33"/>
                    </a:cubicBezTo>
                    <a:cubicBezTo>
                      <a:pt x="222" y="22"/>
                      <a:pt x="228" y="12"/>
                      <a:pt x="237" y="6"/>
                    </a:cubicBezTo>
                    <a:cubicBezTo>
                      <a:pt x="246" y="0"/>
                      <a:pt x="258" y="1"/>
                      <a:pt x="268" y="7"/>
                    </a:cubicBezTo>
                    <a:cubicBezTo>
                      <a:pt x="288" y="21"/>
                      <a:pt x="284" y="49"/>
                      <a:pt x="266" y="62"/>
                    </a:cubicBezTo>
                    <a:cubicBezTo>
                      <a:pt x="266" y="62"/>
                      <a:pt x="232" y="61"/>
                      <a:pt x="218" y="80"/>
                    </a:cubicBezTo>
                    <a:cubicBezTo>
                      <a:pt x="205" y="98"/>
                      <a:pt x="207" y="124"/>
                      <a:pt x="208" y="134"/>
                    </a:cubicBezTo>
                    <a:cubicBezTo>
                      <a:pt x="211" y="172"/>
                      <a:pt x="184" y="202"/>
                      <a:pt x="151" y="215"/>
                    </a:cubicBezTo>
                    <a:cubicBezTo>
                      <a:pt x="132" y="222"/>
                      <a:pt x="112" y="224"/>
                      <a:pt x="93" y="224"/>
                    </a:cubicBezTo>
                    <a:cubicBezTo>
                      <a:pt x="74" y="224"/>
                      <a:pt x="56" y="221"/>
                      <a:pt x="39" y="213"/>
                    </a:cubicBezTo>
                    <a:cubicBezTo>
                      <a:pt x="24" y="206"/>
                      <a:pt x="7" y="194"/>
                      <a:pt x="4" y="177"/>
                    </a:cubicBezTo>
                    <a:cubicBezTo>
                      <a:pt x="0" y="161"/>
                      <a:pt x="9" y="147"/>
                      <a:pt x="20" y="137"/>
                    </a:cubicBezTo>
                    <a:close/>
                  </a:path>
                </a:pathLst>
              </a:custGeom>
              <a:solidFill>
                <a:srgbClr val="EB628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algn="ctr"/>
                <a:endParaRPr/>
              </a:p>
            </p:txBody>
          </p:sp>
          <p:sp>
            <p:nvSpPr>
              <p:cNvPr id="49" name="îS1ïḑè">
                <a:extLst>
                  <a:ext uri="{FF2B5EF4-FFF2-40B4-BE49-F238E27FC236}">
                    <a16:creationId xmlns:a16="http://schemas.microsoft.com/office/drawing/2014/main" id="{20500168-37F2-426F-B0C4-C1FB317EDD56}"/>
                  </a:ext>
                </a:extLst>
              </p:cNvPr>
              <p:cNvSpPr/>
              <p:nvPr/>
            </p:nvSpPr>
            <p:spPr bwMode="auto">
              <a:xfrm>
                <a:off x="4895850" y="2817813"/>
                <a:ext cx="103188" cy="150813"/>
              </a:xfrm>
              <a:custGeom>
                <a:avLst/>
                <a:gdLst>
                  <a:gd name="T0" fmla="*/ 29 w 35"/>
                  <a:gd name="T1" fmla="*/ 16 h 51"/>
                  <a:gd name="T2" fmla="*/ 1 w 35"/>
                  <a:gd name="T3" fmla="*/ 2 h 51"/>
                  <a:gd name="T4" fmla="*/ 1 w 35"/>
                  <a:gd name="T5" fmla="*/ 4 h 51"/>
                  <a:gd name="T6" fmla="*/ 26 w 35"/>
                  <a:gd name="T7" fmla="*/ 18 h 51"/>
                  <a:gd name="T8" fmla="*/ 18 w 35"/>
                  <a:gd name="T9" fmla="*/ 47 h 51"/>
                  <a:gd name="T10" fmla="*/ 21 w 35"/>
                  <a:gd name="T11" fmla="*/ 49 h 51"/>
                  <a:gd name="T12" fmla="*/ 29 w 35"/>
                  <a:gd name="T13" fmla="*/ 16 h 51"/>
                </a:gdLst>
                <a:ahLst/>
                <a:cxnLst>
                  <a:cxn ang="0">
                    <a:pos x="T0" y="T1"/>
                  </a:cxn>
                  <a:cxn ang="0">
                    <a:pos x="T2" y="T3"/>
                  </a:cxn>
                  <a:cxn ang="0">
                    <a:pos x="T4" y="T5"/>
                  </a:cxn>
                  <a:cxn ang="0">
                    <a:pos x="T6" y="T7"/>
                  </a:cxn>
                  <a:cxn ang="0">
                    <a:pos x="T8" y="T9"/>
                  </a:cxn>
                  <a:cxn ang="0">
                    <a:pos x="T10" y="T11"/>
                  </a:cxn>
                  <a:cxn ang="0">
                    <a:pos x="T12" y="T13"/>
                  </a:cxn>
                </a:cxnLst>
                <a:rect l="0" t="0" r="r" b="b"/>
                <a:pathLst>
                  <a:path w="35" h="51">
                    <a:moveTo>
                      <a:pt x="29" y="16"/>
                    </a:moveTo>
                    <a:cubicBezTo>
                      <a:pt x="24" y="5"/>
                      <a:pt x="12" y="0"/>
                      <a:pt x="1" y="2"/>
                    </a:cubicBezTo>
                    <a:cubicBezTo>
                      <a:pt x="0" y="3"/>
                      <a:pt x="0" y="4"/>
                      <a:pt x="1" y="4"/>
                    </a:cubicBezTo>
                    <a:cubicBezTo>
                      <a:pt x="11" y="3"/>
                      <a:pt x="22" y="8"/>
                      <a:pt x="26" y="18"/>
                    </a:cubicBezTo>
                    <a:cubicBezTo>
                      <a:pt x="30" y="29"/>
                      <a:pt x="24" y="38"/>
                      <a:pt x="18" y="47"/>
                    </a:cubicBezTo>
                    <a:cubicBezTo>
                      <a:pt x="16" y="48"/>
                      <a:pt x="20" y="51"/>
                      <a:pt x="21" y="49"/>
                    </a:cubicBezTo>
                    <a:cubicBezTo>
                      <a:pt x="29" y="39"/>
                      <a:pt x="35" y="28"/>
                      <a:pt x="29" y="16"/>
                    </a:cubicBezTo>
                    <a:close/>
                  </a:path>
                </a:pathLst>
              </a:custGeom>
              <a:solidFill>
                <a:srgbClr val="F090A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0" name="íṧľiḍe">
                <a:extLst>
                  <a:ext uri="{FF2B5EF4-FFF2-40B4-BE49-F238E27FC236}">
                    <a16:creationId xmlns:a16="http://schemas.microsoft.com/office/drawing/2014/main" id="{296DCC7A-781B-4CC7-BAA2-6EE72ACE2242}"/>
                  </a:ext>
                </a:extLst>
              </p:cNvPr>
              <p:cNvSpPr/>
              <p:nvPr/>
            </p:nvSpPr>
            <p:spPr bwMode="auto">
              <a:xfrm>
                <a:off x="4554538" y="2906713"/>
                <a:ext cx="257175" cy="192088"/>
              </a:xfrm>
              <a:custGeom>
                <a:avLst/>
                <a:gdLst>
                  <a:gd name="T0" fmla="*/ 86 w 87"/>
                  <a:gd name="T1" fmla="*/ 3 h 65"/>
                  <a:gd name="T2" fmla="*/ 30 w 87"/>
                  <a:gd name="T3" fmla="*/ 61 h 65"/>
                  <a:gd name="T4" fmla="*/ 38 w 87"/>
                  <a:gd name="T5" fmla="*/ 55 h 65"/>
                  <a:gd name="T6" fmla="*/ 46 w 87"/>
                  <a:gd name="T7" fmla="*/ 19 h 65"/>
                  <a:gd name="T8" fmla="*/ 86 w 87"/>
                  <a:gd name="T9" fmla="*/ 5 h 65"/>
                  <a:gd name="T10" fmla="*/ 86 w 87"/>
                  <a:gd name="T11" fmla="*/ 3 h 65"/>
                </a:gdLst>
                <a:ahLst/>
                <a:cxnLst>
                  <a:cxn ang="0">
                    <a:pos x="T0" y="T1"/>
                  </a:cxn>
                  <a:cxn ang="0">
                    <a:pos x="T2" y="T3"/>
                  </a:cxn>
                  <a:cxn ang="0">
                    <a:pos x="T4" y="T5"/>
                  </a:cxn>
                  <a:cxn ang="0">
                    <a:pos x="T6" y="T7"/>
                  </a:cxn>
                  <a:cxn ang="0">
                    <a:pos x="T8" y="T9"/>
                  </a:cxn>
                  <a:cxn ang="0">
                    <a:pos x="T10" y="T11"/>
                  </a:cxn>
                </a:cxnLst>
                <a:rect l="0" t="0" r="r" b="b"/>
                <a:pathLst>
                  <a:path w="87" h="65">
                    <a:moveTo>
                      <a:pt x="86" y="3"/>
                    </a:moveTo>
                    <a:cubicBezTo>
                      <a:pt x="56" y="0"/>
                      <a:pt x="0" y="26"/>
                      <a:pt x="30" y="61"/>
                    </a:cubicBezTo>
                    <a:cubicBezTo>
                      <a:pt x="34" y="65"/>
                      <a:pt x="41" y="60"/>
                      <a:pt x="38" y="55"/>
                    </a:cubicBezTo>
                    <a:cubicBezTo>
                      <a:pt x="27" y="41"/>
                      <a:pt x="31" y="29"/>
                      <a:pt x="46" y="19"/>
                    </a:cubicBezTo>
                    <a:cubicBezTo>
                      <a:pt x="58" y="12"/>
                      <a:pt x="72" y="7"/>
                      <a:pt x="86" y="5"/>
                    </a:cubicBezTo>
                    <a:cubicBezTo>
                      <a:pt x="87" y="5"/>
                      <a:pt x="87" y="3"/>
                      <a:pt x="86" y="3"/>
                    </a:cubicBezTo>
                    <a:close/>
                  </a:path>
                </a:pathLst>
              </a:custGeom>
              <a:solidFill>
                <a:srgbClr val="F090A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1" name="iṧľîḍe">
                <a:extLst>
                  <a:ext uri="{FF2B5EF4-FFF2-40B4-BE49-F238E27FC236}">
                    <a16:creationId xmlns:a16="http://schemas.microsoft.com/office/drawing/2014/main" id="{D67CA88E-EA1F-4E1A-9B3E-6D826CA31370}"/>
                  </a:ext>
                </a:extLst>
              </p:cNvPr>
              <p:cNvSpPr/>
              <p:nvPr/>
            </p:nvSpPr>
            <p:spPr bwMode="auto">
              <a:xfrm>
                <a:off x="4211638" y="3267076"/>
                <a:ext cx="547688" cy="179388"/>
              </a:xfrm>
              <a:custGeom>
                <a:avLst/>
                <a:gdLst>
                  <a:gd name="T0" fmla="*/ 172 w 185"/>
                  <a:gd name="T1" fmla="*/ 5 h 61"/>
                  <a:gd name="T2" fmla="*/ 6 w 185"/>
                  <a:gd name="T3" fmla="*/ 26 h 61"/>
                  <a:gd name="T4" fmla="*/ 2 w 185"/>
                  <a:gd name="T5" fmla="*/ 30 h 61"/>
                  <a:gd name="T6" fmla="*/ 98 w 185"/>
                  <a:gd name="T7" fmla="*/ 57 h 61"/>
                  <a:gd name="T8" fmla="*/ 181 w 185"/>
                  <a:gd name="T9" fmla="*/ 11 h 61"/>
                  <a:gd name="T10" fmla="*/ 172 w 185"/>
                  <a:gd name="T11" fmla="*/ 5 h 61"/>
                </a:gdLst>
                <a:ahLst/>
                <a:cxnLst>
                  <a:cxn ang="0">
                    <a:pos x="T0" y="T1"/>
                  </a:cxn>
                  <a:cxn ang="0">
                    <a:pos x="T2" y="T3"/>
                  </a:cxn>
                  <a:cxn ang="0">
                    <a:pos x="T4" y="T5"/>
                  </a:cxn>
                  <a:cxn ang="0">
                    <a:pos x="T6" y="T7"/>
                  </a:cxn>
                  <a:cxn ang="0">
                    <a:pos x="T8" y="T9"/>
                  </a:cxn>
                  <a:cxn ang="0">
                    <a:pos x="T10" y="T11"/>
                  </a:cxn>
                </a:cxnLst>
                <a:rect l="0" t="0" r="r" b="b"/>
                <a:pathLst>
                  <a:path w="185" h="61">
                    <a:moveTo>
                      <a:pt x="172" y="5"/>
                    </a:moveTo>
                    <a:cubicBezTo>
                      <a:pt x="137" y="54"/>
                      <a:pt x="52" y="61"/>
                      <a:pt x="6" y="26"/>
                    </a:cubicBezTo>
                    <a:cubicBezTo>
                      <a:pt x="3" y="24"/>
                      <a:pt x="0" y="28"/>
                      <a:pt x="2" y="30"/>
                    </a:cubicBezTo>
                    <a:cubicBezTo>
                      <a:pt x="26" y="55"/>
                      <a:pt x="64" y="60"/>
                      <a:pt x="98" y="57"/>
                    </a:cubicBezTo>
                    <a:cubicBezTo>
                      <a:pt x="131" y="54"/>
                      <a:pt x="163" y="40"/>
                      <a:pt x="181" y="11"/>
                    </a:cubicBezTo>
                    <a:cubicBezTo>
                      <a:pt x="185" y="5"/>
                      <a:pt x="176" y="0"/>
                      <a:pt x="172" y="5"/>
                    </a:cubicBezTo>
                    <a:close/>
                  </a:path>
                </a:pathLst>
              </a:custGeom>
              <a:solidFill>
                <a:srgbClr val="F090A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2" name="íṡḻíďê">
                <a:extLst>
                  <a:ext uri="{FF2B5EF4-FFF2-40B4-BE49-F238E27FC236}">
                    <a16:creationId xmlns:a16="http://schemas.microsoft.com/office/drawing/2014/main" id="{982FF431-A952-4ABD-91A6-71560DF77DA7}"/>
                  </a:ext>
                </a:extLst>
              </p:cNvPr>
              <p:cNvSpPr/>
              <p:nvPr/>
            </p:nvSpPr>
            <p:spPr bwMode="auto">
              <a:xfrm>
                <a:off x="5291138" y="2592388"/>
                <a:ext cx="133350" cy="157163"/>
              </a:xfrm>
              <a:custGeom>
                <a:avLst/>
                <a:gdLst>
                  <a:gd name="T0" fmla="*/ 32 w 45"/>
                  <a:gd name="T1" fmla="*/ 2 h 53"/>
                  <a:gd name="T2" fmla="*/ 21 w 45"/>
                  <a:gd name="T3" fmla="*/ 14 h 53"/>
                  <a:gd name="T4" fmla="*/ 12 w 45"/>
                  <a:gd name="T5" fmla="*/ 25 h 53"/>
                  <a:gd name="T6" fmla="*/ 4 w 45"/>
                  <a:gd name="T7" fmla="*/ 21 h 53"/>
                  <a:gd name="T8" fmla="*/ 1 w 45"/>
                  <a:gd name="T9" fmla="*/ 23 h 53"/>
                  <a:gd name="T10" fmla="*/ 7 w 45"/>
                  <a:gd name="T11" fmla="*/ 51 h 53"/>
                  <a:gd name="T12" fmla="*/ 22 w 45"/>
                  <a:gd name="T13" fmla="*/ 52 h 53"/>
                  <a:gd name="T14" fmla="*/ 32 w 45"/>
                  <a:gd name="T15" fmla="*/ 28 h 53"/>
                  <a:gd name="T16" fmla="*/ 43 w 45"/>
                  <a:gd name="T17" fmla="*/ 15 h 53"/>
                  <a:gd name="T18" fmla="*/ 32 w 45"/>
                  <a:gd name="T19"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53">
                    <a:moveTo>
                      <a:pt x="32" y="2"/>
                    </a:moveTo>
                    <a:cubicBezTo>
                      <a:pt x="26" y="4"/>
                      <a:pt x="24" y="9"/>
                      <a:pt x="21" y="14"/>
                    </a:cubicBezTo>
                    <a:cubicBezTo>
                      <a:pt x="19" y="17"/>
                      <a:pt x="16" y="23"/>
                      <a:pt x="12" y="25"/>
                    </a:cubicBezTo>
                    <a:cubicBezTo>
                      <a:pt x="6" y="28"/>
                      <a:pt x="7" y="25"/>
                      <a:pt x="4" y="21"/>
                    </a:cubicBezTo>
                    <a:cubicBezTo>
                      <a:pt x="3" y="20"/>
                      <a:pt x="1" y="21"/>
                      <a:pt x="1" y="23"/>
                    </a:cubicBezTo>
                    <a:cubicBezTo>
                      <a:pt x="0" y="33"/>
                      <a:pt x="8" y="41"/>
                      <a:pt x="7" y="51"/>
                    </a:cubicBezTo>
                    <a:cubicBezTo>
                      <a:pt x="12" y="53"/>
                      <a:pt x="17" y="53"/>
                      <a:pt x="22" y="52"/>
                    </a:cubicBezTo>
                    <a:cubicBezTo>
                      <a:pt x="22" y="51"/>
                      <a:pt x="21" y="41"/>
                      <a:pt x="32" y="28"/>
                    </a:cubicBezTo>
                    <a:cubicBezTo>
                      <a:pt x="36" y="24"/>
                      <a:pt x="41" y="20"/>
                      <a:pt x="43" y="15"/>
                    </a:cubicBezTo>
                    <a:cubicBezTo>
                      <a:pt x="45" y="7"/>
                      <a:pt x="40" y="0"/>
                      <a:pt x="32" y="2"/>
                    </a:cubicBezTo>
                    <a:close/>
                  </a:path>
                </a:pathLst>
              </a:custGeom>
              <a:solidFill>
                <a:srgbClr val="F9CDB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3" name="îślïďe">
                <a:extLst>
                  <a:ext uri="{FF2B5EF4-FFF2-40B4-BE49-F238E27FC236}">
                    <a16:creationId xmlns:a16="http://schemas.microsoft.com/office/drawing/2014/main" id="{131AEB5A-159C-4287-BF0A-3560073DF02D}"/>
                  </a:ext>
                </a:extLst>
              </p:cNvPr>
              <p:cNvSpPr/>
              <p:nvPr/>
            </p:nvSpPr>
            <p:spPr bwMode="auto">
              <a:xfrm>
                <a:off x="4570413" y="2736851"/>
                <a:ext cx="788988" cy="1903413"/>
              </a:xfrm>
              <a:custGeom>
                <a:avLst/>
                <a:gdLst>
                  <a:gd name="T0" fmla="*/ 163 w 267"/>
                  <a:gd name="T1" fmla="*/ 644 h 644"/>
                  <a:gd name="T2" fmla="*/ 154 w 267"/>
                  <a:gd name="T3" fmla="*/ 389 h 644"/>
                  <a:gd name="T4" fmla="*/ 154 w 267"/>
                  <a:gd name="T5" fmla="*/ 389 h 644"/>
                  <a:gd name="T6" fmla="*/ 154 w 267"/>
                  <a:gd name="T7" fmla="*/ 332 h 644"/>
                  <a:gd name="T8" fmla="*/ 156 w 267"/>
                  <a:gd name="T9" fmla="*/ 309 h 644"/>
                  <a:gd name="T10" fmla="*/ 184 w 267"/>
                  <a:gd name="T11" fmla="*/ 270 h 644"/>
                  <a:gd name="T12" fmla="*/ 153 w 267"/>
                  <a:gd name="T13" fmla="*/ 224 h 644"/>
                  <a:gd name="T14" fmla="*/ 267 w 267"/>
                  <a:gd name="T15" fmla="*/ 1 h 644"/>
                  <a:gd name="T16" fmla="*/ 251 w 267"/>
                  <a:gd name="T17" fmla="*/ 0 h 644"/>
                  <a:gd name="T18" fmla="*/ 188 w 267"/>
                  <a:gd name="T19" fmla="*/ 145 h 644"/>
                  <a:gd name="T20" fmla="*/ 97 w 267"/>
                  <a:gd name="T21" fmla="*/ 199 h 644"/>
                  <a:gd name="T22" fmla="*/ 42 w 267"/>
                  <a:gd name="T23" fmla="*/ 251 h 644"/>
                  <a:gd name="T24" fmla="*/ 48 w 267"/>
                  <a:gd name="T25" fmla="*/ 283 h 644"/>
                  <a:gd name="T26" fmla="*/ 58 w 267"/>
                  <a:gd name="T27" fmla="*/ 319 h 644"/>
                  <a:gd name="T28" fmla="*/ 79 w 267"/>
                  <a:gd name="T29" fmla="*/ 393 h 644"/>
                  <a:gd name="T30" fmla="*/ 12 w 267"/>
                  <a:gd name="T31" fmla="*/ 497 h 644"/>
                  <a:gd name="T32" fmla="*/ 25 w 267"/>
                  <a:gd name="T33" fmla="*/ 644 h 644"/>
                  <a:gd name="T34" fmla="*/ 163 w 267"/>
                  <a:gd name="T35"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7" h="644">
                    <a:moveTo>
                      <a:pt x="163" y="644"/>
                    </a:moveTo>
                    <a:cubicBezTo>
                      <a:pt x="168" y="598"/>
                      <a:pt x="191" y="493"/>
                      <a:pt x="154" y="389"/>
                    </a:cubicBezTo>
                    <a:cubicBezTo>
                      <a:pt x="154" y="389"/>
                      <a:pt x="154" y="389"/>
                      <a:pt x="154" y="389"/>
                    </a:cubicBezTo>
                    <a:cubicBezTo>
                      <a:pt x="154" y="332"/>
                      <a:pt x="154" y="332"/>
                      <a:pt x="154" y="332"/>
                    </a:cubicBezTo>
                    <a:cubicBezTo>
                      <a:pt x="155" y="332"/>
                      <a:pt x="156" y="309"/>
                      <a:pt x="156" y="309"/>
                    </a:cubicBezTo>
                    <a:cubicBezTo>
                      <a:pt x="166" y="297"/>
                      <a:pt x="187" y="288"/>
                      <a:pt x="184" y="270"/>
                    </a:cubicBezTo>
                    <a:cubicBezTo>
                      <a:pt x="182" y="260"/>
                      <a:pt x="156" y="245"/>
                      <a:pt x="153" y="224"/>
                    </a:cubicBezTo>
                    <a:cubicBezTo>
                      <a:pt x="243" y="153"/>
                      <a:pt x="265" y="75"/>
                      <a:pt x="267" y="1"/>
                    </a:cubicBezTo>
                    <a:cubicBezTo>
                      <a:pt x="261" y="1"/>
                      <a:pt x="256" y="0"/>
                      <a:pt x="251" y="0"/>
                    </a:cubicBezTo>
                    <a:cubicBezTo>
                      <a:pt x="242" y="53"/>
                      <a:pt x="222" y="105"/>
                      <a:pt x="188" y="145"/>
                    </a:cubicBezTo>
                    <a:cubicBezTo>
                      <a:pt x="165" y="173"/>
                      <a:pt x="132" y="192"/>
                      <a:pt x="97" y="199"/>
                    </a:cubicBezTo>
                    <a:cubicBezTo>
                      <a:pt x="64" y="206"/>
                      <a:pt x="43" y="219"/>
                      <a:pt x="42" y="251"/>
                    </a:cubicBezTo>
                    <a:cubicBezTo>
                      <a:pt x="41" y="262"/>
                      <a:pt x="45" y="273"/>
                      <a:pt x="48" y="283"/>
                    </a:cubicBezTo>
                    <a:cubicBezTo>
                      <a:pt x="51" y="295"/>
                      <a:pt x="55" y="307"/>
                      <a:pt x="58" y="319"/>
                    </a:cubicBezTo>
                    <a:cubicBezTo>
                      <a:pt x="65" y="344"/>
                      <a:pt x="72" y="368"/>
                      <a:pt x="79" y="393"/>
                    </a:cubicBezTo>
                    <a:cubicBezTo>
                      <a:pt x="48" y="421"/>
                      <a:pt x="22" y="456"/>
                      <a:pt x="12" y="497"/>
                    </a:cubicBezTo>
                    <a:cubicBezTo>
                      <a:pt x="0" y="546"/>
                      <a:pt x="13" y="597"/>
                      <a:pt x="25" y="644"/>
                    </a:cubicBezTo>
                    <a:lnTo>
                      <a:pt x="163" y="644"/>
                    </a:lnTo>
                    <a:close/>
                  </a:path>
                </a:pathLst>
              </a:custGeom>
              <a:solidFill>
                <a:srgbClr val="4A64A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54" name="ïsľïḓe">
                <a:extLst>
                  <a:ext uri="{FF2B5EF4-FFF2-40B4-BE49-F238E27FC236}">
                    <a16:creationId xmlns:a16="http://schemas.microsoft.com/office/drawing/2014/main" id="{4A72A7EF-72D3-41C3-AC64-83596E530EBA}"/>
                  </a:ext>
                </a:extLst>
              </p:cNvPr>
              <p:cNvSpPr/>
              <p:nvPr/>
            </p:nvSpPr>
            <p:spPr bwMode="auto">
              <a:xfrm>
                <a:off x="4927600" y="3398838"/>
                <a:ext cx="136525" cy="77788"/>
              </a:xfrm>
              <a:custGeom>
                <a:avLst/>
                <a:gdLst>
                  <a:gd name="T0" fmla="*/ 0 w 46"/>
                  <a:gd name="T1" fmla="*/ 14 h 26"/>
                  <a:gd name="T2" fmla="*/ 35 w 46"/>
                  <a:gd name="T3" fmla="*/ 21 h 26"/>
                  <a:gd name="T4" fmla="*/ 46 w 46"/>
                  <a:gd name="T5" fmla="*/ 26 h 26"/>
                  <a:gd name="T6" fmla="*/ 32 w 46"/>
                  <a:gd name="T7" fmla="*/ 0 h 26"/>
                  <a:gd name="T8" fmla="*/ 0 w 46"/>
                  <a:gd name="T9" fmla="*/ 14 h 26"/>
                </a:gdLst>
                <a:ahLst/>
                <a:cxnLst>
                  <a:cxn ang="0">
                    <a:pos x="T0" y="T1"/>
                  </a:cxn>
                  <a:cxn ang="0">
                    <a:pos x="T2" y="T3"/>
                  </a:cxn>
                  <a:cxn ang="0">
                    <a:pos x="T4" y="T5"/>
                  </a:cxn>
                  <a:cxn ang="0">
                    <a:pos x="T6" y="T7"/>
                  </a:cxn>
                  <a:cxn ang="0">
                    <a:pos x="T8" y="T9"/>
                  </a:cxn>
                </a:cxnLst>
                <a:rect l="0" t="0" r="r" b="b"/>
                <a:pathLst>
                  <a:path w="46" h="26">
                    <a:moveTo>
                      <a:pt x="0" y="14"/>
                    </a:moveTo>
                    <a:cubicBezTo>
                      <a:pt x="7" y="20"/>
                      <a:pt x="30" y="19"/>
                      <a:pt x="35" y="21"/>
                    </a:cubicBezTo>
                    <a:cubicBezTo>
                      <a:pt x="39" y="22"/>
                      <a:pt x="43" y="24"/>
                      <a:pt x="46" y="26"/>
                    </a:cubicBezTo>
                    <a:cubicBezTo>
                      <a:pt x="40" y="19"/>
                      <a:pt x="33" y="10"/>
                      <a:pt x="32" y="0"/>
                    </a:cubicBezTo>
                    <a:cubicBezTo>
                      <a:pt x="21" y="8"/>
                      <a:pt x="0" y="14"/>
                      <a:pt x="0" y="14"/>
                    </a:cubicBezTo>
                    <a:close/>
                  </a:path>
                </a:pathLst>
              </a:custGeom>
              <a:solidFill>
                <a:srgbClr val="3851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5" name="îṧlïḋê">
                <a:extLst>
                  <a:ext uri="{FF2B5EF4-FFF2-40B4-BE49-F238E27FC236}">
                    <a16:creationId xmlns:a16="http://schemas.microsoft.com/office/drawing/2014/main" id="{8488B77A-C4F0-4F25-80E7-6EADDE212D41}"/>
                  </a:ext>
                </a:extLst>
              </p:cNvPr>
              <p:cNvSpPr/>
              <p:nvPr/>
            </p:nvSpPr>
            <p:spPr bwMode="auto">
              <a:xfrm>
                <a:off x="4619625" y="3957638"/>
                <a:ext cx="212725" cy="422275"/>
              </a:xfrm>
              <a:custGeom>
                <a:avLst/>
                <a:gdLst>
                  <a:gd name="T0" fmla="*/ 59 w 72"/>
                  <a:gd name="T1" fmla="*/ 3 h 143"/>
                  <a:gd name="T2" fmla="*/ 0 w 72"/>
                  <a:gd name="T3" fmla="*/ 118 h 143"/>
                  <a:gd name="T4" fmla="*/ 40 w 72"/>
                  <a:gd name="T5" fmla="*/ 118 h 143"/>
                  <a:gd name="T6" fmla="*/ 45 w 72"/>
                  <a:gd name="T7" fmla="*/ 63 h 143"/>
                  <a:gd name="T8" fmla="*/ 69 w 72"/>
                  <a:gd name="T9" fmla="*/ 13 h 143"/>
                  <a:gd name="T10" fmla="*/ 59 w 72"/>
                  <a:gd name="T11" fmla="*/ 3 h 143"/>
                </a:gdLst>
                <a:ahLst/>
                <a:cxnLst>
                  <a:cxn ang="0">
                    <a:pos x="T0" y="T1"/>
                  </a:cxn>
                  <a:cxn ang="0">
                    <a:pos x="T2" y="T3"/>
                  </a:cxn>
                  <a:cxn ang="0">
                    <a:pos x="T4" y="T5"/>
                  </a:cxn>
                  <a:cxn ang="0">
                    <a:pos x="T6" y="T7"/>
                  </a:cxn>
                  <a:cxn ang="0">
                    <a:pos x="T8" y="T9"/>
                  </a:cxn>
                  <a:cxn ang="0">
                    <a:pos x="T10" y="T11"/>
                  </a:cxn>
                </a:cxnLst>
                <a:rect l="0" t="0" r="r" b="b"/>
                <a:pathLst>
                  <a:path w="72" h="143">
                    <a:moveTo>
                      <a:pt x="59" y="3"/>
                    </a:moveTo>
                    <a:cubicBezTo>
                      <a:pt x="19" y="23"/>
                      <a:pt x="0" y="76"/>
                      <a:pt x="0" y="118"/>
                    </a:cubicBezTo>
                    <a:cubicBezTo>
                      <a:pt x="1" y="143"/>
                      <a:pt x="41" y="143"/>
                      <a:pt x="40" y="118"/>
                    </a:cubicBezTo>
                    <a:cubicBezTo>
                      <a:pt x="39" y="99"/>
                      <a:pt x="40" y="81"/>
                      <a:pt x="45" y="63"/>
                    </a:cubicBezTo>
                    <a:cubicBezTo>
                      <a:pt x="51" y="45"/>
                      <a:pt x="60" y="30"/>
                      <a:pt x="69" y="13"/>
                    </a:cubicBezTo>
                    <a:cubicBezTo>
                      <a:pt x="72" y="7"/>
                      <a:pt x="65" y="0"/>
                      <a:pt x="59" y="3"/>
                    </a:cubicBezTo>
                    <a:close/>
                  </a:path>
                </a:pathLst>
              </a:custGeom>
              <a:solidFill>
                <a:srgbClr val="5B77B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56" name="îšliďé">
                <a:extLst>
                  <a:ext uri="{FF2B5EF4-FFF2-40B4-BE49-F238E27FC236}">
                    <a16:creationId xmlns:a16="http://schemas.microsoft.com/office/drawing/2014/main" id="{A47B28B7-B4B0-4C2D-BB86-A0EECF265E10}"/>
                  </a:ext>
                </a:extLst>
              </p:cNvPr>
              <p:cNvSpPr/>
              <p:nvPr/>
            </p:nvSpPr>
            <p:spPr bwMode="auto">
              <a:xfrm>
                <a:off x="4702175" y="3360738"/>
                <a:ext cx="128588" cy="198438"/>
              </a:xfrm>
              <a:custGeom>
                <a:avLst/>
                <a:gdLst>
                  <a:gd name="T0" fmla="*/ 39 w 43"/>
                  <a:gd name="T1" fmla="*/ 1 h 67"/>
                  <a:gd name="T2" fmla="*/ 11 w 43"/>
                  <a:gd name="T3" fmla="*/ 59 h 67"/>
                  <a:gd name="T4" fmla="*/ 23 w 43"/>
                  <a:gd name="T5" fmla="*/ 51 h 67"/>
                  <a:gd name="T6" fmla="*/ 41 w 43"/>
                  <a:gd name="T7" fmla="*/ 6 h 67"/>
                  <a:gd name="T8" fmla="*/ 39 w 43"/>
                  <a:gd name="T9" fmla="*/ 1 h 67"/>
                </a:gdLst>
                <a:ahLst/>
                <a:cxnLst>
                  <a:cxn ang="0">
                    <a:pos x="T0" y="T1"/>
                  </a:cxn>
                  <a:cxn ang="0">
                    <a:pos x="T2" y="T3"/>
                  </a:cxn>
                  <a:cxn ang="0">
                    <a:pos x="T4" y="T5"/>
                  </a:cxn>
                  <a:cxn ang="0">
                    <a:pos x="T6" y="T7"/>
                  </a:cxn>
                  <a:cxn ang="0">
                    <a:pos x="T8" y="T9"/>
                  </a:cxn>
                </a:cxnLst>
                <a:rect l="0" t="0" r="r" b="b"/>
                <a:pathLst>
                  <a:path w="43" h="67">
                    <a:moveTo>
                      <a:pt x="39" y="1"/>
                    </a:moveTo>
                    <a:cubicBezTo>
                      <a:pt x="12" y="7"/>
                      <a:pt x="0" y="34"/>
                      <a:pt x="11" y="59"/>
                    </a:cubicBezTo>
                    <a:cubicBezTo>
                      <a:pt x="14" y="67"/>
                      <a:pt x="28" y="60"/>
                      <a:pt x="23" y="51"/>
                    </a:cubicBezTo>
                    <a:cubicBezTo>
                      <a:pt x="14" y="33"/>
                      <a:pt x="22" y="14"/>
                      <a:pt x="41" y="6"/>
                    </a:cubicBezTo>
                    <a:cubicBezTo>
                      <a:pt x="43" y="4"/>
                      <a:pt x="41" y="0"/>
                      <a:pt x="39" y="1"/>
                    </a:cubicBezTo>
                    <a:close/>
                  </a:path>
                </a:pathLst>
              </a:custGeom>
              <a:solidFill>
                <a:srgbClr val="5B77B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7" name="îṡľïḓê">
                <a:extLst>
                  <a:ext uri="{FF2B5EF4-FFF2-40B4-BE49-F238E27FC236}">
                    <a16:creationId xmlns:a16="http://schemas.microsoft.com/office/drawing/2014/main" id="{9C9B3022-D8AF-4DF2-B5B5-2B427E1D0AE2}"/>
                  </a:ext>
                </a:extLst>
              </p:cNvPr>
              <p:cNvSpPr/>
              <p:nvPr/>
            </p:nvSpPr>
            <p:spPr bwMode="auto">
              <a:xfrm>
                <a:off x="5441950" y="5075238"/>
                <a:ext cx="252413" cy="250825"/>
              </a:xfrm>
              <a:custGeom>
                <a:avLst/>
                <a:gdLst>
                  <a:gd name="T0" fmla="*/ 42 w 85"/>
                  <a:gd name="T1" fmla="*/ 0 h 85"/>
                  <a:gd name="T2" fmla="*/ 0 w 85"/>
                  <a:gd name="T3" fmla="*/ 85 h 85"/>
                  <a:gd name="T4" fmla="*/ 10 w 85"/>
                  <a:gd name="T5" fmla="*/ 85 h 85"/>
                  <a:gd name="T6" fmla="*/ 85 w 85"/>
                  <a:gd name="T7" fmla="*/ 0 h 85"/>
                  <a:gd name="T8" fmla="*/ 42 w 85"/>
                  <a:gd name="T9" fmla="*/ 0 h 85"/>
                </a:gdLst>
                <a:ahLst/>
                <a:cxnLst>
                  <a:cxn ang="0">
                    <a:pos x="T0" y="T1"/>
                  </a:cxn>
                  <a:cxn ang="0">
                    <a:pos x="T2" y="T3"/>
                  </a:cxn>
                  <a:cxn ang="0">
                    <a:pos x="T4" y="T5"/>
                  </a:cxn>
                  <a:cxn ang="0">
                    <a:pos x="T6" y="T7"/>
                  </a:cxn>
                  <a:cxn ang="0">
                    <a:pos x="T8" y="T9"/>
                  </a:cxn>
                </a:cxnLst>
                <a:rect l="0" t="0" r="r" b="b"/>
                <a:pathLst>
                  <a:path w="85" h="85">
                    <a:moveTo>
                      <a:pt x="42" y="0"/>
                    </a:moveTo>
                    <a:cubicBezTo>
                      <a:pt x="27" y="31"/>
                      <a:pt x="4" y="77"/>
                      <a:pt x="0" y="85"/>
                    </a:cubicBezTo>
                    <a:cubicBezTo>
                      <a:pt x="10" y="85"/>
                      <a:pt x="10" y="85"/>
                      <a:pt x="10" y="85"/>
                    </a:cubicBezTo>
                    <a:cubicBezTo>
                      <a:pt x="10" y="85"/>
                      <a:pt x="53" y="43"/>
                      <a:pt x="85" y="0"/>
                    </a:cubicBezTo>
                    <a:lnTo>
                      <a:pt x="42" y="0"/>
                    </a:lnTo>
                    <a:close/>
                  </a:path>
                </a:pathLst>
              </a:custGeom>
              <a:solidFill>
                <a:srgbClr val="415DA7"/>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58" name="is1íḍe">
                <a:extLst>
                  <a:ext uri="{FF2B5EF4-FFF2-40B4-BE49-F238E27FC236}">
                    <a16:creationId xmlns:a16="http://schemas.microsoft.com/office/drawing/2014/main" id="{0C6FC606-FA6C-4751-AAB7-CD39BC602F6A}"/>
                  </a:ext>
                </a:extLst>
              </p:cNvPr>
              <p:cNvSpPr/>
              <p:nvPr/>
            </p:nvSpPr>
            <p:spPr bwMode="auto">
              <a:xfrm>
                <a:off x="5262563" y="4649788"/>
                <a:ext cx="939800" cy="676275"/>
              </a:xfrm>
              <a:custGeom>
                <a:avLst/>
                <a:gdLst>
                  <a:gd name="T0" fmla="*/ 284 w 318"/>
                  <a:gd name="T1" fmla="*/ 15 h 229"/>
                  <a:gd name="T2" fmla="*/ 144 w 318"/>
                  <a:gd name="T3" fmla="*/ 42 h 229"/>
                  <a:gd name="T4" fmla="*/ 132 w 318"/>
                  <a:gd name="T5" fmla="*/ 0 h 229"/>
                  <a:gd name="T6" fmla="*/ 46 w 318"/>
                  <a:gd name="T7" fmla="*/ 13 h 229"/>
                  <a:gd name="T8" fmla="*/ 3 w 318"/>
                  <a:gd name="T9" fmla="*/ 99 h 229"/>
                  <a:gd name="T10" fmla="*/ 39 w 318"/>
                  <a:gd name="T11" fmla="*/ 149 h 229"/>
                  <a:gd name="T12" fmla="*/ 56 w 318"/>
                  <a:gd name="T13" fmla="*/ 153 h 229"/>
                  <a:gd name="T14" fmla="*/ 201 w 318"/>
                  <a:gd name="T15" fmla="*/ 134 h 229"/>
                  <a:gd name="T16" fmla="*/ 226 w 318"/>
                  <a:gd name="T17" fmla="*/ 117 h 229"/>
                  <a:gd name="T18" fmla="*/ 173 w 318"/>
                  <a:gd name="T19" fmla="*/ 229 h 229"/>
                  <a:gd name="T20" fmla="*/ 185 w 318"/>
                  <a:gd name="T21" fmla="*/ 229 h 229"/>
                  <a:gd name="T22" fmla="*/ 314 w 318"/>
                  <a:gd name="T23" fmla="*/ 55 h 229"/>
                  <a:gd name="T24" fmla="*/ 284 w 318"/>
                  <a:gd name="T25" fmla="*/ 1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8" h="229">
                    <a:moveTo>
                      <a:pt x="284" y="15"/>
                    </a:moveTo>
                    <a:cubicBezTo>
                      <a:pt x="234" y="14"/>
                      <a:pt x="164" y="34"/>
                      <a:pt x="144" y="42"/>
                    </a:cubicBezTo>
                    <a:cubicBezTo>
                      <a:pt x="142" y="36"/>
                      <a:pt x="134" y="7"/>
                      <a:pt x="132" y="0"/>
                    </a:cubicBezTo>
                    <a:cubicBezTo>
                      <a:pt x="46" y="13"/>
                      <a:pt x="46" y="13"/>
                      <a:pt x="46" y="13"/>
                    </a:cubicBezTo>
                    <a:cubicBezTo>
                      <a:pt x="30" y="35"/>
                      <a:pt x="7" y="72"/>
                      <a:pt x="3" y="99"/>
                    </a:cubicBezTo>
                    <a:cubicBezTo>
                      <a:pt x="0" y="122"/>
                      <a:pt x="12" y="148"/>
                      <a:pt x="39" y="149"/>
                    </a:cubicBezTo>
                    <a:cubicBezTo>
                      <a:pt x="45" y="149"/>
                      <a:pt x="50" y="151"/>
                      <a:pt x="56" y="153"/>
                    </a:cubicBezTo>
                    <a:cubicBezTo>
                      <a:pt x="100" y="166"/>
                      <a:pt x="165" y="155"/>
                      <a:pt x="201" y="134"/>
                    </a:cubicBezTo>
                    <a:cubicBezTo>
                      <a:pt x="210" y="129"/>
                      <a:pt x="218" y="123"/>
                      <a:pt x="226" y="117"/>
                    </a:cubicBezTo>
                    <a:cubicBezTo>
                      <a:pt x="223" y="131"/>
                      <a:pt x="178" y="217"/>
                      <a:pt x="173" y="229"/>
                    </a:cubicBezTo>
                    <a:cubicBezTo>
                      <a:pt x="185" y="229"/>
                      <a:pt x="185" y="229"/>
                      <a:pt x="185" y="229"/>
                    </a:cubicBezTo>
                    <a:cubicBezTo>
                      <a:pt x="185" y="229"/>
                      <a:pt x="307" y="84"/>
                      <a:pt x="314" y="55"/>
                    </a:cubicBezTo>
                    <a:cubicBezTo>
                      <a:pt x="318" y="37"/>
                      <a:pt x="309" y="16"/>
                      <a:pt x="284" y="15"/>
                    </a:cubicBezTo>
                    <a:close/>
                  </a:path>
                </a:pathLst>
              </a:custGeom>
              <a:solidFill>
                <a:srgbClr val="4A64A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algn="ctr"/>
                <a:endParaRPr/>
              </a:p>
            </p:txBody>
          </p:sp>
          <p:sp>
            <p:nvSpPr>
              <p:cNvPr id="59" name="íṣḻiḍe">
                <a:extLst>
                  <a:ext uri="{FF2B5EF4-FFF2-40B4-BE49-F238E27FC236}">
                    <a16:creationId xmlns:a16="http://schemas.microsoft.com/office/drawing/2014/main" id="{E90BC9FD-15F9-4CC9-97BF-F8D190385D91}"/>
                  </a:ext>
                </a:extLst>
              </p:cNvPr>
              <p:cNvSpPr/>
              <p:nvPr/>
            </p:nvSpPr>
            <p:spPr bwMode="auto">
              <a:xfrm>
                <a:off x="5351463" y="4749801"/>
                <a:ext cx="96838" cy="328613"/>
              </a:xfrm>
              <a:custGeom>
                <a:avLst/>
                <a:gdLst>
                  <a:gd name="T0" fmla="*/ 31 w 33"/>
                  <a:gd name="T1" fmla="*/ 1 h 111"/>
                  <a:gd name="T2" fmla="*/ 12 w 33"/>
                  <a:gd name="T3" fmla="*/ 109 h 111"/>
                  <a:gd name="T4" fmla="*/ 16 w 33"/>
                  <a:gd name="T5" fmla="*/ 108 h 111"/>
                  <a:gd name="T6" fmla="*/ 32 w 33"/>
                  <a:gd name="T7" fmla="*/ 2 h 111"/>
                  <a:gd name="T8" fmla="*/ 31 w 33"/>
                  <a:gd name="T9" fmla="*/ 1 h 111"/>
                </a:gdLst>
                <a:ahLst/>
                <a:cxnLst>
                  <a:cxn ang="0">
                    <a:pos x="T0" y="T1"/>
                  </a:cxn>
                  <a:cxn ang="0">
                    <a:pos x="T2" y="T3"/>
                  </a:cxn>
                  <a:cxn ang="0">
                    <a:pos x="T4" y="T5"/>
                  </a:cxn>
                  <a:cxn ang="0">
                    <a:pos x="T6" y="T7"/>
                  </a:cxn>
                  <a:cxn ang="0">
                    <a:pos x="T8" y="T9"/>
                  </a:cxn>
                </a:cxnLst>
                <a:rect l="0" t="0" r="r" b="b"/>
                <a:pathLst>
                  <a:path w="33" h="111">
                    <a:moveTo>
                      <a:pt x="31" y="1"/>
                    </a:moveTo>
                    <a:cubicBezTo>
                      <a:pt x="7" y="32"/>
                      <a:pt x="0" y="72"/>
                      <a:pt x="12" y="109"/>
                    </a:cubicBezTo>
                    <a:cubicBezTo>
                      <a:pt x="13" y="111"/>
                      <a:pt x="17" y="110"/>
                      <a:pt x="16" y="108"/>
                    </a:cubicBezTo>
                    <a:cubicBezTo>
                      <a:pt x="4" y="72"/>
                      <a:pt x="10" y="33"/>
                      <a:pt x="32" y="2"/>
                    </a:cubicBezTo>
                    <a:cubicBezTo>
                      <a:pt x="33" y="1"/>
                      <a:pt x="31" y="0"/>
                      <a:pt x="31" y="1"/>
                    </a:cubicBezTo>
                    <a:close/>
                  </a:path>
                </a:pathLst>
              </a:custGeom>
              <a:solidFill>
                <a:srgbClr val="39569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0" name="îś1ídé">
                <a:extLst>
                  <a:ext uri="{FF2B5EF4-FFF2-40B4-BE49-F238E27FC236}">
                    <a16:creationId xmlns:a16="http://schemas.microsoft.com/office/drawing/2014/main" id="{CA0E8461-3B36-4376-80A4-E9DFA2906A34}"/>
                  </a:ext>
                </a:extLst>
              </p:cNvPr>
              <p:cNvSpPr/>
              <p:nvPr/>
            </p:nvSpPr>
            <p:spPr bwMode="auto">
              <a:xfrm>
                <a:off x="5561013" y="4656138"/>
                <a:ext cx="547688" cy="658813"/>
              </a:xfrm>
              <a:custGeom>
                <a:avLst/>
                <a:gdLst>
                  <a:gd name="T0" fmla="*/ 175 w 185"/>
                  <a:gd name="T1" fmla="*/ 42 h 223"/>
                  <a:gd name="T2" fmla="*/ 145 w 185"/>
                  <a:gd name="T3" fmla="*/ 53 h 223"/>
                  <a:gd name="T4" fmla="*/ 103 w 185"/>
                  <a:gd name="T5" fmla="*/ 74 h 223"/>
                  <a:gd name="T6" fmla="*/ 63 w 185"/>
                  <a:gd name="T7" fmla="*/ 94 h 223"/>
                  <a:gd name="T8" fmla="*/ 43 w 185"/>
                  <a:gd name="T9" fmla="*/ 105 h 223"/>
                  <a:gd name="T10" fmla="*/ 31 w 185"/>
                  <a:gd name="T11" fmla="*/ 110 h 223"/>
                  <a:gd name="T12" fmla="*/ 21 w 185"/>
                  <a:gd name="T13" fmla="*/ 97 h 223"/>
                  <a:gd name="T14" fmla="*/ 14 w 185"/>
                  <a:gd name="T15" fmla="*/ 56 h 223"/>
                  <a:gd name="T16" fmla="*/ 14 w 185"/>
                  <a:gd name="T17" fmla="*/ 54 h 223"/>
                  <a:gd name="T18" fmla="*/ 14 w 185"/>
                  <a:gd name="T19" fmla="*/ 54 h 223"/>
                  <a:gd name="T20" fmla="*/ 29 w 185"/>
                  <a:gd name="T21" fmla="*/ 2 h 223"/>
                  <a:gd name="T22" fmla="*/ 25 w 185"/>
                  <a:gd name="T23" fmla="*/ 3 h 223"/>
                  <a:gd name="T24" fmla="*/ 13 w 185"/>
                  <a:gd name="T25" fmla="*/ 52 h 223"/>
                  <a:gd name="T26" fmla="*/ 2 w 185"/>
                  <a:gd name="T27" fmla="*/ 15 h 223"/>
                  <a:gd name="T28" fmla="*/ 1 w 185"/>
                  <a:gd name="T29" fmla="*/ 15 h 223"/>
                  <a:gd name="T30" fmla="*/ 15 w 185"/>
                  <a:gd name="T31" fmla="*/ 92 h 223"/>
                  <a:gd name="T32" fmla="*/ 26 w 185"/>
                  <a:gd name="T33" fmla="*/ 115 h 223"/>
                  <a:gd name="T34" fmla="*/ 49 w 185"/>
                  <a:gd name="T35" fmla="*/ 107 h 223"/>
                  <a:gd name="T36" fmla="*/ 125 w 185"/>
                  <a:gd name="T37" fmla="*/ 69 h 223"/>
                  <a:gd name="T38" fmla="*/ 161 w 185"/>
                  <a:gd name="T39" fmla="*/ 51 h 223"/>
                  <a:gd name="T40" fmla="*/ 171 w 185"/>
                  <a:gd name="T41" fmla="*/ 48 h 223"/>
                  <a:gd name="T42" fmla="*/ 172 w 185"/>
                  <a:gd name="T43" fmla="*/ 61 h 223"/>
                  <a:gd name="T44" fmla="*/ 79 w 185"/>
                  <a:gd name="T45" fmla="*/ 223 h 223"/>
                  <a:gd name="T46" fmla="*/ 84 w 185"/>
                  <a:gd name="T47" fmla="*/ 223 h 223"/>
                  <a:gd name="T48" fmla="*/ 182 w 185"/>
                  <a:gd name="T49" fmla="*/ 54 h 223"/>
                  <a:gd name="T50" fmla="*/ 175 w 185"/>
                  <a:gd name="T51" fmla="*/ 4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223">
                    <a:moveTo>
                      <a:pt x="175" y="42"/>
                    </a:moveTo>
                    <a:cubicBezTo>
                      <a:pt x="165" y="41"/>
                      <a:pt x="154" y="49"/>
                      <a:pt x="145" y="53"/>
                    </a:cubicBezTo>
                    <a:cubicBezTo>
                      <a:pt x="131" y="60"/>
                      <a:pt x="117" y="67"/>
                      <a:pt x="103" y="74"/>
                    </a:cubicBezTo>
                    <a:cubicBezTo>
                      <a:pt x="90" y="81"/>
                      <a:pt x="77" y="88"/>
                      <a:pt x="63" y="94"/>
                    </a:cubicBezTo>
                    <a:cubicBezTo>
                      <a:pt x="57" y="98"/>
                      <a:pt x="50" y="101"/>
                      <a:pt x="43" y="105"/>
                    </a:cubicBezTo>
                    <a:cubicBezTo>
                      <a:pt x="40" y="106"/>
                      <a:pt x="34" y="110"/>
                      <a:pt x="31" y="110"/>
                    </a:cubicBezTo>
                    <a:cubicBezTo>
                      <a:pt x="24" y="111"/>
                      <a:pt x="22" y="102"/>
                      <a:pt x="21" y="97"/>
                    </a:cubicBezTo>
                    <a:cubicBezTo>
                      <a:pt x="18" y="84"/>
                      <a:pt x="17" y="70"/>
                      <a:pt x="14" y="56"/>
                    </a:cubicBezTo>
                    <a:cubicBezTo>
                      <a:pt x="14" y="55"/>
                      <a:pt x="14" y="55"/>
                      <a:pt x="14" y="54"/>
                    </a:cubicBezTo>
                    <a:cubicBezTo>
                      <a:pt x="14" y="54"/>
                      <a:pt x="14" y="54"/>
                      <a:pt x="14" y="54"/>
                    </a:cubicBezTo>
                    <a:cubicBezTo>
                      <a:pt x="28" y="41"/>
                      <a:pt x="34" y="21"/>
                      <a:pt x="29" y="2"/>
                    </a:cubicBezTo>
                    <a:cubicBezTo>
                      <a:pt x="28" y="0"/>
                      <a:pt x="25" y="1"/>
                      <a:pt x="25" y="3"/>
                    </a:cubicBezTo>
                    <a:cubicBezTo>
                      <a:pt x="29" y="21"/>
                      <a:pt x="25" y="38"/>
                      <a:pt x="13" y="52"/>
                    </a:cubicBezTo>
                    <a:cubicBezTo>
                      <a:pt x="11" y="39"/>
                      <a:pt x="7" y="27"/>
                      <a:pt x="2" y="15"/>
                    </a:cubicBezTo>
                    <a:cubicBezTo>
                      <a:pt x="2" y="13"/>
                      <a:pt x="0" y="14"/>
                      <a:pt x="1" y="15"/>
                    </a:cubicBezTo>
                    <a:cubicBezTo>
                      <a:pt x="9" y="40"/>
                      <a:pt x="11" y="66"/>
                      <a:pt x="15" y="92"/>
                    </a:cubicBezTo>
                    <a:cubicBezTo>
                      <a:pt x="16" y="99"/>
                      <a:pt x="18" y="112"/>
                      <a:pt x="26" y="115"/>
                    </a:cubicBezTo>
                    <a:cubicBezTo>
                      <a:pt x="33" y="118"/>
                      <a:pt x="43" y="111"/>
                      <a:pt x="49" y="107"/>
                    </a:cubicBezTo>
                    <a:cubicBezTo>
                      <a:pt x="74" y="95"/>
                      <a:pt x="100" y="82"/>
                      <a:pt x="125" y="69"/>
                    </a:cubicBezTo>
                    <a:cubicBezTo>
                      <a:pt x="137" y="63"/>
                      <a:pt x="149" y="56"/>
                      <a:pt x="161" y="51"/>
                    </a:cubicBezTo>
                    <a:cubicBezTo>
                      <a:pt x="164" y="49"/>
                      <a:pt x="168" y="48"/>
                      <a:pt x="171" y="48"/>
                    </a:cubicBezTo>
                    <a:cubicBezTo>
                      <a:pt x="175" y="49"/>
                      <a:pt x="175" y="56"/>
                      <a:pt x="172" y="61"/>
                    </a:cubicBezTo>
                    <a:cubicBezTo>
                      <a:pt x="169" y="66"/>
                      <a:pt x="91" y="203"/>
                      <a:pt x="79" y="223"/>
                    </a:cubicBezTo>
                    <a:cubicBezTo>
                      <a:pt x="84" y="223"/>
                      <a:pt x="84" y="223"/>
                      <a:pt x="84" y="223"/>
                    </a:cubicBezTo>
                    <a:cubicBezTo>
                      <a:pt x="104" y="187"/>
                      <a:pt x="164" y="95"/>
                      <a:pt x="182" y="54"/>
                    </a:cubicBezTo>
                    <a:cubicBezTo>
                      <a:pt x="185" y="47"/>
                      <a:pt x="179" y="43"/>
                      <a:pt x="175" y="42"/>
                    </a:cubicBezTo>
                    <a:close/>
                  </a:path>
                </a:pathLst>
              </a:custGeom>
              <a:solidFill>
                <a:srgbClr val="39569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85000" lnSpcReduction="20000"/>
              </a:bodyPr>
              <a:lstStyle/>
              <a:p>
                <a:pPr algn="ctr"/>
                <a:endParaRPr/>
              </a:p>
            </p:txBody>
          </p:sp>
          <p:sp>
            <p:nvSpPr>
              <p:cNvPr id="61" name="ïṩliḓe">
                <a:extLst>
                  <a:ext uri="{FF2B5EF4-FFF2-40B4-BE49-F238E27FC236}">
                    <a16:creationId xmlns:a16="http://schemas.microsoft.com/office/drawing/2014/main" id="{F5DEAE4F-1DA0-4552-A0FA-94C566B9EDE9}"/>
                  </a:ext>
                </a:extLst>
              </p:cNvPr>
              <p:cNvSpPr/>
              <p:nvPr/>
            </p:nvSpPr>
            <p:spPr bwMode="auto">
              <a:xfrm>
                <a:off x="5767388" y="5314951"/>
                <a:ext cx="142875" cy="41275"/>
              </a:xfrm>
              <a:custGeom>
                <a:avLst/>
                <a:gdLst>
                  <a:gd name="T0" fmla="*/ 0 w 48"/>
                  <a:gd name="T1" fmla="*/ 4 h 14"/>
                  <a:gd name="T2" fmla="*/ 4 w 48"/>
                  <a:gd name="T3" fmla="*/ 8 h 14"/>
                  <a:gd name="T4" fmla="*/ 34 w 48"/>
                  <a:gd name="T5" fmla="*/ 11 h 14"/>
                  <a:gd name="T6" fmla="*/ 47 w 48"/>
                  <a:gd name="T7" fmla="*/ 7 h 14"/>
                  <a:gd name="T8" fmla="*/ 33 w 48"/>
                  <a:gd name="T9" fmla="*/ 1 h 14"/>
                  <a:gd name="T10" fmla="*/ 4 w 48"/>
                  <a:gd name="T11" fmla="*/ 0 h 14"/>
                  <a:gd name="T12" fmla="*/ 0 w 48"/>
                  <a:gd name="T13" fmla="*/ 4 h 14"/>
                </a:gdLst>
                <a:ahLst/>
                <a:cxnLst>
                  <a:cxn ang="0">
                    <a:pos x="T0" y="T1"/>
                  </a:cxn>
                  <a:cxn ang="0">
                    <a:pos x="T2" y="T3"/>
                  </a:cxn>
                  <a:cxn ang="0">
                    <a:pos x="T4" y="T5"/>
                  </a:cxn>
                  <a:cxn ang="0">
                    <a:pos x="T6" y="T7"/>
                  </a:cxn>
                  <a:cxn ang="0">
                    <a:pos x="T8" y="T9"/>
                  </a:cxn>
                  <a:cxn ang="0">
                    <a:pos x="T10" y="T11"/>
                  </a:cxn>
                  <a:cxn ang="0">
                    <a:pos x="T12" y="T13"/>
                  </a:cxn>
                </a:cxnLst>
                <a:rect l="0" t="0" r="r" b="b"/>
                <a:pathLst>
                  <a:path w="48" h="14">
                    <a:moveTo>
                      <a:pt x="0" y="4"/>
                    </a:moveTo>
                    <a:cubicBezTo>
                      <a:pt x="0" y="7"/>
                      <a:pt x="2" y="8"/>
                      <a:pt x="4" y="8"/>
                    </a:cubicBezTo>
                    <a:cubicBezTo>
                      <a:pt x="14" y="9"/>
                      <a:pt x="24" y="9"/>
                      <a:pt x="34" y="11"/>
                    </a:cubicBezTo>
                    <a:cubicBezTo>
                      <a:pt x="38" y="11"/>
                      <a:pt x="48" y="14"/>
                      <a:pt x="47" y="7"/>
                    </a:cubicBezTo>
                    <a:cubicBezTo>
                      <a:pt x="47" y="1"/>
                      <a:pt x="37" y="1"/>
                      <a:pt x="33" y="1"/>
                    </a:cubicBezTo>
                    <a:cubicBezTo>
                      <a:pt x="24" y="1"/>
                      <a:pt x="13" y="0"/>
                      <a:pt x="4" y="0"/>
                    </a:cubicBezTo>
                    <a:cubicBezTo>
                      <a:pt x="2" y="0"/>
                      <a:pt x="0" y="1"/>
                      <a:pt x="0" y="4"/>
                    </a:cubicBezTo>
                    <a:close/>
                  </a:path>
                </a:pathLst>
              </a:custGeom>
              <a:solidFill>
                <a:srgbClr val="ED78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2" name="îṩľîḋé">
                <a:extLst>
                  <a:ext uri="{FF2B5EF4-FFF2-40B4-BE49-F238E27FC236}">
                    <a16:creationId xmlns:a16="http://schemas.microsoft.com/office/drawing/2014/main" id="{80A42C9F-C46F-4150-9208-1AF7D825F2DE}"/>
                  </a:ext>
                </a:extLst>
              </p:cNvPr>
              <p:cNvSpPr/>
              <p:nvPr/>
            </p:nvSpPr>
            <p:spPr bwMode="auto">
              <a:xfrm>
                <a:off x="5437188" y="5314951"/>
                <a:ext cx="141288" cy="41275"/>
              </a:xfrm>
              <a:custGeom>
                <a:avLst/>
                <a:gdLst>
                  <a:gd name="T0" fmla="*/ 0 w 48"/>
                  <a:gd name="T1" fmla="*/ 4 h 14"/>
                  <a:gd name="T2" fmla="*/ 4 w 48"/>
                  <a:gd name="T3" fmla="*/ 8 h 14"/>
                  <a:gd name="T4" fmla="*/ 35 w 48"/>
                  <a:gd name="T5" fmla="*/ 11 h 14"/>
                  <a:gd name="T6" fmla="*/ 48 w 48"/>
                  <a:gd name="T7" fmla="*/ 7 h 14"/>
                  <a:gd name="T8" fmla="*/ 34 w 48"/>
                  <a:gd name="T9" fmla="*/ 1 h 14"/>
                  <a:gd name="T10" fmla="*/ 4 w 48"/>
                  <a:gd name="T11" fmla="*/ 0 h 14"/>
                  <a:gd name="T12" fmla="*/ 0 w 48"/>
                  <a:gd name="T13" fmla="*/ 4 h 14"/>
                </a:gdLst>
                <a:ahLst/>
                <a:cxnLst>
                  <a:cxn ang="0">
                    <a:pos x="T0" y="T1"/>
                  </a:cxn>
                  <a:cxn ang="0">
                    <a:pos x="T2" y="T3"/>
                  </a:cxn>
                  <a:cxn ang="0">
                    <a:pos x="T4" y="T5"/>
                  </a:cxn>
                  <a:cxn ang="0">
                    <a:pos x="T6" y="T7"/>
                  </a:cxn>
                  <a:cxn ang="0">
                    <a:pos x="T8" y="T9"/>
                  </a:cxn>
                  <a:cxn ang="0">
                    <a:pos x="T10" y="T11"/>
                  </a:cxn>
                  <a:cxn ang="0">
                    <a:pos x="T12" y="T13"/>
                  </a:cxn>
                </a:cxnLst>
                <a:rect l="0" t="0" r="r" b="b"/>
                <a:pathLst>
                  <a:path w="48" h="14">
                    <a:moveTo>
                      <a:pt x="0" y="4"/>
                    </a:moveTo>
                    <a:cubicBezTo>
                      <a:pt x="0" y="7"/>
                      <a:pt x="3" y="8"/>
                      <a:pt x="4" y="8"/>
                    </a:cubicBezTo>
                    <a:cubicBezTo>
                      <a:pt x="15" y="9"/>
                      <a:pt x="25" y="9"/>
                      <a:pt x="35" y="11"/>
                    </a:cubicBezTo>
                    <a:cubicBezTo>
                      <a:pt x="38" y="11"/>
                      <a:pt x="48" y="14"/>
                      <a:pt x="48" y="7"/>
                    </a:cubicBezTo>
                    <a:cubicBezTo>
                      <a:pt x="47" y="1"/>
                      <a:pt x="38" y="1"/>
                      <a:pt x="34" y="1"/>
                    </a:cubicBezTo>
                    <a:cubicBezTo>
                      <a:pt x="25" y="1"/>
                      <a:pt x="13" y="0"/>
                      <a:pt x="4" y="0"/>
                    </a:cubicBezTo>
                    <a:cubicBezTo>
                      <a:pt x="2" y="0"/>
                      <a:pt x="1" y="1"/>
                      <a:pt x="0" y="4"/>
                    </a:cubicBezTo>
                    <a:close/>
                  </a:path>
                </a:pathLst>
              </a:custGeom>
              <a:solidFill>
                <a:srgbClr val="ED78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3" name="îšľîďé">
                <a:extLst>
                  <a:ext uri="{FF2B5EF4-FFF2-40B4-BE49-F238E27FC236}">
                    <a16:creationId xmlns:a16="http://schemas.microsoft.com/office/drawing/2014/main" id="{CFC81AC2-7723-4446-8833-5125F9414BC0}"/>
                  </a:ext>
                </a:extLst>
              </p:cNvPr>
              <p:cNvSpPr/>
              <p:nvPr/>
            </p:nvSpPr>
            <p:spPr bwMode="auto">
              <a:xfrm>
                <a:off x="5516563" y="3373438"/>
                <a:ext cx="141288" cy="144463"/>
              </a:xfrm>
              <a:custGeom>
                <a:avLst/>
                <a:gdLst>
                  <a:gd name="T0" fmla="*/ 12 w 48"/>
                  <a:gd name="T1" fmla="*/ 1 h 49"/>
                  <a:gd name="T2" fmla="*/ 25 w 48"/>
                  <a:gd name="T3" fmla="*/ 11 h 49"/>
                  <a:gd name="T4" fmla="*/ 35 w 48"/>
                  <a:gd name="T5" fmla="*/ 21 h 49"/>
                  <a:gd name="T6" fmla="*/ 42 w 48"/>
                  <a:gd name="T7" fmla="*/ 16 h 49"/>
                  <a:gd name="T8" fmla="*/ 46 w 48"/>
                  <a:gd name="T9" fmla="*/ 17 h 49"/>
                  <a:gd name="T10" fmla="*/ 44 w 48"/>
                  <a:gd name="T11" fmla="*/ 46 h 49"/>
                  <a:gd name="T12" fmla="*/ 30 w 48"/>
                  <a:gd name="T13" fmla="*/ 49 h 49"/>
                  <a:gd name="T14" fmla="*/ 16 w 48"/>
                  <a:gd name="T15" fmla="*/ 28 h 49"/>
                  <a:gd name="T16" fmla="*/ 3 w 48"/>
                  <a:gd name="T17" fmla="*/ 16 h 49"/>
                  <a:gd name="T18" fmla="*/ 12 w 48"/>
                  <a:gd name="T19"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12" y="1"/>
                    </a:moveTo>
                    <a:cubicBezTo>
                      <a:pt x="18" y="2"/>
                      <a:pt x="21" y="7"/>
                      <a:pt x="25" y="11"/>
                    </a:cubicBezTo>
                    <a:cubicBezTo>
                      <a:pt x="27" y="14"/>
                      <a:pt x="31" y="20"/>
                      <a:pt x="35" y="21"/>
                    </a:cubicBezTo>
                    <a:cubicBezTo>
                      <a:pt x="41" y="23"/>
                      <a:pt x="40" y="20"/>
                      <a:pt x="42" y="16"/>
                    </a:cubicBezTo>
                    <a:cubicBezTo>
                      <a:pt x="43" y="15"/>
                      <a:pt x="45" y="16"/>
                      <a:pt x="46" y="17"/>
                    </a:cubicBezTo>
                    <a:cubicBezTo>
                      <a:pt x="48" y="27"/>
                      <a:pt x="41" y="36"/>
                      <a:pt x="44" y="46"/>
                    </a:cubicBezTo>
                    <a:cubicBezTo>
                      <a:pt x="40" y="48"/>
                      <a:pt x="35" y="49"/>
                      <a:pt x="30" y="49"/>
                    </a:cubicBezTo>
                    <a:cubicBezTo>
                      <a:pt x="30" y="49"/>
                      <a:pt x="29" y="38"/>
                      <a:pt x="16" y="28"/>
                    </a:cubicBezTo>
                    <a:cubicBezTo>
                      <a:pt x="11" y="24"/>
                      <a:pt x="5" y="21"/>
                      <a:pt x="3" y="16"/>
                    </a:cubicBezTo>
                    <a:cubicBezTo>
                      <a:pt x="0" y="9"/>
                      <a:pt x="4" y="0"/>
                      <a:pt x="12" y="1"/>
                    </a:cubicBezTo>
                    <a:close/>
                  </a:path>
                </a:pathLst>
              </a:custGeom>
              <a:solidFill>
                <a:srgbClr val="F9CDB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4" name="iśľiḑé">
                <a:extLst>
                  <a:ext uri="{FF2B5EF4-FFF2-40B4-BE49-F238E27FC236}">
                    <a16:creationId xmlns:a16="http://schemas.microsoft.com/office/drawing/2014/main" id="{581DEB4E-E82C-4586-949A-3B51C2C17090}"/>
                  </a:ext>
                </a:extLst>
              </p:cNvPr>
              <p:cNvSpPr/>
              <p:nvPr/>
            </p:nvSpPr>
            <p:spPr bwMode="auto">
              <a:xfrm>
                <a:off x="5353050" y="3494088"/>
                <a:ext cx="358775" cy="712788"/>
              </a:xfrm>
              <a:custGeom>
                <a:avLst/>
                <a:gdLst>
                  <a:gd name="T0" fmla="*/ 63 w 121"/>
                  <a:gd name="T1" fmla="*/ 237 h 241"/>
                  <a:gd name="T2" fmla="*/ 98 w 121"/>
                  <a:gd name="T3" fmla="*/ 0 h 241"/>
                  <a:gd name="T4" fmla="*/ 83 w 121"/>
                  <a:gd name="T5" fmla="*/ 4 h 241"/>
                  <a:gd name="T6" fmla="*/ 66 w 121"/>
                  <a:gd name="T7" fmla="*/ 161 h 241"/>
                  <a:gd name="T8" fmla="*/ 0 w 121"/>
                  <a:gd name="T9" fmla="*/ 237 h 241"/>
                  <a:gd name="T10" fmla="*/ 63 w 121"/>
                  <a:gd name="T11" fmla="*/ 237 h 241"/>
                </a:gdLst>
                <a:ahLst/>
                <a:cxnLst>
                  <a:cxn ang="0">
                    <a:pos x="T0" y="T1"/>
                  </a:cxn>
                  <a:cxn ang="0">
                    <a:pos x="T2" y="T3"/>
                  </a:cxn>
                  <a:cxn ang="0">
                    <a:pos x="T4" y="T5"/>
                  </a:cxn>
                  <a:cxn ang="0">
                    <a:pos x="T6" y="T7"/>
                  </a:cxn>
                  <a:cxn ang="0">
                    <a:pos x="T8" y="T9"/>
                  </a:cxn>
                  <a:cxn ang="0">
                    <a:pos x="T10" y="T11"/>
                  </a:cxn>
                </a:cxnLst>
                <a:rect l="0" t="0" r="r" b="b"/>
                <a:pathLst>
                  <a:path w="121" h="241">
                    <a:moveTo>
                      <a:pt x="63" y="237"/>
                    </a:moveTo>
                    <a:cubicBezTo>
                      <a:pt x="121" y="146"/>
                      <a:pt x="118" y="69"/>
                      <a:pt x="98" y="0"/>
                    </a:cubicBezTo>
                    <a:cubicBezTo>
                      <a:pt x="93" y="1"/>
                      <a:pt x="88" y="3"/>
                      <a:pt x="83" y="4"/>
                    </a:cubicBezTo>
                    <a:cubicBezTo>
                      <a:pt x="90" y="57"/>
                      <a:pt x="87" y="113"/>
                      <a:pt x="66" y="161"/>
                    </a:cubicBezTo>
                    <a:cubicBezTo>
                      <a:pt x="53" y="193"/>
                      <a:pt x="30" y="219"/>
                      <a:pt x="0" y="237"/>
                    </a:cubicBezTo>
                    <a:cubicBezTo>
                      <a:pt x="21" y="241"/>
                      <a:pt x="42" y="240"/>
                      <a:pt x="63" y="237"/>
                    </a:cubicBezTo>
                    <a:close/>
                  </a:path>
                </a:pathLst>
              </a:custGeom>
              <a:solidFill>
                <a:srgbClr val="E94C7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92500" lnSpcReduction="20000"/>
              </a:bodyPr>
              <a:lstStyle/>
              <a:p>
                <a:pPr algn="ctr"/>
                <a:endParaRPr/>
              </a:p>
            </p:txBody>
          </p:sp>
          <p:sp>
            <p:nvSpPr>
              <p:cNvPr id="65" name="ïṩľiḋé">
                <a:extLst>
                  <a:ext uri="{FF2B5EF4-FFF2-40B4-BE49-F238E27FC236}">
                    <a16:creationId xmlns:a16="http://schemas.microsoft.com/office/drawing/2014/main" id="{A328B417-D9AE-4DFE-AA85-BF4B48773255}"/>
                  </a:ext>
                </a:extLst>
              </p:cNvPr>
              <p:cNvSpPr/>
              <p:nvPr/>
            </p:nvSpPr>
            <p:spPr bwMode="auto">
              <a:xfrm>
                <a:off x="5589588" y="3867151"/>
                <a:ext cx="33338" cy="49213"/>
              </a:xfrm>
              <a:custGeom>
                <a:avLst/>
                <a:gdLst>
                  <a:gd name="T0" fmla="*/ 9 w 11"/>
                  <a:gd name="T1" fmla="*/ 9 h 17"/>
                  <a:gd name="T2" fmla="*/ 1 w 11"/>
                  <a:gd name="T3" fmla="*/ 3 h 17"/>
                  <a:gd name="T4" fmla="*/ 1 w 11"/>
                  <a:gd name="T5" fmla="*/ 15 h 17"/>
                  <a:gd name="T6" fmla="*/ 9 w 11"/>
                  <a:gd name="T7" fmla="*/ 16 h 17"/>
                  <a:gd name="T8" fmla="*/ 9 w 11"/>
                  <a:gd name="T9" fmla="*/ 9 h 17"/>
                </a:gdLst>
                <a:ahLst/>
                <a:cxnLst>
                  <a:cxn ang="0">
                    <a:pos x="T0" y="T1"/>
                  </a:cxn>
                  <a:cxn ang="0">
                    <a:pos x="T2" y="T3"/>
                  </a:cxn>
                  <a:cxn ang="0">
                    <a:pos x="T4" y="T5"/>
                  </a:cxn>
                  <a:cxn ang="0">
                    <a:pos x="T6" y="T7"/>
                  </a:cxn>
                  <a:cxn ang="0">
                    <a:pos x="T8" y="T9"/>
                  </a:cxn>
                </a:cxnLst>
                <a:rect l="0" t="0" r="r" b="b"/>
                <a:pathLst>
                  <a:path w="11" h="17">
                    <a:moveTo>
                      <a:pt x="9" y="9"/>
                    </a:moveTo>
                    <a:cubicBezTo>
                      <a:pt x="2" y="7"/>
                      <a:pt x="1" y="3"/>
                      <a:pt x="1" y="3"/>
                    </a:cubicBezTo>
                    <a:cubicBezTo>
                      <a:pt x="1" y="0"/>
                      <a:pt x="0" y="13"/>
                      <a:pt x="1" y="15"/>
                    </a:cubicBezTo>
                    <a:cubicBezTo>
                      <a:pt x="3" y="17"/>
                      <a:pt x="6" y="17"/>
                      <a:pt x="9" y="16"/>
                    </a:cubicBezTo>
                    <a:cubicBezTo>
                      <a:pt x="11" y="14"/>
                      <a:pt x="11" y="10"/>
                      <a:pt x="9" y="9"/>
                    </a:cubicBezTo>
                    <a:close/>
                  </a:path>
                </a:pathLst>
              </a:custGeom>
              <a:solidFill>
                <a:srgbClr val="4A64A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6" name="îslïḋe">
                <a:extLst>
                  <a:ext uri="{FF2B5EF4-FFF2-40B4-BE49-F238E27FC236}">
                    <a16:creationId xmlns:a16="http://schemas.microsoft.com/office/drawing/2014/main" id="{412C62B1-9830-4DDB-BE60-374103CAD3BD}"/>
                  </a:ext>
                </a:extLst>
              </p:cNvPr>
              <p:cNvSpPr/>
              <p:nvPr/>
            </p:nvSpPr>
            <p:spPr bwMode="auto">
              <a:xfrm>
                <a:off x="5324475" y="3733801"/>
                <a:ext cx="280988" cy="484188"/>
              </a:xfrm>
              <a:custGeom>
                <a:avLst/>
                <a:gdLst>
                  <a:gd name="T0" fmla="*/ 82 w 95"/>
                  <a:gd name="T1" fmla="*/ 19 h 164"/>
                  <a:gd name="T2" fmla="*/ 73 w 95"/>
                  <a:gd name="T3" fmla="*/ 8 h 164"/>
                  <a:gd name="T4" fmla="*/ 72 w 95"/>
                  <a:gd name="T5" fmla="*/ 8 h 164"/>
                  <a:gd name="T6" fmla="*/ 41 w 95"/>
                  <a:gd name="T7" fmla="*/ 14 h 164"/>
                  <a:gd name="T8" fmla="*/ 17 w 95"/>
                  <a:gd name="T9" fmla="*/ 44 h 164"/>
                  <a:gd name="T10" fmla="*/ 24 w 95"/>
                  <a:gd name="T11" fmla="*/ 117 h 164"/>
                  <a:gd name="T12" fmla="*/ 25 w 95"/>
                  <a:gd name="T13" fmla="*/ 160 h 164"/>
                  <a:gd name="T14" fmla="*/ 27 w 95"/>
                  <a:gd name="T15" fmla="*/ 162 h 164"/>
                  <a:gd name="T16" fmla="*/ 28 w 95"/>
                  <a:gd name="T17" fmla="*/ 163 h 164"/>
                  <a:gd name="T18" fmla="*/ 64 w 95"/>
                  <a:gd name="T19" fmla="*/ 155 h 164"/>
                  <a:gd name="T20" fmla="*/ 65 w 95"/>
                  <a:gd name="T21" fmla="*/ 154 h 164"/>
                  <a:gd name="T22" fmla="*/ 66 w 95"/>
                  <a:gd name="T23" fmla="*/ 151 h 164"/>
                  <a:gd name="T24" fmla="*/ 53 w 95"/>
                  <a:gd name="T25" fmla="*/ 120 h 164"/>
                  <a:gd name="T26" fmla="*/ 84 w 95"/>
                  <a:gd name="T27" fmla="*/ 94 h 164"/>
                  <a:gd name="T28" fmla="*/ 82 w 95"/>
                  <a:gd name="T29" fmla="*/ 1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164">
                    <a:moveTo>
                      <a:pt x="82" y="19"/>
                    </a:moveTo>
                    <a:cubicBezTo>
                      <a:pt x="79" y="15"/>
                      <a:pt x="76" y="11"/>
                      <a:pt x="73" y="8"/>
                    </a:cubicBezTo>
                    <a:cubicBezTo>
                      <a:pt x="72" y="8"/>
                      <a:pt x="72" y="8"/>
                      <a:pt x="72" y="8"/>
                    </a:cubicBezTo>
                    <a:cubicBezTo>
                      <a:pt x="62" y="0"/>
                      <a:pt x="49" y="6"/>
                      <a:pt x="41" y="14"/>
                    </a:cubicBezTo>
                    <a:cubicBezTo>
                      <a:pt x="31" y="22"/>
                      <a:pt x="23" y="32"/>
                      <a:pt x="17" y="44"/>
                    </a:cubicBezTo>
                    <a:cubicBezTo>
                      <a:pt x="6" y="65"/>
                      <a:pt x="0" y="103"/>
                      <a:pt x="24" y="117"/>
                    </a:cubicBezTo>
                    <a:cubicBezTo>
                      <a:pt x="25" y="132"/>
                      <a:pt x="25" y="146"/>
                      <a:pt x="25" y="160"/>
                    </a:cubicBezTo>
                    <a:cubicBezTo>
                      <a:pt x="25" y="162"/>
                      <a:pt x="26" y="162"/>
                      <a:pt x="27" y="162"/>
                    </a:cubicBezTo>
                    <a:cubicBezTo>
                      <a:pt x="27" y="163"/>
                      <a:pt x="28" y="163"/>
                      <a:pt x="28" y="163"/>
                    </a:cubicBezTo>
                    <a:cubicBezTo>
                      <a:pt x="41" y="164"/>
                      <a:pt x="53" y="161"/>
                      <a:pt x="64" y="155"/>
                    </a:cubicBezTo>
                    <a:cubicBezTo>
                      <a:pt x="65" y="154"/>
                      <a:pt x="65" y="154"/>
                      <a:pt x="65" y="154"/>
                    </a:cubicBezTo>
                    <a:cubicBezTo>
                      <a:pt x="66" y="153"/>
                      <a:pt x="67" y="152"/>
                      <a:pt x="66" y="151"/>
                    </a:cubicBezTo>
                    <a:cubicBezTo>
                      <a:pt x="60" y="141"/>
                      <a:pt x="55" y="131"/>
                      <a:pt x="53" y="120"/>
                    </a:cubicBezTo>
                    <a:cubicBezTo>
                      <a:pt x="66" y="116"/>
                      <a:pt x="78" y="107"/>
                      <a:pt x="84" y="94"/>
                    </a:cubicBezTo>
                    <a:cubicBezTo>
                      <a:pt x="95" y="71"/>
                      <a:pt x="95" y="41"/>
                      <a:pt x="82" y="19"/>
                    </a:cubicBezTo>
                    <a:close/>
                  </a:path>
                </a:pathLst>
              </a:custGeom>
              <a:solidFill>
                <a:srgbClr val="F9CDB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algn="ctr"/>
                <a:endParaRPr/>
              </a:p>
            </p:txBody>
          </p:sp>
          <p:sp>
            <p:nvSpPr>
              <p:cNvPr id="67" name="îşľïḓê">
                <a:extLst>
                  <a:ext uri="{FF2B5EF4-FFF2-40B4-BE49-F238E27FC236}">
                    <a16:creationId xmlns:a16="http://schemas.microsoft.com/office/drawing/2014/main" id="{BD1098F0-AE06-44C3-AFD5-D3D89264C738}"/>
                  </a:ext>
                </a:extLst>
              </p:cNvPr>
              <p:cNvSpPr/>
              <p:nvPr/>
            </p:nvSpPr>
            <p:spPr bwMode="auto">
              <a:xfrm>
                <a:off x="5462588" y="3913188"/>
                <a:ext cx="109538" cy="60325"/>
              </a:xfrm>
              <a:custGeom>
                <a:avLst/>
                <a:gdLst>
                  <a:gd name="T0" fmla="*/ 30 w 37"/>
                  <a:gd name="T1" fmla="*/ 3 h 20"/>
                  <a:gd name="T2" fmla="*/ 26 w 37"/>
                  <a:gd name="T3" fmla="*/ 2 h 20"/>
                  <a:gd name="T4" fmla="*/ 11 w 37"/>
                  <a:gd name="T5" fmla="*/ 1 h 20"/>
                  <a:gd name="T6" fmla="*/ 3 w 37"/>
                  <a:gd name="T7" fmla="*/ 12 h 20"/>
                  <a:gd name="T8" fmla="*/ 9 w 37"/>
                  <a:gd name="T9" fmla="*/ 18 h 20"/>
                  <a:gd name="T10" fmla="*/ 21 w 37"/>
                  <a:gd name="T11" fmla="*/ 20 h 20"/>
                  <a:gd name="T12" fmla="*/ 35 w 37"/>
                  <a:gd name="T13" fmla="*/ 13 h 20"/>
                  <a:gd name="T14" fmla="*/ 30 w 37"/>
                  <a:gd name="T15" fmla="*/ 3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20">
                    <a:moveTo>
                      <a:pt x="30" y="3"/>
                    </a:moveTo>
                    <a:cubicBezTo>
                      <a:pt x="28" y="3"/>
                      <a:pt x="27" y="2"/>
                      <a:pt x="26" y="2"/>
                    </a:cubicBezTo>
                    <a:cubicBezTo>
                      <a:pt x="21" y="1"/>
                      <a:pt x="16" y="0"/>
                      <a:pt x="11" y="1"/>
                    </a:cubicBezTo>
                    <a:cubicBezTo>
                      <a:pt x="6" y="2"/>
                      <a:pt x="0" y="6"/>
                      <a:pt x="3" y="12"/>
                    </a:cubicBezTo>
                    <a:cubicBezTo>
                      <a:pt x="4" y="15"/>
                      <a:pt x="6" y="16"/>
                      <a:pt x="9" y="18"/>
                    </a:cubicBezTo>
                    <a:cubicBezTo>
                      <a:pt x="13" y="19"/>
                      <a:pt x="17" y="20"/>
                      <a:pt x="21" y="20"/>
                    </a:cubicBezTo>
                    <a:cubicBezTo>
                      <a:pt x="26" y="20"/>
                      <a:pt x="32" y="18"/>
                      <a:pt x="35" y="13"/>
                    </a:cubicBezTo>
                    <a:cubicBezTo>
                      <a:pt x="37" y="9"/>
                      <a:pt x="34" y="5"/>
                      <a:pt x="30" y="3"/>
                    </a:cubicBezTo>
                    <a:close/>
                  </a:path>
                </a:pathLst>
              </a:custGeom>
              <a:solidFill>
                <a:srgbClr val="F8C3A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8" name="ïŝlíḑé">
                <a:extLst>
                  <a:ext uri="{FF2B5EF4-FFF2-40B4-BE49-F238E27FC236}">
                    <a16:creationId xmlns:a16="http://schemas.microsoft.com/office/drawing/2014/main" id="{29B7A51B-33D8-4007-A573-833FD0B5C0B8}"/>
                  </a:ext>
                </a:extLst>
              </p:cNvPr>
              <p:cNvSpPr/>
              <p:nvPr/>
            </p:nvSpPr>
            <p:spPr bwMode="auto">
              <a:xfrm>
                <a:off x="5499100" y="3846513"/>
                <a:ext cx="79375" cy="46038"/>
              </a:xfrm>
              <a:custGeom>
                <a:avLst/>
                <a:gdLst>
                  <a:gd name="T0" fmla="*/ 26 w 27"/>
                  <a:gd name="T1" fmla="*/ 7 h 16"/>
                  <a:gd name="T2" fmla="*/ 10 w 27"/>
                  <a:gd name="T3" fmla="*/ 2 h 16"/>
                  <a:gd name="T4" fmla="*/ 0 w 27"/>
                  <a:gd name="T5" fmla="*/ 16 h 16"/>
                  <a:gd name="T6" fmla="*/ 1 w 27"/>
                  <a:gd name="T7" fmla="*/ 16 h 16"/>
                  <a:gd name="T8" fmla="*/ 10 w 27"/>
                  <a:gd name="T9" fmla="*/ 4 h 16"/>
                  <a:gd name="T10" fmla="*/ 22 w 27"/>
                  <a:gd name="T11" fmla="*/ 9 h 16"/>
                  <a:gd name="T12" fmla="*/ 26 w 27"/>
                  <a:gd name="T13" fmla="*/ 7 h 16"/>
                </a:gdLst>
                <a:ahLst/>
                <a:cxnLst>
                  <a:cxn ang="0">
                    <a:pos x="T0" y="T1"/>
                  </a:cxn>
                  <a:cxn ang="0">
                    <a:pos x="T2" y="T3"/>
                  </a:cxn>
                  <a:cxn ang="0">
                    <a:pos x="T4" y="T5"/>
                  </a:cxn>
                  <a:cxn ang="0">
                    <a:pos x="T6" y="T7"/>
                  </a:cxn>
                  <a:cxn ang="0">
                    <a:pos x="T8" y="T9"/>
                  </a:cxn>
                  <a:cxn ang="0">
                    <a:pos x="T10" y="T11"/>
                  </a:cxn>
                  <a:cxn ang="0">
                    <a:pos x="T12" y="T13"/>
                  </a:cxn>
                </a:cxnLst>
                <a:rect l="0" t="0" r="r" b="b"/>
                <a:pathLst>
                  <a:path w="27" h="16">
                    <a:moveTo>
                      <a:pt x="26" y="7"/>
                    </a:moveTo>
                    <a:cubicBezTo>
                      <a:pt x="23" y="1"/>
                      <a:pt x="15" y="0"/>
                      <a:pt x="10" y="2"/>
                    </a:cubicBezTo>
                    <a:cubicBezTo>
                      <a:pt x="3" y="4"/>
                      <a:pt x="0" y="10"/>
                      <a:pt x="0" y="16"/>
                    </a:cubicBezTo>
                    <a:cubicBezTo>
                      <a:pt x="1" y="16"/>
                      <a:pt x="1" y="16"/>
                      <a:pt x="1" y="16"/>
                    </a:cubicBezTo>
                    <a:cubicBezTo>
                      <a:pt x="1" y="11"/>
                      <a:pt x="5" y="5"/>
                      <a:pt x="10" y="4"/>
                    </a:cubicBezTo>
                    <a:cubicBezTo>
                      <a:pt x="14" y="2"/>
                      <a:pt x="20" y="5"/>
                      <a:pt x="22" y="9"/>
                    </a:cubicBezTo>
                    <a:cubicBezTo>
                      <a:pt x="24" y="11"/>
                      <a:pt x="27" y="9"/>
                      <a:pt x="26" y="7"/>
                    </a:cubicBezTo>
                    <a:close/>
                  </a:path>
                </a:pathLst>
              </a:custGeom>
              <a:solidFill>
                <a:srgbClr val="384C8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69" name="îsľîḍê">
                <a:extLst>
                  <a:ext uri="{FF2B5EF4-FFF2-40B4-BE49-F238E27FC236}">
                    <a16:creationId xmlns:a16="http://schemas.microsoft.com/office/drawing/2014/main" id="{6D82486D-FAC1-446B-95BF-16C37F0391DF}"/>
                  </a:ext>
                </a:extLst>
              </p:cNvPr>
              <p:cNvSpPr/>
              <p:nvPr/>
            </p:nvSpPr>
            <p:spPr bwMode="auto">
              <a:xfrm>
                <a:off x="5084763" y="3606801"/>
                <a:ext cx="523875" cy="534988"/>
              </a:xfrm>
              <a:custGeom>
                <a:avLst/>
                <a:gdLst>
                  <a:gd name="T0" fmla="*/ 167 w 177"/>
                  <a:gd name="T1" fmla="*/ 23 h 181"/>
                  <a:gd name="T2" fmla="*/ 88 w 177"/>
                  <a:gd name="T3" fmla="*/ 26 h 181"/>
                  <a:gd name="T4" fmla="*/ 28 w 177"/>
                  <a:gd name="T5" fmla="*/ 53 h 181"/>
                  <a:gd name="T6" fmla="*/ 33 w 177"/>
                  <a:gd name="T7" fmla="*/ 79 h 181"/>
                  <a:gd name="T8" fmla="*/ 6 w 177"/>
                  <a:gd name="T9" fmla="*/ 128 h 181"/>
                  <a:gd name="T10" fmla="*/ 55 w 177"/>
                  <a:gd name="T11" fmla="*/ 156 h 181"/>
                  <a:gd name="T12" fmla="*/ 117 w 177"/>
                  <a:gd name="T13" fmla="*/ 163 h 181"/>
                  <a:gd name="T14" fmla="*/ 122 w 177"/>
                  <a:gd name="T15" fmla="*/ 150 h 181"/>
                  <a:gd name="T16" fmla="*/ 116 w 177"/>
                  <a:gd name="T17" fmla="*/ 128 h 181"/>
                  <a:gd name="T18" fmla="*/ 143 w 177"/>
                  <a:gd name="T19" fmla="*/ 74 h 181"/>
                  <a:gd name="T20" fmla="*/ 163 w 177"/>
                  <a:gd name="T21" fmla="*/ 65 h 181"/>
                  <a:gd name="T22" fmla="*/ 167 w 177"/>
                  <a:gd name="T23" fmla="*/ 2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7" h="181">
                    <a:moveTo>
                      <a:pt x="167" y="23"/>
                    </a:moveTo>
                    <a:cubicBezTo>
                      <a:pt x="149" y="0"/>
                      <a:pt x="102" y="1"/>
                      <a:pt x="88" y="26"/>
                    </a:cubicBezTo>
                    <a:cubicBezTo>
                      <a:pt x="65" y="19"/>
                      <a:pt x="36" y="28"/>
                      <a:pt x="28" y="53"/>
                    </a:cubicBezTo>
                    <a:cubicBezTo>
                      <a:pt x="24" y="64"/>
                      <a:pt x="27" y="73"/>
                      <a:pt x="33" y="79"/>
                    </a:cubicBezTo>
                    <a:cubicBezTo>
                      <a:pt x="13" y="84"/>
                      <a:pt x="0" y="109"/>
                      <a:pt x="6" y="128"/>
                    </a:cubicBezTo>
                    <a:cubicBezTo>
                      <a:pt x="12" y="149"/>
                      <a:pt x="35" y="157"/>
                      <a:pt x="55" y="156"/>
                    </a:cubicBezTo>
                    <a:cubicBezTo>
                      <a:pt x="60" y="181"/>
                      <a:pt x="104" y="179"/>
                      <a:pt x="117" y="163"/>
                    </a:cubicBezTo>
                    <a:cubicBezTo>
                      <a:pt x="120" y="159"/>
                      <a:pt x="122" y="155"/>
                      <a:pt x="122" y="150"/>
                    </a:cubicBezTo>
                    <a:cubicBezTo>
                      <a:pt x="123" y="142"/>
                      <a:pt x="119" y="136"/>
                      <a:pt x="116" y="128"/>
                    </a:cubicBezTo>
                    <a:cubicBezTo>
                      <a:pt x="108" y="107"/>
                      <a:pt x="119" y="78"/>
                      <a:pt x="143" y="74"/>
                    </a:cubicBezTo>
                    <a:cubicBezTo>
                      <a:pt x="150" y="73"/>
                      <a:pt x="158" y="70"/>
                      <a:pt x="163" y="65"/>
                    </a:cubicBezTo>
                    <a:cubicBezTo>
                      <a:pt x="176" y="55"/>
                      <a:pt x="177" y="36"/>
                      <a:pt x="167" y="23"/>
                    </a:cubicBezTo>
                    <a:close/>
                  </a:path>
                </a:pathLst>
              </a:custGeom>
              <a:solidFill>
                <a:srgbClr val="39569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55000" lnSpcReduction="20000"/>
              </a:bodyPr>
              <a:lstStyle/>
              <a:p>
                <a:pPr algn="ctr"/>
                <a:endParaRPr/>
              </a:p>
            </p:txBody>
          </p:sp>
          <p:sp>
            <p:nvSpPr>
              <p:cNvPr id="70" name="iŝḻîdè">
                <a:extLst>
                  <a:ext uri="{FF2B5EF4-FFF2-40B4-BE49-F238E27FC236}">
                    <a16:creationId xmlns:a16="http://schemas.microsoft.com/office/drawing/2014/main" id="{27B4C9D8-B2E5-4FDA-8FEC-8029593DF59D}"/>
                  </a:ext>
                </a:extLst>
              </p:cNvPr>
              <p:cNvSpPr/>
              <p:nvPr/>
            </p:nvSpPr>
            <p:spPr bwMode="auto">
              <a:xfrm>
                <a:off x="5392738" y="3611563"/>
                <a:ext cx="192088" cy="166688"/>
              </a:xfrm>
              <a:custGeom>
                <a:avLst/>
                <a:gdLst>
                  <a:gd name="T0" fmla="*/ 4 w 65"/>
                  <a:gd name="T1" fmla="*/ 16 h 56"/>
                  <a:gd name="T2" fmla="*/ 6 w 65"/>
                  <a:gd name="T3" fmla="*/ 22 h 56"/>
                  <a:gd name="T4" fmla="*/ 36 w 65"/>
                  <a:gd name="T5" fmla="*/ 23 h 56"/>
                  <a:gd name="T6" fmla="*/ 48 w 65"/>
                  <a:gd name="T7" fmla="*/ 48 h 56"/>
                  <a:gd name="T8" fmla="*/ 64 w 65"/>
                  <a:gd name="T9" fmla="*/ 46 h 56"/>
                  <a:gd name="T10" fmla="*/ 4 w 65"/>
                  <a:gd name="T11" fmla="*/ 16 h 56"/>
                </a:gdLst>
                <a:ahLst/>
                <a:cxnLst>
                  <a:cxn ang="0">
                    <a:pos x="T0" y="T1"/>
                  </a:cxn>
                  <a:cxn ang="0">
                    <a:pos x="T2" y="T3"/>
                  </a:cxn>
                  <a:cxn ang="0">
                    <a:pos x="T4" y="T5"/>
                  </a:cxn>
                  <a:cxn ang="0">
                    <a:pos x="T6" y="T7"/>
                  </a:cxn>
                  <a:cxn ang="0">
                    <a:pos x="T8" y="T9"/>
                  </a:cxn>
                  <a:cxn ang="0">
                    <a:pos x="T10" y="T11"/>
                  </a:cxn>
                </a:cxnLst>
                <a:rect l="0" t="0" r="r" b="b"/>
                <a:pathLst>
                  <a:path w="65" h="56">
                    <a:moveTo>
                      <a:pt x="4" y="16"/>
                    </a:moveTo>
                    <a:cubicBezTo>
                      <a:pt x="0" y="18"/>
                      <a:pt x="3" y="22"/>
                      <a:pt x="6" y="22"/>
                    </a:cubicBezTo>
                    <a:cubicBezTo>
                      <a:pt x="16" y="19"/>
                      <a:pt x="27" y="18"/>
                      <a:pt x="36" y="23"/>
                    </a:cubicBezTo>
                    <a:cubicBezTo>
                      <a:pt x="45" y="29"/>
                      <a:pt x="45" y="39"/>
                      <a:pt x="48" y="48"/>
                    </a:cubicBezTo>
                    <a:cubicBezTo>
                      <a:pt x="51" y="56"/>
                      <a:pt x="65" y="55"/>
                      <a:pt x="64" y="46"/>
                    </a:cubicBezTo>
                    <a:cubicBezTo>
                      <a:pt x="61" y="14"/>
                      <a:pt x="31" y="0"/>
                      <a:pt x="4" y="16"/>
                    </a:cubicBezTo>
                    <a:close/>
                  </a:path>
                </a:pathLst>
              </a:custGeom>
              <a:solidFill>
                <a:srgbClr val="4361A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1" name="îṥlïďe">
                <a:extLst>
                  <a:ext uri="{FF2B5EF4-FFF2-40B4-BE49-F238E27FC236}">
                    <a16:creationId xmlns:a16="http://schemas.microsoft.com/office/drawing/2014/main" id="{4053009D-0F7B-4A8E-A22F-8ED667DD3ECC}"/>
                  </a:ext>
                </a:extLst>
              </p:cNvPr>
              <p:cNvSpPr/>
              <p:nvPr/>
            </p:nvSpPr>
            <p:spPr bwMode="auto">
              <a:xfrm>
                <a:off x="5105400" y="3863976"/>
                <a:ext cx="304800" cy="247650"/>
              </a:xfrm>
              <a:custGeom>
                <a:avLst/>
                <a:gdLst>
                  <a:gd name="T0" fmla="*/ 100 w 103"/>
                  <a:gd name="T1" fmla="*/ 67 h 84"/>
                  <a:gd name="T2" fmla="*/ 61 w 103"/>
                  <a:gd name="T3" fmla="*/ 67 h 84"/>
                  <a:gd name="T4" fmla="*/ 54 w 103"/>
                  <a:gd name="T5" fmla="*/ 55 h 84"/>
                  <a:gd name="T6" fmla="*/ 15 w 103"/>
                  <a:gd name="T7" fmla="*/ 40 h 84"/>
                  <a:gd name="T8" fmla="*/ 24 w 103"/>
                  <a:gd name="T9" fmla="*/ 3 h 84"/>
                  <a:gd name="T10" fmla="*/ 22 w 103"/>
                  <a:gd name="T11" fmla="*/ 0 h 84"/>
                  <a:gd name="T12" fmla="*/ 8 w 103"/>
                  <a:gd name="T13" fmla="*/ 42 h 84"/>
                  <a:gd name="T14" fmla="*/ 52 w 103"/>
                  <a:gd name="T15" fmla="*/ 63 h 84"/>
                  <a:gd name="T16" fmla="*/ 102 w 103"/>
                  <a:gd name="T17" fmla="*/ 69 h 84"/>
                  <a:gd name="T18" fmla="*/ 100 w 103"/>
                  <a:gd name="T19" fmla="*/ 6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84">
                    <a:moveTo>
                      <a:pt x="100" y="67"/>
                    </a:moveTo>
                    <a:cubicBezTo>
                      <a:pt x="91" y="76"/>
                      <a:pt x="71" y="76"/>
                      <a:pt x="61" y="67"/>
                    </a:cubicBezTo>
                    <a:cubicBezTo>
                      <a:pt x="58" y="64"/>
                      <a:pt x="60" y="54"/>
                      <a:pt x="54" y="55"/>
                    </a:cubicBezTo>
                    <a:cubicBezTo>
                      <a:pt x="39" y="57"/>
                      <a:pt x="23" y="55"/>
                      <a:pt x="15" y="40"/>
                    </a:cubicBezTo>
                    <a:cubicBezTo>
                      <a:pt x="7" y="27"/>
                      <a:pt x="12" y="12"/>
                      <a:pt x="24" y="3"/>
                    </a:cubicBezTo>
                    <a:cubicBezTo>
                      <a:pt x="25" y="2"/>
                      <a:pt x="23" y="0"/>
                      <a:pt x="22" y="0"/>
                    </a:cubicBezTo>
                    <a:cubicBezTo>
                      <a:pt x="5" y="7"/>
                      <a:pt x="0" y="27"/>
                      <a:pt x="8" y="42"/>
                    </a:cubicBezTo>
                    <a:cubicBezTo>
                      <a:pt x="16" y="59"/>
                      <a:pt x="34" y="66"/>
                      <a:pt x="52" y="63"/>
                    </a:cubicBezTo>
                    <a:cubicBezTo>
                      <a:pt x="56" y="84"/>
                      <a:pt x="91" y="83"/>
                      <a:pt x="102" y="69"/>
                    </a:cubicBezTo>
                    <a:cubicBezTo>
                      <a:pt x="103" y="68"/>
                      <a:pt x="102" y="66"/>
                      <a:pt x="100" y="67"/>
                    </a:cubicBezTo>
                    <a:close/>
                  </a:path>
                </a:pathLst>
              </a:custGeom>
              <a:solidFill>
                <a:srgbClr val="4361A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2" name="íṧļíďê">
                <a:extLst>
                  <a:ext uri="{FF2B5EF4-FFF2-40B4-BE49-F238E27FC236}">
                    <a16:creationId xmlns:a16="http://schemas.microsoft.com/office/drawing/2014/main" id="{4A5BB998-B8AB-4863-97E0-877DF7A49764}"/>
                  </a:ext>
                </a:extLst>
              </p:cNvPr>
              <p:cNvSpPr/>
              <p:nvPr/>
            </p:nvSpPr>
            <p:spPr bwMode="auto">
              <a:xfrm>
                <a:off x="5900738" y="3398838"/>
                <a:ext cx="133350" cy="157163"/>
              </a:xfrm>
              <a:custGeom>
                <a:avLst/>
                <a:gdLst>
                  <a:gd name="T0" fmla="*/ 31 w 45"/>
                  <a:gd name="T1" fmla="*/ 2 h 53"/>
                  <a:gd name="T2" fmla="*/ 20 w 45"/>
                  <a:gd name="T3" fmla="*/ 14 h 53"/>
                  <a:gd name="T4" fmla="*/ 12 w 45"/>
                  <a:gd name="T5" fmla="*/ 25 h 53"/>
                  <a:gd name="T6" fmla="*/ 4 w 45"/>
                  <a:gd name="T7" fmla="*/ 22 h 53"/>
                  <a:gd name="T8" fmla="*/ 1 w 45"/>
                  <a:gd name="T9" fmla="*/ 23 h 53"/>
                  <a:gd name="T10" fmla="*/ 7 w 45"/>
                  <a:gd name="T11" fmla="*/ 51 h 53"/>
                  <a:gd name="T12" fmla="*/ 22 w 45"/>
                  <a:gd name="T13" fmla="*/ 52 h 53"/>
                  <a:gd name="T14" fmla="*/ 32 w 45"/>
                  <a:gd name="T15" fmla="*/ 28 h 53"/>
                  <a:gd name="T16" fmla="*/ 43 w 45"/>
                  <a:gd name="T17" fmla="*/ 15 h 53"/>
                  <a:gd name="T18" fmla="*/ 31 w 45"/>
                  <a:gd name="T19"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53">
                    <a:moveTo>
                      <a:pt x="31" y="2"/>
                    </a:moveTo>
                    <a:cubicBezTo>
                      <a:pt x="26" y="4"/>
                      <a:pt x="23" y="9"/>
                      <a:pt x="20" y="14"/>
                    </a:cubicBezTo>
                    <a:cubicBezTo>
                      <a:pt x="18" y="17"/>
                      <a:pt x="16" y="23"/>
                      <a:pt x="12" y="25"/>
                    </a:cubicBezTo>
                    <a:cubicBezTo>
                      <a:pt x="6" y="28"/>
                      <a:pt x="7" y="25"/>
                      <a:pt x="4" y="22"/>
                    </a:cubicBezTo>
                    <a:cubicBezTo>
                      <a:pt x="3" y="20"/>
                      <a:pt x="1" y="21"/>
                      <a:pt x="1" y="23"/>
                    </a:cubicBezTo>
                    <a:cubicBezTo>
                      <a:pt x="0" y="33"/>
                      <a:pt x="8" y="41"/>
                      <a:pt x="7" y="51"/>
                    </a:cubicBezTo>
                    <a:cubicBezTo>
                      <a:pt x="12" y="53"/>
                      <a:pt x="17" y="53"/>
                      <a:pt x="22" y="52"/>
                    </a:cubicBezTo>
                    <a:cubicBezTo>
                      <a:pt x="22" y="52"/>
                      <a:pt x="21" y="41"/>
                      <a:pt x="32" y="28"/>
                    </a:cubicBezTo>
                    <a:cubicBezTo>
                      <a:pt x="36" y="24"/>
                      <a:pt x="41" y="21"/>
                      <a:pt x="43" y="15"/>
                    </a:cubicBezTo>
                    <a:cubicBezTo>
                      <a:pt x="45" y="7"/>
                      <a:pt x="40" y="0"/>
                      <a:pt x="31" y="2"/>
                    </a:cubicBezTo>
                    <a:close/>
                  </a:path>
                </a:pathLst>
              </a:custGeom>
              <a:solidFill>
                <a:srgbClr val="F9CDB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3" name="i$ļîḋê">
                <a:extLst>
                  <a:ext uri="{FF2B5EF4-FFF2-40B4-BE49-F238E27FC236}">
                    <a16:creationId xmlns:a16="http://schemas.microsoft.com/office/drawing/2014/main" id="{6CCB692F-DA20-4EA9-B82C-4B8E5F59188E}"/>
                  </a:ext>
                </a:extLst>
              </p:cNvPr>
              <p:cNvSpPr/>
              <p:nvPr/>
            </p:nvSpPr>
            <p:spPr bwMode="auto">
              <a:xfrm>
                <a:off x="5300663" y="3546476"/>
                <a:ext cx="665163" cy="1176338"/>
              </a:xfrm>
              <a:custGeom>
                <a:avLst/>
                <a:gdLst>
                  <a:gd name="T0" fmla="*/ 16 w 225"/>
                  <a:gd name="T1" fmla="*/ 316 h 398"/>
                  <a:gd name="T2" fmla="*/ 20 w 225"/>
                  <a:gd name="T3" fmla="*/ 395 h 398"/>
                  <a:gd name="T4" fmla="*/ 128 w 225"/>
                  <a:gd name="T5" fmla="*/ 385 h 398"/>
                  <a:gd name="T6" fmla="*/ 120 w 225"/>
                  <a:gd name="T7" fmla="*/ 351 h 398"/>
                  <a:gd name="T8" fmla="*/ 115 w 225"/>
                  <a:gd name="T9" fmla="*/ 309 h 398"/>
                  <a:gd name="T10" fmla="*/ 115 w 225"/>
                  <a:gd name="T11" fmla="*/ 308 h 398"/>
                  <a:gd name="T12" fmla="*/ 143 w 225"/>
                  <a:gd name="T13" fmla="*/ 269 h 398"/>
                  <a:gd name="T14" fmla="*/ 112 w 225"/>
                  <a:gd name="T15" fmla="*/ 224 h 398"/>
                  <a:gd name="T16" fmla="*/ 225 w 225"/>
                  <a:gd name="T17" fmla="*/ 0 h 398"/>
                  <a:gd name="T18" fmla="*/ 209 w 225"/>
                  <a:gd name="T19" fmla="*/ 0 h 398"/>
                  <a:gd name="T20" fmla="*/ 147 w 225"/>
                  <a:gd name="T21" fmla="*/ 145 h 398"/>
                  <a:gd name="T22" fmla="*/ 56 w 225"/>
                  <a:gd name="T23" fmla="*/ 198 h 398"/>
                  <a:gd name="T24" fmla="*/ 0 w 225"/>
                  <a:gd name="T25" fmla="*/ 251 h 398"/>
                  <a:gd name="T26" fmla="*/ 6 w 225"/>
                  <a:gd name="T27" fmla="*/ 281 h 398"/>
                  <a:gd name="T28" fmla="*/ 16 w 225"/>
                  <a:gd name="T29" fmla="*/ 31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398">
                    <a:moveTo>
                      <a:pt x="16" y="316"/>
                    </a:moveTo>
                    <a:cubicBezTo>
                      <a:pt x="23" y="340"/>
                      <a:pt x="27" y="370"/>
                      <a:pt x="20" y="395"/>
                    </a:cubicBezTo>
                    <a:cubicBezTo>
                      <a:pt x="45" y="398"/>
                      <a:pt x="103" y="392"/>
                      <a:pt x="128" y="385"/>
                    </a:cubicBezTo>
                    <a:cubicBezTo>
                      <a:pt x="120" y="351"/>
                      <a:pt x="120" y="351"/>
                      <a:pt x="120" y="351"/>
                    </a:cubicBezTo>
                    <a:cubicBezTo>
                      <a:pt x="115" y="338"/>
                      <a:pt x="114" y="323"/>
                      <a:pt x="115" y="309"/>
                    </a:cubicBezTo>
                    <a:cubicBezTo>
                      <a:pt x="115" y="309"/>
                      <a:pt x="115" y="308"/>
                      <a:pt x="115" y="308"/>
                    </a:cubicBezTo>
                    <a:cubicBezTo>
                      <a:pt x="125" y="296"/>
                      <a:pt x="146" y="288"/>
                      <a:pt x="143" y="269"/>
                    </a:cubicBezTo>
                    <a:cubicBezTo>
                      <a:pt x="141" y="260"/>
                      <a:pt x="115" y="244"/>
                      <a:pt x="112" y="224"/>
                    </a:cubicBezTo>
                    <a:cubicBezTo>
                      <a:pt x="202" y="152"/>
                      <a:pt x="224" y="74"/>
                      <a:pt x="225" y="0"/>
                    </a:cubicBezTo>
                    <a:cubicBezTo>
                      <a:pt x="220" y="0"/>
                      <a:pt x="215" y="0"/>
                      <a:pt x="209" y="0"/>
                    </a:cubicBezTo>
                    <a:cubicBezTo>
                      <a:pt x="201" y="52"/>
                      <a:pt x="181" y="104"/>
                      <a:pt x="147" y="145"/>
                    </a:cubicBezTo>
                    <a:cubicBezTo>
                      <a:pt x="124" y="172"/>
                      <a:pt x="91" y="191"/>
                      <a:pt x="56" y="198"/>
                    </a:cubicBezTo>
                    <a:cubicBezTo>
                      <a:pt x="23" y="205"/>
                      <a:pt x="2" y="218"/>
                      <a:pt x="0" y="251"/>
                    </a:cubicBezTo>
                    <a:cubicBezTo>
                      <a:pt x="0" y="261"/>
                      <a:pt x="3" y="271"/>
                      <a:pt x="6" y="281"/>
                    </a:cubicBezTo>
                    <a:cubicBezTo>
                      <a:pt x="10" y="292"/>
                      <a:pt x="13" y="304"/>
                      <a:pt x="16" y="316"/>
                    </a:cubicBezTo>
                    <a:close/>
                  </a:path>
                </a:pathLst>
              </a:custGeom>
              <a:solidFill>
                <a:srgbClr val="EB628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74" name="íṣḻïḋe">
                <a:extLst>
                  <a:ext uri="{FF2B5EF4-FFF2-40B4-BE49-F238E27FC236}">
                    <a16:creationId xmlns:a16="http://schemas.microsoft.com/office/drawing/2014/main" id="{B8752032-4B14-4DA6-91CF-106DC37C2D0E}"/>
                  </a:ext>
                </a:extLst>
              </p:cNvPr>
              <p:cNvSpPr/>
              <p:nvPr/>
            </p:nvSpPr>
            <p:spPr bwMode="auto">
              <a:xfrm>
                <a:off x="5537200" y="4208463"/>
                <a:ext cx="136525" cy="74613"/>
              </a:xfrm>
              <a:custGeom>
                <a:avLst/>
                <a:gdLst>
                  <a:gd name="T0" fmla="*/ 0 w 46"/>
                  <a:gd name="T1" fmla="*/ 13 h 25"/>
                  <a:gd name="T2" fmla="*/ 35 w 46"/>
                  <a:gd name="T3" fmla="*/ 20 h 25"/>
                  <a:gd name="T4" fmla="*/ 46 w 46"/>
                  <a:gd name="T5" fmla="*/ 25 h 25"/>
                  <a:gd name="T6" fmla="*/ 32 w 46"/>
                  <a:gd name="T7" fmla="*/ 0 h 25"/>
                  <a:gd name="T8" fmla="*/ 0 w 46"/>
                  <a:gd name="T9" fmla="*/ 13 h 25"/>
                </a:gdLst>
                <a:ahLst/>
                <a:cxnLst>
                  <a:cxn ang="0">
                    <a:pos x="T0" y="T1"/>
                  </a:cxn>
                  <a:cxn ang="0">
                    <a:pos x="T2" y="T3"/>
                  </a:cxn>
                  <a:cxn ang="0">
                    <a:pos x="T4" y="T5"/>
                  </a:cxn>
                  <a:cxn ang="0">
                    <a:pos x="T6" y="T7"/>
                  </a:cxn>
                  <a:cxn ang="0">
                    <a:pos x="T8" y="T9"/>
                  </a:cxn>
                </a:cxnLst>
                <a:rect l="0" t="0" r="r" b="b"/>
                <a:pathLst>
                  <a:path w="46" h="25">
                    <a:moveTo>
                      <a:pt x="0" y="13"/>
                    </a:moveTo>
                    <a:cubicBezTo>
                      <a:pt x="7" y="19"/>
                      <a:pt x="30" y="18"/>
                      <a:pt x="35" y="20"/>
                    </a:cubicBezTo>
                    <a:cubicBezTo>
                      <a:pt x="39" y="21"/>
                      <a:pt x="43" y="23"/>
                      <a:pt x="46" y="25"/>
                    </a:cubicBezTo>
                    <a:cubicBezTo>
                      <a:pt x="40" y="18"/>
                      <a:pt x="33" y="9"/>
                      <a:pt x="32" y="0"/>
                    </a:cubicBezTo>
                    <a:cubicBezTo>
                      <a:pt x="21" y="7"/>
                      <a:pt x="0" y="13"/>
                      <a:pt x="0" y="13"/>
                    </a:cubicBezTo>
                    <a:close/>
                  </a:path>
                </a:pathLst>
              </a:custGeom>
              <a:solidFill>
                <a:srgbClr val="E94C7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5" name="iSḷíḓè">
                <a:extLst>
                  <a:ext uri="{FF2B5EF4-FFF2-40B4-BE49-F238E27FC236}">
                    <a16:creationId xmlns:a16="http://schemas.microsoft.com/office/drawing/2014/main" id="{33376454-2EF5-41CE-9F22-2AFE7BF62861}"/>
                  </a:ext>
                </a:extLst>
              </p:cNvPr>
              <p:cNvSpPr/>
              <p:nvPr/>
            </p:nvSpPr>
            <p:spPr bwMode="auto">
              <a:xfrm>
                <a:off x="5311775" y="4170363"/>
                <a:ext cx="127000" cy="198438"/>
              </a:xfrm>
              <a:custGeom>
                <a:avLst/>
                <a:gdLst>
                  <a:gd name="T0" fmla="*/ 38 w 43"/>
                  <a:gd name="T1" fmla="*/ 0 h 67"/>
                  <a:gd name="T2" fmla="*/ 10 w 43"/>
                  <a:gd name="T3" fmla="*/ 58 h 67"/>
                  <a:gd name="T4" fmla="*/ 23 w 43"/>
                  <a:gd name="T5" fmla="*/ 50 h 67"/>
                  <a:gd name="T6" fmla="*/ 40 w 43"/>
                  <a:gd name="T7" fmla="*/ 5 h 67"/>
                  <a:gd name="T8" fmla="*/ 38 w 43"/>
                  <a:gd name="T9" fmla="*/ 0 h 67"/>
                </a:gdLst>
                <a:ahLst/>
                <a:cxnLst>
                  <a:cxn ang="0">
                    <a:pos x="T0" y="T1"/>
                  </a:cxn>
                  <a:cxn ang="0">
                    <a:pos x="T2" y="T3"/>
                  </a:cxn>
                  <a:cxn ang="0">
                    <a:pos x="T4" y="T5"/>
                  </a:cxn>
                  <a:cxn ang="0">
                    <a:pos x="T6" y="T7"/>
                  </a:cxn>
                  <a:cxn ang="0">
                    <a:pos x="T8" y="T9"/>
                  </a:cxn>
                </a:cxnLst>
                <a:rect l="0" t="0" r="r" b="b"/>
                <a:pathLst>
                  <a:path w="43" h="67">
                    <a:moveTo>
                      <a:pt x="38" y="0"/>
                    </a:moveTo>
                    <a:cubicBezTo>
                      <a:pt x="12" y="6"/>
                      <a:pt x="0" y="34"/>
                      <a:pt x="10" y="58"/>
                    </a:cubicBezTo>
                    <a:cubicBezTo>
                      <a:pt x="14" y="67"/>
                      <a:pt x="28" y="59"/>
                      <a:pt x="23" y="50"/>
                    </a:cubicBezTo>
                    <a:cubicBezTo>
                      <a:pt x="14" y="32"/>
                      <a:pt x="22" y="13"/>
                      <a:pt x="40" y="5"/>
                    </a:cubicBezTo>
                    <a:cubicBezTo>
                      <a:pt x="43" y="4"/>
                      <a:pt x="41" y="0"/>
                      <a:pt x="38" y="0"/>
                    </a:cubicBezTo>
                    <a:close/>
                  </a:path>
                </a:pathLst>
              </a:custGeom>
              <a:solidFill>
                <a:srgbClr val="F090A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6" name="íSḷiḋe">
                <a:extLst>
                  <a:ext uri="{FF2B5EF4-FFF2-40B4-BE49-F238E27FC236}">
                    <a16:creationId xmlns:a16="http://schemas.microsoft.com/office/drawing/2014/main" id="{FB450D1D-ABCB-44F2-82C2-A1B32875DFFB}"/>
                  </a:ext>
                </a:extLst>
              </p:cNvPr>
              <p:cNvSpPr/>
              <p:nvPr/>
            </p:nvSpPr>
            <p:spPr bwMode="auto">
              <a:xfrm>
                <a:off x="5719763" y="2471738"/>
                <a:ext cx="1955800" cy="2144713"/>
              </a:xfrm>
              <a:custGeom>
                <a:avLst/>
                <a:gdLst>
                  <a:gd name="T0" fmla="*/ 601 w 661"/>
                  <a:gd name="T1" fmla="*/ 330 h 726"/>
                  <a:gd name="T2" fmla="*/ 517 w 661"/>
                  <a:gd name="T3" fmla="*/ 270 h 726"/>
                  <a:gd name="T4" fmla="*/ 363 w 661"/>
                  <a:gd name="T5" fmla="*/ 211 h 726"/>
                  <a:gd name="T6" fmla="*/ 200 w 661"/>
                  <a:gd name="T7" fmla="*/ 148 h 726"/>
                  <a:gd name="T8" fmla="*/ 8 w 661"/>
                  <a:gd name="T9" fmla="*/ 4 h 726"/>
                  <a:gd name="T10" fmla="*/ 1 w 661"/>
                  <a:gd name="T11" fmla="*/ 6 h 726"/>
                  <a:gd name="T12" fmla="*/ 114 w 661"/>
                  <a:gd name="T13" fmla="*/ 131 h 726"/>
                  <a:gd name="T14" fmla="*/ 316 w 661"/>
                  <a:gd name="T15" fmla="*/ 214 h 726"/>
                  <a:gd name="T16" fmla="*/ 468 w 661"/>
                  <a:gd name="T17" fmla="*/ 273 h 726"/>
                  <a:gd name="T18" fmla="*/ 591 w 661"/>
                  <a:gd name="T19" fmla="*/ 355 h 726"/>
                  <a:gd name="T20" fmla="*/ 634 w 661"/>
                  <a:gd name="T21" fmla="*/ 526 h 726"/>
                  <a:gd name="T22" fmla="*/ 603 w 661"/>
                  <a:gd name="T23" fmla="*/ 703 h 726"/>
                  <a:gd name="T24" fmla="*/ 608 w 661"/>
                  <a:gd name="T25" fmla="*/ 723 h 726"/>
                  <a:gd name="T26" fmla="*/ 625 w 661"/>
                  <a:gd name="T27" fmla="*/ 706 h 726"/>
                  <a:gd name="T28" fmla="*/ 639 w 661"/>
                  <a:gd name="T29" fmla="*/ 646 h 726"/>
                  <a:gd name="T30" fmla="*/ 658 w 661"/>
                  <a:gd name="T31" fmla="*/ 481 h 726"/>
                  <a:gd name="T32" fmla="*/ 619 w 661"/>
                  <a:gd name="T33" fmla="*/ 353 h 726"/>
                  <a:gd name="T34" fmla="*/ 601 w 661"/>
                  <a:gd name="T35" fmla="*/ 330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1" h="726">
                    <a:moveTo>
                      <a:pt x="601" y="330"/>
                    </a:moveTo>
                    <a:cubicBezTo>
                      <a:pt x="578" y="304"/>
                      <a:pt x="548" y="285"/>
                      <a:pt x="517" y="270"/>
                    </a:cubicBezTo>
                    <a:cubicBezTo>
                      <a:pt x="467" y="247"/>
                      <a:pt x="414" y="231"/>
                      <a:pt x="363" y="211"/>
                    </a:cubicBezTo>
                    <a:cubicBezTo>
                      <a:pt x="309" y="190"/>
                      <a:pt x="254" y="169"/>
                      <a:pt x="200" y="148"/>
                    </a:cubicBezTo>
                    <a:cubicBezTo>
                      <a:pt x="124" y="119"/>
                      <a:pt x="34" y="90"/>
                      <a:pt x="8" y="4"/>
                    </a:cubicBezTo>
                    <a:cubicBezTo>
                      <a:pt x="7" y="0"/>
                      <a:pt x="0" y="2"/>
                      <a:pt x="1" y="6"/>
                    </a:cubicBezTo>
                    <a:cubicBezTo>
                      <a:pt x="13" y="66"/>
                      <a:pt x="63" y="105"/>
                      <a:pt x="114" y="131"/>
                    </a:cubicBezTo>
                    <a:cubicBezTo>
                      <a:pt x="179" y="163"/>
                      <a:pt x="249" y="187"/>
                      <a:pt x="316" y="214"/>
                    </a:cubicBezTo>
                    <a:cubicBezTo>
                      <a:pt x="367" y="234"/>
                      <a:pt x="418" y="253"/>
                      <a:pt x="468" y="273"/>
                    </a:cubicBezTo>
                    <a:cubicBezTo>
                      <a:pt x="514" y="291"/>
                      <a:pt x="560" y="316"/>
                      <a:pt x="591" y="355"/>
                    </a:cubicBezTo>
                    <a:cubicBezTo>
                      <a:pt x="628" y="402"/>
                      <a:pt x="638" y="466"/>
                      <a:pt x="634" y="526"/>
                    </a:cubicBezTo>
                    <a:cubicBezTo>
                      <a:pt x="630" y="586"/>
                      <a:pt x="614" y="644"/>
                      <a:pt x="603" y="703"/>
                    </a:cubicBezTo>
                    <a:cubicBezTo>
                      <a:pt x="601" y="710"/>
                      <a:pt x="601" y="721"/>
                      <a:pt x="608" y="723"/>
                    </a:cubicBezTo>
                    <a:cubicBezTo>
                      <a:pt x="617" y="726"/>
                      <a:pt x="623" y="715"/>
                      <a:pt x="625" y="706"/>
                    </a:cubicBezTo>
                    <a:cubicBezTo>
                      <a:pt x="630" y="686"/>
                      <a:pt x="634" y="666"/>
                      <a:pt x="639" y="646"/>
                    </a:cubicBezTo>
                    <a:cubicBezTo>
                      <a:pt x="650" y="592"/>
                      <a:pt x="661" y="536"/>
                      <a:pt x="658" y="481"/>
                    </a:cubicBezTo>
                    <a:cubicBezTo>
                      <a:pt x="655" y="436"/>
                      <a:pt x="644" y="391"/>
                      <a:pt x="619" y="353"/>
                    </a:cubicBezTo>
                    <a:cubicBezTo>
                      <a:pt x="614" y="345"/>
                      <a:pt x="608" y="337"/>
                      <a:pt x="601" y="330"/>
                    </a:cubicBezTo>
                    <a:close/>
                  </a:path>
                </a:pathLst>
              </a:custGeom>
              <a:solidFill>
                <a:srgbClr val="3851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77" name="îšḷidé">
                <a:extLst>
                  <a:ext uri="{FF2B5EF4-FFF2-40B4-BE49-F238E27FC236}">
                    <a16:creationId xmlns:a16="http://schemas.microsoft.com/office/drawing/2014/main" id="{06D3A66E-0283-4A4D-98A3-F0BD2A80A878}"/>
                  </a:ext>
                </a:extLst>
              </p:cNvPr>
              <p:cNvSpPr/>
              <p:nvPr/>
            </p:nvSpPr>
            <p:spPr bwMode="auto">
              <a:xfrm>
                <a:off x="5719763" y="2190751"/>
                <a:ext cx="796925" cy="357188"/>
              </a:xfrm>
              <a:custGeom>
                <a:avLst/>
                <a:gdLst>
                  <a:gd name="T0" fmla="*/ 224 w 269"/>
                  <a:gd name="T1" fmla="*/ 0 h 121"/>
                  <a:gd name="T2" fmla="*/ 231 w 269"/>
                  <a:gd name="T3" fmla="*/ 9 h 121"/>
                  <a:gd name="T4" fmla="*/ 201 w 269"/>
                  <a:gd name="T5" fmla="*/ 65 h 121"/>
                  <a:gd name="T6" fmla="*/ 139 w 269"/>
                  <a:gd name="T7" fmla="*/ 92 h 121"/>
                  <a:gd name="T8" fmla="*/ 9 w 269"/>
                  <a:gd name="T9" fmla="*/ 102 h 121"/>
                  <a:gd name="T10" fmla="*/ 14 w 269"/>
                  <a:gd name="T11" fmla="*/ 92 h 121"/>
                  <a:gd name="T12" fmla="*/ 14 w 269"/>
                  <a:gd name="T13" fmla="*/ 85 h 121"/>
                  <a:gd name="T14" fmla="*/ 1 w 269"/>
                  <a:gd name="T15" fmla="*/ 101 h 121"/>
                  <a:gd name="T16" fmla="*/ 19 w 269"/>
                  <a:gd name="T17" fmla="*/ 114 h 121"/>
                  <a:gd name="T18" fmla="*/ 135 w 269"/>
                  <a:gd name="T19" fmla="*/ 102 h 121"/>
                  <a:gd name="T20" fmla="*/ 230 w 269"/>
                  <a:gd name="T21" fmla="*/ 53 h 121"/>
                  <a:gd name="T22" fmla="*/ 224 w 269"/>
                  <a:gd name="T2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9" h="121">
                    <a:moveTo>
                      <a:pt x="224" y="0"/>
                    </a:moveTo>
                    <a:cubicBezTo>
                      <a:pt x="231" y="9"/>
                      <a:pt x="231" y="9"/>
                      <a:pt x="231" y="9"/>
                    </a:cubicBezTo>
                    <a:cubicBezTo>
                      <a:pt x="266" y="13"/>
                      <a:pt x="216" y="56"/>
                      <a:pt x="201" y="65"/>
                    </a:cubicBezTo>
                    <a:cubicBezTo>
                      <a:pt x="181" y="76"/>
                      <a:pt x="161" y="86"/>
                      <a:pt x="139" y="92"/>
                    </a:cubicBezTo>
                    <a:cubicBezTo>
                      <a:pt x="47" y="116"/>
                      <a:pt x="12" y="106"/>
                      <a:pt x="9" y="102"/>
                    </a:cubicBezTo>
                    <a:cubicBezTo>
                      <a:pt x="6" y="98"/>
                      <a:pt x="11" y="93"/>
                      <a:pt x="14" y="92"/>
                    </a:cubicBezTo>
                    <a:cubicBezTo>
                      <a:pt x="14" y="85"/>
                      <a:pt x="14" y="85"/>
                      <a:pt x="14" y="85"/>
                    </a:cubicBezTo>
                    <a:cubicBezTo>
                      <a:pt x="7" y="87"/>
                      <a:pt x="0" y="94"/>
                      <a:pt x="1" y="101"/>
                    </a:cubicBezTo>
                    <a:cubicBezTo>
                      <a:pt x="3" y="110"/>
                      <a:pt x="12" y="112"/>
                      <a:pt x="19" y="114"/>
                    </a:cubicBezTo>
                    <a:cubicBezTo>
                      <a:pt x="56" y="121"/>
                      <a:pt x="100" y="112"/>
                      <a:pt x="135" y="102"/>
                    </a:cubicBezTo>
                    <a:cubicBezTo>
                      <a:pt x="167" y="92"/>
                      <a:pt x="204" y="75"/>
                      <a:pt x="230" y="53"/>
                    </a:cubicBezTo>
                    <a:cubicBezTo>
                      <a:pt x="247" y="38"/>
                      <a:pt x="269" y="2"/>
                      <a:pt x="224" y="0"/>
                    </a:cubicBezTo>
                    <a:close/>
                  </a:path>
                </a:pathLst>
              </a:custGeom>
              <a:solidFill>
                <a:srgbClr val="3851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8" name="ïṩlíḍe">
                <a:extLst>
                  <a:ext uri="{FF2B5EF4-FFF2-40B4-BE49-F238E27FC236}">
                    <a16:creationId xmlns:a16="http://schemas.microsoft.com/office/drawing/2014/main" id="{59E941FE-088B-42B3-A859-A9216AC5EDC8}"/>
                  </a:ext>
                </a:extLst>
              </p:cNvPr>
              <p:cNvSpPr/>
              <p:nvPr/>
            </p:nvSpPr>
            <p:spPr bwMode="auto">
              <a:xfrm>
                <a:off x="7353300" y="3308351"/>
                <a:ext cx="206375" cy="123825"/>
              </a:xfrm>
              <a:custGeom>
                <a:avLst/>
                <a:gdLst>
                  <a:gd name="T0" fmla="*/ 33 w 70"/>
                  <a:gd name="T1" fmla="*/ 38 h 42"/>
                  <a:gd name="T2" fmla="*/ 6 w 70"/>
                  <a:gd name="T3" fmla="*/ 26 h 42"/>
                  <a:gd name="T4" fmla="*/ 15 w 70"/>
                  <a:gd name="T5" fmla="*/ 29 h 42"/>
                  <a:gd name="T6" fmla="*/ 19 w 70"/>
                  <a:gd name="T7" fmla="*/ 15 h 42"/>
                  <a:gd name="T8" fmla="*/ 0 w 70"/>
                  <a:gd name="T9" fmla="*/ 4 h 42"/>
                  <a:gd name="T10" fmla="*/ 30 w 70"/>
                  <a:gd name="T11" fmla="*/ 4 h 42"/>
                  <a:gd name="T12" fmla="*/ 44 w 70"/>
                  <a:gd name="T13" fmla="*/ 23 h 42"/>
                  <a:gd name="T14" fmla="*/ 70 w 70"/>
                  <a:gd name="T15" fmla="*/ 31 h 42"/>
                  <a:gd name="T16" fmla="*/ 55 w 70"/>
                  <a:gd name="T17" fmla="*/ 42 h 42"/>
                  <a:gd name="T18" fmla="*/ 33 w 70"/>
                  <a:gd name="T19"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2">
                    <a:moveTo>
                      <a:pt x="33" y="38"/>
                    </a:moveTo>
                    <a:cubicBezTo>
                      <a:pt x="23" y="39"/>
                      <a:pt x="10" y="37"/>
                      <a:pt x="6" y="26"/>
                    </a:cubicBezTo>
                    <a:cubicBezTo>
                      <a:pt x="11" y="27"/>
                      <a:pt x="15" y="29"/>
                      <a:pt x="15" y="29"/>
                    </a:cubicBezTo>
                    <a:cubicBezTo>
                      <a:pt x="18" y="28"/>
                      <a:pt x="19" y="20"/>
                      <a:pt x="19" y="15"/>
                    </a:cubicBezTo>
                    <a:cubicBezTo>
                      <a:pt x="18" y="11"/>
                      <a:pt x="1" y="5"/>
                      <a:pt x="0" y="4"/>
                    </a:cubicBezTo>
                    <a:cubicBezTo>
                      <a:pt x="9" y="1"/>
                      <a:pt x="24" y="0"/>
                      <a:pt x="30" y="4"/>
                    </a:cubicBezTo>
                    <a:cubicBezTo>
                      <a:pt x="37" y="9"/>
                      <a:pt x="38" y="16"/>
                      <a:pt x="44" y="23"/>
                    </a:cubicBezTo>
                    <a:cubicBezTo>
                      <a:pt x="47" y="24"/>
                      <a:pt x="69" y="28"/>
                      <a:pt x="70" y="31"/>
                    </a:cubicBezTo>
                    <a:cubicBezTo>
                      <a:pt x="55" y="42"/>
                      <a:pt x="55" y="42"/>
                      <a:pt x="55" y="42"/>
                    </a:cubicBezTo>
                    <a:cubicBezTo>
                      <a:pt x="55" y="42"/>
                      <a:pt x="43" y="36"/>
                      <a:pt x="33" y="38"/>
                    </a:cubicBezTo>
                    <a:close/>
                  </a:path>
                </a:pathLst>
              </a:custGeom>
              <a:solidFill>
                <a:srgbClr val="F8C4AB"/>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79" name="íṥľïḋé">
                <a:extLst>
                  <a:ext uri="{FF2B5EF4-FFF2-40B4-BE49-F238E27FC236}">
                    <a16:creationId xmlns:a16="http://schemas.microsoft.com/office/drawing/2014/main" id="{87C8F09C-CD1B-4018-9B0C-57C02BEC1C3D}"/>
                  </a:ext>
                </a:extLst>
              </p:cNvPr>
              <p:cNvSpPr/>
              <p:nvPr/>
            </p:nvSpPr>
            <p:spPr bwMode="auto">
              <a:xfrm>
                <a:off x="7497763" y="3367088"/>
                <a:ext cx="739775" cy="165100"/>
              </a:xfrm>
              <a:custGeom>
                <a:avLst/>
                <a:gdLst>
                  <a:gd name="T0" fmla="*/ 250 w 250"/>
                  <a:gd name="T1" fmla="*/ 19 h 56"/>
                  <a:gd name="T2" fmla="*/ 5 w 250"/>
                  <a:gd name="T3" fmla="*/ 0 h 56"/>
                  <a:gd name="T4" fmla="*/ 0 w 250"/>
                  <a:gd name="T5" fmla="*/ 17 h 56"/>
                  <a:gd name="T6" fmla="*/ 196 w 250"/>
                  <a:gd name="T7" fmla="*/ 55 h 56"/>
                  <a:gd name="T8" fmla="*/ 250 w 250"/>
                  <a:gd name="T9" fmla="*/ 19 h 56"/>
                </a:gdLst>
                <a:ahLst/>
                <a:cxnLst>
                  <a:cxn ang="0">
                    <a:pos x="T0" y="T1"/>
                  </a:cxn>
                  <a:cxn ang="0">
                    <a:pos x="T2" y="T3"/>
                  </a:cxn>
                  <a:cxn ang="0">
                    <a:pos x="T4" y="T5"/>
                  </a:cxn>
                  <a:cxn ang="0">
                    <a:pos x="T6" y="T7"/>
                  </a:cxn>
                  <a:cxn ang="0">
                    <a:pos x="T8" y="T9"/>
                  </a:cxn>
                </a:cxnLst>
                <a:rect l="0" t="0" r="r" b="b"/>
                <a:pathLst>
                  <a:path w="250" h="56">
                    <a:moveTo>
                      <a:pt x="250" y="19"/>
                    </a:moveTo>
                    <a:cubicBezTo>
                      <a:pt x="211" y="29"/>
                      <a:pt x="124" y="31"/>
                      <a:pt x="5" y="0"/>
                    </a:cubicBezTo>
                    <a:cubicBezTo>
                      <a:pt x="2" y="6"/>
                      <a:pt x="1" y="11"/>
                      <a:pt x="0" y="17"/>
                    </a:cubicBezTo>
                    <a:cubicBezTo>
                      <a:pt x="60" y="56"/>
                      <a:pt x="169" y="56"/>
                      <a:pt x="196" y="55"/>
                    </a:cubicBezTo>
                    <a:cubicBezTo>
                      <a:pt x="211" y="40"/>
                      <a:pt x="246" y="39"/>
                      <a:pt x="250" y="19"/>
                    </a:cubicBezTo>
                    <a:close/>
                  </a:path>
                </a:pathLst>
              </a:custGeom>
              <a:solidFill>
                <a:srgbClr val="EB628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0" name="íŝliḓê">
                <a:extLst>
                  <a:ext uri="{FF2B5EF4-FFF2-40B4-BE49-F238E27FC236}">
                    <a16:creationId xmlns:a16="http://schemas.microsoft.com/office/drawing/2014/main" id="{E606619B-B7D1-4912-A26B-0877798172B0}"/>
                  </a:ext>
                </a:extLst>
              </p:cNvPr>
              <p:cNvSpPr/>
              <p:nvPr/>
            </p:nvSpPr>
            <p:spPr bwMode="auto">
              <a:xfrm>
                <a:off x="7281863" y="3311526"/>
                <a:ext cx="207963" cy="141288"/>
              </a:xfrm>
              <a:custGeom>
                <a:avLst/>
                <a:gdLst>
                  <a:gd name="T0" fmla="*/ 45 w 70"/>
                  <a:gd name="T1" fmla="*/ 18 h 48"/>
                  <a:gd name="T2" fmla="*/ 19 w 70"/>
                  <a:gd name="T3" fmla="*/ 3 h 48"/>
                  <a:gd name="T4" fmla="*/ 28 w 70"/>
                  <a:gd name="T5" fmla="*/ 8 h 48"/>
                  <a:gd name="T6" fmla="*/ 18 w 70"/>
                  <a:gd name="T7" fmla="*/ 19 h 48"/>
                  <a:gd name="T8" fmla="*/ 0 w 70"/>
                  <a:gd name="T9" fmla="*/ 17 h 48"/>
                  <a:gd name="T10" fmla="*/ 16 w 70"/>
                  <a:gd name="T11" fmla="*/ 35 h 48"/>
                  <a:gd name="T12" fmla="*/ 39 w 70"/>
                  <a:gd name="T13" fmla="*/ 35 h 48"/>
                  <a:gd name="T14" fmla="*/ 66 w 70"/>
                  <a:gd name="T15" fmla="*/ 48 h 48"/>
                  <a:gd name="T16" fmla="*/ 70 w 70"/>
                  <a:gd name="T17" fmla="*/ 31 h 48"/>
                  <a:gd name="T18" fmla="*/ 45 w 70"/>
                  <a:gd name="T19"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48">
                    <a:moveTo>
                      <a:pt x="45" y="18"/>
                    </a:moveTo>
                    <a:cubicBezTo>
                      <a:pt x="40" y="9"/>
                      <a:pt x="31" y="0"/>
                      <a:pt x="19" y="3"/>
                    </a:cubicBezTo>
                    <a:cubicBezTo>
                      <a:pt x="24" y="6"/>
                      <a:pt x="28" y="8"/>
                      <a:pt x="28" y="8"/>
                    </a:cubicBezTo>
                    <a:cubicBezTo>
                      <a:pt x="28" y="11"/>
                      <a:pt x="22" y="17"/>
                      <a:pt x="18" y="19"/>
                    </a:cubicBezTo>
                    <a:cubicBezTo>
                      <a:pt x="14" y="21"/>
                      <a:pt x="1" y="18"/>
                      <a:pt x="0" y="17"/>
                    </a:cubicBezTo>
                    <a:cubicBezTo>
                      <a:pt x="3" y="27"/>
                      <a:pt x="9" y="32"/>
                      <a:pt x="16" y="35"/>
                    </a:cubicBezTo>
                    <a:cubicBezTo>
                      <a:pt x="23" y="38"/>
                      <a:pt x="29" y="35"/>
                      <a:pt x="39" y="35"/>
                    </a:cubicBezTo>
                    <a:cubicBezTo>
                      <a:pt x="66" y="48"/>
                      <a:pt x="66" y="48"/>
                      <a:pt x="66" y="48"/>
                    </a:cubicBezTo>
                    <a:cubicBezTo>
                      <a:pt x="70" y="31"/>
                      <a:pt x="70" y="31"/>
                      <a:pt x="70" y="31"/>
                    </a:cubicBezTo>
                    <a:cubicBezTo>
                      <a:pt x="70" y="31"/>
                      <a:pt x="49" y="26"/>
                      <a:pt x="45" y="18"/>
                    </a:cubicBezTo>
                    <a:close/>
                  </a:path>
                </a:pathLst>
              </a:custGeom>
              <a:solidFill>
                <a:srgbClr val="F9CDB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1" name="íṧ1iďê">
                <a:extLst>
                  <a:ext uri="{FF2B5EF4-FFF2-40B4-BE49-F238E27FC236}">
                    <a16:creationId xmlns:a16="http://schemas.microsoft.com/office/drawing/2014/main" id="{E9743307-9A05-4C43-8D39-23962F1A6C5D}"/>
                  </a:ext>
                </a:extLst>
              </p:cNvPr>
              <p:cNvSpPr/>
              <p:nvPr/>
            </p:nvSpPr>
            <p:spPr bwMode="auto">
              <a:xfrm>
                <a:off x="8059738" y="3157538"/>
                <a:ext cx="33338" cy="49213"/>
              </a:xfrm>
              <a:custGeom>
                <a:avLst/>
                <a:gdLst>
                  <a:gd name="T0" fmla="*/ 3 w 11"/>
                  <a:gd name="T1" fmla="*/ 15 h 17"/>
                  <a:gd name="T2" fmla="*/ 10 w 11"/>
                  <a:gd name="T3" fmla="*/ 14 h 17"/>
                  <a:gd name="T4" fmla="*/ 10 w 11"/>
                  <a:gd name="T5" fmla="*/ 2 h 17"/>
                  <a:gd name="T6" fmla="*/ 3 w 11"/>
                  <a:gd name="T7" fmla="*/ 9 h 17"/>
                  <a:gd name="T8" fmla="*/ 3 w 11"/>
                  <a:gd name="T9" fmla="*/ 15 h 17"/>
                </a:gdLst>
                <a:ahLst/>
                <a:cxnLst>
                  <a:cxn ang="0">
                    <a:pos x="T0" y="T1"/>
                  </a:cxn>
                  <a:cxn ang="0">
                    <a:pos x="T2" y="T3"/>
                  </a:cxn>
                  <a:cxn ang="0">
                    <a:pos x="T4" y="T5"/>
                  </a:cxn>
                  <a:cxn ang="0">
                    <a:pos x="T6" y="T7"/>
                  </a:cxn>
                  <a:cxn ang="0">
                    <a:pos x="T8" y="T9"/>
                  </a:cxn>
                </a:cxnLst>
                <a:rect l="0" t="0" r="r" b="b"/>
                <a:pathLst>
                  <a:path w="11" h="17">
                    <a:moveTo>
                      <a:pt x="3" y="15"/>
                    </a:moveTo>
                    <a:cubicBezTo>
                      <a:pt x="5" y="17"/>
                      <a:pt x="9" y="17"/>
                      <a:pt x="10" y="14"/>
                    </a:cubicBezTo>
                    <a:cubicBezTo>
                      <a:pt x="11" y="13"/>
                      <a:pt x="11" y="0"/>
                      <a:pt x="10" y="2"/>
                    </a:cubicBezTo>
                    <a:cubicBezTo>
                      <a:pt x="10" y="3"/>
                      <a:pt x="9" y="7"/>
                      <a:pt x="3" y="9"/>
                    </a:cubicBezTo>
                    <a:cubicBezTo>
                      <a:pt x="0" y="10"/>
                      <a:pt x="0" y="14"/>
                      <a:pt x="3" y="15"/>
                    </a:cubicBezTo>
                    <a:close/>
                  </a:path>
                </a:pathLst>
              </a:custGeom>
              <a:solidFill>
                <a:srgbClr val="ED78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2" name="iSḻíďè">
                <a:extLst>
                  <a:ext uri="{FF2B5EF4-FFF2-40B4-BE49-F238E27FC236}">
                    <a16:creationId xmlns:a16="http://schemas.microsoft.com/office/drawing/2014/main" id="{D07AFDFE-5226-4E30-BF14-075463BE9849}"/>
                  </a:ext>
                </a:extLst>
              </p:cNvPr>
              <p:cNvSpPr/>
              <p:nvPr/>
            </p:nvSpPr>
            <p:spPr bwMode="auto">
              <a:xfrm>
                <a:off x="8077200" y="3024188"/>
                <a:ext cx="284163" cy="481013"/>
              </a:xfrm>
              <a:custGeom>
                <a:avLst/>
                <a:gdLst>
                  <a:gd name="T0" fmla="*/ 13 w 96"/>
                  <a:gd name="T1" fmla="*/ 19 h 163"/>
                  <a:gd name="T2" fmla="*/ 23 w 96"/>
                  <a:gd name="T3" fmla="*/ 8 h 163"/>
                  <a:gd name="T4" fmla="*/ 23 w 96"/>
                  <a:gd name="T5" fmla="*/ 7 h 163"/>
                  <a:gd name="T6" fmla="*/ 55 w 96"/>
                  <a:gd name="T7" fmla="*/ 13 h 163"/>
                  <a:gd name="T8" fmla="*/ 78 w 96"/>
                  <a:gd name="T9" fmla="*/ 44 h 163"/>
                  <a:gd name="T10" fmla="*/ 71 w 96"/>
                  <a:gd name="T11" fmla="*/ 117 h 163"/>
                  <a:gd name="T12" fmla="*/ 70 w 96"/>
                  <a:gd name="T13" fmla="*/ 160 h 163"/>
                  <a:gd name="T14" fmla="*/ 68 w 96"/>
                  <a:gd name="T15" fmla="*/ 162 h 163"/>
                  <a:gd name="T16" fmla="*/ 67 w 96"/>
                  <a:gd name="T17" fmla="*/ 163 h 163"/>
                  <a:gd name="T18" fmla="*/ 31 w 96"/>
                  <a:gd name="T19" fmla="*/ 154 h 163"/>
                  <a:gd name="T20" fmla="*/ 30 w 96"/>
                  <a:gd name="T21" fmla="*/ 153 h 163"/>
                  <a:gd name="T22" fmla="*/ 29 w 96"/>
                  <a:gd name="T23" fmla="*/ 151 h 163"/>
                  <a:gd name="T24" fmla="*/ 42 w 96"/>
                  <a:gd name="T25" fmla="*/ 119 h 163"/>
                  <a:gd name="T26" fmla="*/ 11 w 96"/>
                  <a:gd name="T27" fmla="*/ 94 h 163"/>
                  <a:gd name="T28" fmla="*/ 13 w 96"/>
                  <a:gd name="T29" fmla="*/ 1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163">
                    <a:moveTo>
                      <a:pt x="13" y="19"/>
                    </a:moveTo>
                    <a:cubicBezTo>
                      <a:pt x="16" y="15"/>
                      <a:pt x="19" y="11"/>
                      <a:pt x="23" y="8"/>
                    </a:cubicBezTo>
                    <a:cubicBezTo>
                      <a:pt x="23" y="8"/>
                      <a:pt x="23" y="7"/>
                      <a:pt x="23" y="7"/>
                    </a:cubicBezTo>
                    <a:cubicBezTo>
                      <a:pt x="34" y="0"/>
                      <a:pt x="46" y="6"/>
                      <a:pt x="55" y="13"/>
                    </a:cubicBezTo>
                    <a:cubicBezTo>
                      <a:pt x="64" y="22"/>
                      <a:pt x="72" y="32"/>
                      <a:pt x="78" y="44"/>
                    </a:cubicBezTo>
                    <a:cubicBezTo>
                      <a:pt x="89" y="64"/>
                      <a:pt x="96" y="103"/>
                      <a:pt x="71" y="117"/>
                    </a:cubicBezTo>
                    <a:cubicBezTo>
                      <a:pt x="71" y="131"/>
                      <a:pt x="70" y="146"/>
                      <a:pt x="70" y="160"/>
                    </a:cubicBezTo>
                    <a:cubicBezTo>
                      <a:pt x="70" y="161"/>
                      <a:pt x="69" y="162"/>
                      <a:pt x="68" y="162"/>
                    </a:cubicBezTo>
                    <a:cubicBezTo>
                      <a:pt x="68" y="162"/>
                      <a:pt x="68" y="163"/>
                      <a:pt x="67" y="163"/>
                    </a:cubicBezTo>
                    <a:cubicBezTo>
                      <a:pt x="54" y="163"/>
                      <a:pt x="42" y="160"/>
                      <a:pt x="31" y="154"/>
                    </a:cubicBezTo>
                    <a:cubicBezTo>
                      <a:pt x="31" y="154"/>
                      <a:pt x="30" y="154"/>
                      <a:pt x="30" y="153"/>
                    </a:cubicBezTo>
                    <a:cubicBezTo>
                      <a:pt x="29" y="153"/>
                      <a:pt x="29" y="152"/>
                      <a:pt x="29" y="151"/>
                    </a:cubicBezTo>
                    <a:cubicBezTo>
                      <a:pt x="35" y="141"/>
                      <a:pt x="40" y="131"/>
                      <a:pt x="42" y="119"/>
                    </a:cubicBezTo>
                    <a:cubicBezTo>
                      <a:pt x="29" y="116"/>
                      <a:pt x="18" y="106"/>
                      <a:pt x="11" y="94"/>
                    </a:cubicBezTo>
                    <a:cubicBezTo>
                      <a:pt x="0" y="71"/>
                      <a:pt x="1" y="41"/>
                      <a:pt x="13" y="19"/>
                    </a:cubicBezTo>
                    <a:close/>
                  </a:path>
                </a:pathLst>
              </a:custGeom>
              <a:solidFill>
                <a:srgbClr val="F9CDB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7500" lnSpcReduction="20000"/>
              </a:bodyPr>
              <a:lstStyle/>
              <a:p>
                <a:pPr algn="ctr"/>
                <a:endParaRPr/>
              </a:p>
            </p:txBody>
          </p:sp>
          <p:sp>
            <p:nvSpPr>
              <p:cNvPr id="83" name="isļidê">
                <a:extLst>
                  <a:ext uri="{FF2B5EF4-FFF2-40B4-BE49-F238E27FC236}">
                    <a16:creationId xmlns:a16="http://schemas.microsoft.com/office/drawing/2014/main" id="{61B87C06-095A-4BB0-9B44-0E1649F2ECD8}"/>
                  </a:ext>
                </a:extLst>
              </p:cNvPr>
              <p:cNvSpPr/>
              <p:nvPr/>
            </p:nvSpPr>
            <p:spPr bwMode="auto">
              <a:xfrm>
                <a:off x="8110538" y="3205163"/>
                <a:ext cx="109538" cy="55563"/>
              </a:xfrm>
              <a:custGeom>
                <a:avLst/>
                <a:gdLst>
                  <a:gd name="T0" fmla="*/ 8 w 37"/>
                  <a:gd name="T1" fmla="*/ 3 h 19"/>
                  <a:gd name="T2" fmla="*/ 12 w 37"/>
                  <a:gd name="T3" fmla="*/ 2 h 19"/>
                  <a:gd name="T4" fmla="*/ 26 w 37"/>
                  <a:gd name="T5" fmla="*/ 1 h 19"/>
                  <a:gd name="T6" fmla="*/ 35 w 37"/>
                  <a:gd name="T7" fmla="*/ 12 h 19"/>
                  <a:gd name="T8" fmla="*/ 28 w 37"/>
                  <a:gd name="T9" fmla="*/ 17 h 19"/>
                  <a:gd name="T10" fmla="*/ 16 w 37"/>
                  <a:gd name="T11" fmla="*/ 19 h 19"/>
                  <a:gd name="T12" fmla="*/ 3 w 37"/>
                  <a:gd name="T13" fmla="*/ 13 h 19"/>
                  <a:gd name="T14" fmla="*/ 8 w 37"/>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9">
                    <a:moveTo>
                      <a:pt x="8" y="3"/>
                    </a:moveTo>
                    <a:cubicBezTo>
                      <a:pt x="9" y="2"/>
                      <a:pt x="11" y="2"/>
                      <a:pt x="12" y="2"/>
                    </a:cubicBezTo>
                    <a:cubicBezTo>
                      <a:pt x="16" y="0"/>
                      <a:pt x="21" y="0"/>
                      <a:pt x="26" y="1"/>
                    </a:cubicBezTo>
                    <a:cubicBezTo>
                      <a:pt x="31" y="2"/>
                      <a:pt x="37" y="6"/>
                      <a:pt x="35" y="12"/>
                    </a:cubicBezTo>
                    <a:cubicBezTo>
                      <a:pt x="33" y="14"/>
                      <a:pt x="31" y="16"/>
                      <a:pt x="28" y="17"/>
                    </a:cubicBezTo>
                    <a:cubicBezTo>
                      <a:pt x="24" y="19"/>
                      <a:pt x="20" y="19"/>
                      <a:pt x="16" y="19"/>
                    </a:cubicBezTo>
                    <a:cubicBezTo>
                      <a:pt x="11" y="19"/>
                      <a:pt x="5" y="18"/>
                      <a:pt x="3" y="13"/>
                    </a:cubicBezTo>
                    <a:cubicBezTo>
                      <a:pt x="0" y="9"/>
                      <a:pt x="4" y="5"/>
                      <a:pt x="8" y="3"/>
                    </a:cubicBezTo>
                    <a:close/>
                  </a:path>
                </a:pathLst>
              </a:custGeom>
              <a:solidFill>
                <a:srgbClr val="F8C3A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4" name="ïṣļîḋe">
                <a:extLst>
                  <a:ext uri="{FF2B5EF4-FFF2-40B4-BE49-F238E27FC236}">
                    <a16:creationId xmlns:a16="http://schemas.microsoft.com/office/drawing/2014/main" id="{6A9FB7B2-3192-420A-AE19-6C2852C1ECD9}"/>
                  </a:ext>
                </a:extLst>
              </p:cNvPr>
              <p:cNvSpPr/>
              <p:nvPr/>
            </p:nvSpPr>
            <p:spPr bwMode="auto">
              <a:xfrm>
                <a:off x="8104188" y="3133726"/>
                <a:ext cx="80963" cy="47625"/>
              </a:xfrm>
              <a:custGeom>
                <a:avLst/>
                <a:gdLst>
                  <a:gd name="T0" fmla="*/ 2 w 27"/>
                  <a:gd name="T1" fmla="*/ 8 h 16"/>
                  <a:gd name="T2" fmla="*/ 18 w 27"/>
                  <a:gd name="T3" fmla="*/ 2 h 16"/>
                  <a:gd name="T4" fmla="*/ 27 w 27"/>
                  <a:gd name="T5" fmla="*/ 16 h 16"/>
                  <a:gd name="T6" fmla="*/ 26 w 27"/>
                  <a:gd name="T7" fmla="*/ 16 h 16"/>
                  <a:gd name="T8" fmla="*/ 18 w 27"/>
                  <a:gd name="T9" fmla="*/ 4 h 16"/>
                  <a:gd name="T10" fmla="*/ 5 w 27"/>
                  <a:gd name="T11" fmla="*/ 10 h 16"/>
                  <a:gd name="T12" fmla="*/ 2 w 27"/>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7" h="16">
                    <a:moveTo>
                      <a:pt x="2" y="8"/>
                    </a:moveTo>
                    <a:cubicBezTo>
                      <a:pt x="5" y="2"/>
                      <a:pt x="12" y="0"/>
                      <a:pt x="18" y="2"/>
                    </a:cubicBezTo>
                    <a:cubicBezTo>
                      <a:pt x="24" y="4"/>
                      <a:pt x="27" y="10"/>
                      <a:pt x="27" y="16"/>
                    </a:cubicBezTo>
                    <a:cubicBezTo>
                      <a:pt x="26" y="16"/>
                      <a:pt x="26" y="16"/>
                      <a:pt x="26" y="16"/>
                    </a:cubicBezTo>
                    <a:cubicBezTo>
                      <a:pt x="26" y="12"/>
                      <a:pt x="22" y="6"/>
                      <a:pt x="18" y="4"/>
                    </a:cubicBezTo>
                    <a:cubicBezTo>
                      <a:pt x="13" y="3"/>
                      <a:pt x="7" y="5"/>
                      <a:pt x="5" y="10"/>
                    </a:cubicBezTo>
                    <a:cubicBezTo>
                      <a:pt x="4" y="12"/>
                      <a:pt x="0" y="10"/>
                      <a:pt x="2" y="8"/>
                    </a:cubicBezTo>
                    <a:close/>
                  </a:path>
                </a:pathLst>
              </a:custGeom>
              <a:solidFill>
                <a:srgbClr val="384C8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5" name="ïṩḷiďé">
                <a:extLst>
                  <a:ext uri="{FF2B5EF4-FFF2-40B4-BE49-F238E27FC236}">
                    <a16:creationId xmlns:a16="http://schemas.microsoft.com/office/drawing/2014/main" id="{2089BCA9-B71E-4D2F-BDF2-569E481A714F}"/>
                  </a:ext>
                </a:extLst>
              </p:cNvPr>
              <p:cNvSpPr/>
              <p:nvPr/>
            </p:nvSpPr>
            <p:spPr bwMode="auto">
              <a:xfrm>
                <a:off x="8048625" y="2897188"/>
                <a:ext cx="473075" cy="517525"/>
              </a:xfrm>
              <a:custGeom>
                <a:avLst/>
                <a:gdLst>
                  <a:gd name="T0" fmla="*/ 20 w 160"/>
                  <a:gd name="T1" fmla="*/ 7 h 175"/>
                  <a:gd name="T2" fmla="*/ 51 w 160"/>
                  <a:gd name="T3" fmla="*/ 6 h 175"/>
                  <a:gd name="T4" fmla="*/ 64 w 160"/>
                  <a:gd name="T5" fmla="*/ 33 h 175"/>
                  <a:gd name="T6" fmla="*/ 133 w 160"/>
                  <a:gd name="T7" fmla="*/ 54 h 175"/>
                  <a:gd name="T8" fmla="*/ 137 w 160"/>
                  <a:gd name="T9" fmla="*/ 163 h 175"/>
                  <a:gd name="T10" fmla="*/ 55 w 160"/>
                  <a:gd name="T11" fmla="*/ 156 h 175"/>
                  <a:gd name="T12" fmla="*/ 55 w 160"/>
                  <a:gd name="T13" fmla="*/ 152 h 175"/>
                  <a:gd name="T14" fmla="*/ 69 w 160"/>
                  <a:gd name="T15" fmla="*/ 80 h 175"/>
                  <a:gd name="T16" fmla="*/ 23 w 160"/>
                  <a:gd name="T17" fmla="*/ 62 h 175"/>
                  <a:gd name="T18" fmla="*/ 20 w 160"/>
                  <a:gd name="T19" fmla="*/ 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75">
                    <a:moveTo>
                      <a:pt x="20" y="7"/>
                    </a:moveTo>
                    <a:cubicBezTo>
                      <a:pt x="29" y="1"/>
                      <a:pt x="41" y="0"/>
                      <a:pt x="51" y="6"/>
                    </a:cubicBezTo>
                    <a:cubicBezTo>
                      <a:pt x="60" y="12"/>
                      <a:pt x="65" y="22"/>
                      <a:pt x="64" y="33"/>
                    </a:cubicBezTo>
                    <a:cubicBezTo>
                      <a:pt x="87" y="33"/>
                      <a:pt x="117" y="34"/>
                      <a:pt x="133" y="54"/>
                    </a:cubicBezTo>
                    <a:cubicBezTo>
                      <a:pt x="160" y="87"/>
                      <a:pt x="153" y="141"/>
                      <a:pt x="137" y="163"/>
                    </a:cubicBezTo>
                    <a:cubicBezTo>
                      <a:pt x="129" y="175"/>
                      <a:pt x="66" y="166"/>
                      <a:pt x="55" y="156"/>
                    </a:cubicBezTo>
                    <a:cubicBezTo>
                      <a:pt x="53" y="155"/>
                      <a:pt x="54" y="153"/>
                      <a:pt x="55" y="152"/>
                    </a:cubicBezTo>
                    <a:cubicBezTo>
                      <a:pt x="70" y="142"/>
                      <a:pt x="88" y="111"/>
                      <a:pt x="69" y="80"/>
                    </a:cubicBezTo>
                    <a:cubicBezTo>
                      <a:pt x="57" y="60"/>
                      <a:pt x="23" y="62"/>
                      <a:pt x="23" y="62"/>
                    </a:cubicBezTo>
                    <a:cubicBezTo>
                      <a:pt x="5" y="49"/>
                      <a:pt x="0" y="21"/>
                      <a:pt x="20" y="7"/>
                    </a:cubicBezTo>
                    <a:close/>
                  </a:path>
                </a:pathLst>
              </a:custGeom>
              <a:solidFill>
                <a:srgbClr val="39569E"/>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55000" lnSpcReduction="20000"/>
              </a:bodyPr>
              <a:lstStyle/>
              <a:p>
                <a:pPr algn="ctr"/>
                <a:endParaRPr/>
              </a:p>
            </p:txBody>
          </p:sp>
          <p:sp>
            <p:nvSpPr>
              <p:cNvPr id="86" name="ïṥ1îḓe">
                <a:extLst>
                  <a:ext uri="{FF2B5EF4-FFF2-40B4-BE49-F238E27FC236}">
                    <a16:creationId xmlns:a16="http://schemas.microsoft.com/office/drawing/2014/main" id="{EF13181F-65E9-47DF-BEDF-A844BB74E3F3}"/>
                  </a:ext>
                </a:extLst>
              </p:cNvPr>
              <p:cNvSpPr/>
              <p:nvPr/>
            </p:nvSpPr>
            <p:spPr bwMode="auto">
              <a:xfrm>
                <a:off x="8077200" y="2914651"/>
                <a:ext cx="101600" cy="150813"/>
              </a:xfrm>
              <a:custGeom>
                <a:avLst/>
                <a:gdLst>
                  <a:gd name="T0" fmla="*/ 6 w 34"/>
                  <a:gd name="T1" fmla="*/ 15 h 51"/>
                  <a:gd name="T2" fmla="*/ 34 w 34"/>
                  <a:gd name="T3" fmla="*/ 2 h 51"/>
                  <a:gd name="T4" fmla="*/ 33 w 34"/>
                  <a:gd name="T5" fmla="*/ 4 h 51"/>
                  <a:gd name="T6" fmla="*/ 9 w 34"/>
                  <a:gd name="T7" fmla="*/ 18 h 51"/>
                  <a:gd name="T8" fmla="*/ 17 w 34"/>
                  <a:gd name="T9" fmla="*/ 46 h 51"/>
                  <a:gd name="T10" fmla="*/ 14 w 34"/>
                  <a:gd name="T11" fmla="*/ 49 h 51"/>
                  <a:gd name="T12" fmla="*/ 6 w 34"/>
                  <a:gd name="T13" fmla="*/ 15 h 51"/>
                </a:gdLst>
                <a:ahLst/>
                <a:cxnLst>
                  <a:cxn ang="0">
                    <a:pos x="T0" y="T1"/>
                  </a:cxn>
                  <a:cxn ang="0">
                    <a:pos x="T2" y="T3"/>
                  </a:cxn>
                  <a:cxn ang="0">
                    <a:pos x="T4" y="T5"/>
                  </a:cxn>
                  <a:cxn ang="0">
                    <a:pos x="T6" y="T7"/>
                  </a:cxn>
                  <a:cxn ang="0">
                    <a:pos x="T8" y="T9"/>
                  </a:cxn>
                  <a:cxn ang="0">
                    <a:pos x="T10" y="T11"/>
                  </a:cxn>
                  <a:cxn ang="0">
                    <a:pos x="T12" y="T13"/>
                  </a:cxn>
                </a:cxnLst>
                <a:rect l="0" t="0" r="r" b="b"/>
                <a:pathLst>
                  <a:path w="34" h="51">
                    <a:moveTo>
                      <a:pt x="6" y="15"/>
                    </a:moveTo>
                    <a:cubicBezTo>
                      <a:pt x="11" y="5"/>
                      <a:pt x="22" y="0"/>
                      <a:pt x="34" y="2"/>
                    </a:cubicBezTo>
                    <a:cubicBezTo>
                      <a:pt x="34" y="2"/>
                      <a:pt x="34" y="4"/>
                      <a:pt x="33" y="4"/>
                    </a:cubicBezTo>
                    <a:cubicBezTo>
                      <a:pt x="23" y="3"/>
                      <a:pt x="12" y="8"/>
                      <a:pt x="9" y="18"/>
                    </a:cubicBezTo>
                    <a:cubicBezTo>
                      <a:pt x="5" y="29"/>
                      <a:pt x="10" y="38"/>
                      <a:pt x="17" y="46"/>
                    </a:cubicBezTo>
                    <a:cubicBezTo>
                      <a:pt x="18" y="48"/>
                      <a:pt x="15" y="51"/>
                      <a:pt x="14" y="49"/>
                    </a:cubicBezTo>
                    <a:cubicBezTo>
                      <a:pt x="6" y="39"/>
                      <a:pt x="0" y="28"/>
                      <a:pt x="6" y="15"/>
                    </a:cubicBezTo>
                    <a:close/>
                  </a:path>
                </a:pathLst>
              </a:custGeom>
              <a:solidFill>
                <a:srgbClr val="4361AA"/>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7" name="îṣļíḍè">
                <a:extLst>
                  <a:ext uri="{FF2B5EF4-FFF2-40B4-BE49-F238E27FC236}">
                    <a16:creationId xmlns:a16="http://schemas.microsoft.com/office/drawing/2014/main" id="{3B68FAB6-E7B0-4A9F-8A01-081090AF3051}"/>
                  </a:ext>
                </a:extLst>
              </p:cNvPr>
              <p:cNvSpPr/>
              <p:nvPr/>
            </p:nvSpPr>
            <p:spPr bwMode="auto">
              <a:xfrm>
                <a:off x="8024813" y="5449888"/>
                <a:ext cx="141288" cy="41275"/>
              </a:xfrm>
              <a:custGeom>
                <a:avLst/>
                <a:gdLst>
                  <a:gd name="T0" fmla="*/ 47 w 48"/>
                  <a:gd name="T1" fmla="*/ 3 h 14"/>
                  <a:gd name="T2" fmla="*/ 43 w 48"/>
                  <a:gd name="T3" fmla="*/ 8 h 14"/>
                  <a:gd name="T4" fmla="*/ 13 w 48"/>
                  <a:gd name="T5" fmla="*/ 10 h 14"/>
                  <a:gd name="T6" fmla="*/ 0 w 48"/>
                  <a:gd name="T7" fmla="*/ 7 h 14"/>
                  <a:gd name="T8" fmla="*/ 14 w 48"/>
                  <a:gd name="T9" fmla="*/ 0 h 14"/>
                  <a:gd name="T10" fmla="*/ 43 w 48"/>
                  <a:gd name="T11" fmla="*/ 0 h 14"/>
                  <a:gd name="T12" fmla="*/ 47 w 48"/>
                  <a:gd name="T13" fmla="*/ 3 h 14"/>
                </a:gdLst>
                <a:ahLst/>
                <a:cxnLst>
                  <a:cxn ang="0">
                    <a:pos x="T0" y="T1"/>
                  </a:cxn>
                  <a:cxn ang="0">
                    <a:pos x="T2" y="T3"/>
                  </a:cxn>
                  <a:cxn ang="0">
                    <a:pos x="T4" y="T5"/>
                  </a:cxn>
                  <a:cxn ang="0">
                    <a:pos x="T6" y="T7"/>
                  </a:cxn>
                  <a:cxn ang="0">
                    <a:pos x="T8" y="T9"/>
                  </a:cxn>
                  <a:cxn ang="0">
                    <a:pos x="T10" y="T11"/>
                  </a:cxn>
                  <a:cxn ang="0">
                    <a:pos x="T12" y="T13"/>
                  </a:cxn>
                </a:cxnLst>
                <a:rect l="0" t="0" r="r" b="b"/>
                <a:pathLst>
                  <a:path w="48" h="14">
                    <a:moveTo>
                      <a:pt x="47" y="3"/>
                    </a:moveTo>
                    <a:cubicBezTo>
                      <a:pt x="48" y="6"/>
                      <a:pt x="45" y="8"/>
                      <a:pt x="43" y="8"/>
                    </a:cubicBezTo>
                    <a:cubicBezTo>
                      <a:pt x="33" y="8"/>
                      <a:pt x="23" y="9"/>
                      <a:pt x="13" y="10"/>
                    </a:cubicBezTo>
                    <a:cubicBezTo>
                      <a:pt x="10" y="11"/>
                      <a:pt x="0" y="14"/>
                      <a:pt x="0" y="7"/>
                    </a:cubicBezTo>
                    <a:cubicBezTo>
                      <a:pt x="1" y="0"/>
                      <a:pt x="10" y="0"/>
                      <a:pt x="14" y="0"/>
                    </a:cubicBezTo>
                    <a:cubicBezTo>
                      <a:pt x="23" y="0"/>
                      <a:pt x="35" y="0"/>
                      <a:pt x="43" y="0"/>
                    </a:cubicBezTo>
                    <a:cubicBezTo>
                      <a:pt x="46" y="0"/>
                      <a:pt x="47" y="1"/>
                      <a:pt x="47" y="3"/>
                    </a:cubicBezTo>
                    <a:close/>
                  </a:path>
                </a:pathLst>
              </a:custGeom>
              <a:solidFill>
                <a:srgbClr val="ED78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8" name="iṧļiḑe">
                <a:extLst>
                  <a:ext uri="{FF2B5EF4-FFF2-40B4-BE49-F238E27FC236}">
                    <a16:creationId xmlns:a16="http://schemas.microsoft.com/office/drawing/2014/main" id="{6238E79B-A001-4851-B20C-6D248D87EF13}"/>
                  </a:ext>
                </a:extLst>
              </p:cNvPr>
              <p:cNvSpPr/>
              <p:nvPr/>
            </p:nvSpPr>
            <p:spPr bwMode="auto">
              <a:xfrm>
                <a:off x="8296275" y="5449888"/>
                <a:ext cx="142875" cy="41275"/>
              </a:xfrm>
              <a:custGeom>
                <a:avLst/>
                <a:gdLst>
                  <a:gd name="T0" fmla="*/ 48 w 48"/>
                  <a:gd name="T1" fmla="*/ 3 h 14"/>
                  <a:gd name="T2" fmla="*/ 44 w 48"/>
                  <a:gd name="T3" fmla="*/ 8 h 14"/>
                  <a:gd name="T4" fmla="*/ 14 w 48"/>
                  <a:gd name="T5" fmla="*/ 10 h 14"/>
                  <a:gd name="T6" fmla="*/ 1 w 48"/>
                  <a:gd name="T7" fmla="*/ 7 h 14"/>
                  <a:gd name="T8" fmla="*/ 14 w 48"/>
                  <a:gd name="T9" fmla="*/ 0 h 14"/>
                  <a:gd name="T10" fmla="*/ 44 w 48"/>
                  <a:gd name="T11" fmla="*/ 0 h 14"/>
                  <a:gd name="T12" fmla="*/ 48 w 48"/>
                  <a:gd name="T13" fmla="*/ 3 h 14"/>
                </a:gdLst>
                <a:ahLst/>
                <a:cxnLst>
                  <a:cxn ang="0">
                    <a:pos x="T0" y="T1"/>
                  </a:cxn>
                  <a:cxn ang="0">
                    <a:pos x="T2" y="T3"/>
                  </a:cxn>
                  <a:cxn ang="0">
                    <a:pos x="T4" y="T5"/>
                  </a:cxn>
                  <a:cxn ang="0">
                    <a:pos x="T6" y="T7"/>
                  </a:cxn>
                  <a:cxn ang="0">
                    <a:pos x="T8" y="T9"/>
                  </a:cxn>
                  <a:cxn ang="0">
                    <a:pos x="T10" y="T11"/>
                  </a:cxn>
                  <a:cxn ang="0">
                    <a:pos x="T12" y="T13"/>
                  </a:cxn>
                </a:cxnLst>
                <a:rect l="0" t="0" r="r" b="b"/>
                <a:pathLst>
                  <a:path w="48" h="14">
                    <a:moveTo>
                      <a:pt x="48" y="3"/>
                    </a:moveTo>
                    <a:cubicBezTo>
                      <a:pt x="48" y="6"/>
                      <a:pt x="45" y="8"/>
                      <a:pt x="44" y="8"/>
                    </a:cubicBezTo>
                    <a:cubicBezTo>
                      <a:pt x="34" y="8"/>
                      <a:pt x="24" y="9"/>
                      <a:pt x="14" y="10"/>
                    </a:cubicBezTo>
                    <a:cubicBezTo>
                      <a:pt x="10" y="11"/>
                      <a:pt x="0" y="14"/>
                      <a:pt x="1" y="7"/>
                    </a:cubicBezTo>
                    <a:cubicBezTo>
                      <a:pt x="1" y="0"/>
                      <a:pt x="10" y="0"/>
                      <a:pt x="14" y="0"/>
                    </a:cubicBezTo>
                    <a:cubicBezTo>
                      <a:pt x="23" y="0"/>
                      <a:pt x="35" y="0"/>
                      <a:pt x="44" y="0"/>
                    </a:cubicBezTo>
                    <a:cubicBezTo>
                      <a:pt x="46" y="0"/>
                      <a:pt x="48" y="1"/>
                      <a:pt x="48" y="3"/>
                    </a:cubicBezTo>
                    <a:close/>
                  </a:path>
                </a:pathLst>
              </a:custGeom>
              <a:solidFill>
                <a:srgbClr val="ED78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89" name="iSļíde">
                <a:extLst>
                  <a:ext uri="{FF2B5EF4-FFF2-40B4-BE49-F238E27FC236}">
                    <a16:creationId xmlns:a16="http://schemas.microsoft.com/office/drawing/2014/main" id="{16B88A62-2BBD-4414-9BC4-A45725AAF70F}"/>
                  </a:ext>
                </a:extLst>
              </p:cNvPr>
              <p:cNvSpPr/>
              <p:nvPr/>
            </p:nvSpPr>
            <p:spPr bwMode="auto">
              <a:xfrm>
                <a:off x="7924800" y="3990976"/>
                <a:ext cx="552450" cy="1462088"/>
              </a:xfrm>
              <a:custGeom>
                <a:avLst/>
                <a:gdLst>
                  <a:gd name="T0" fmla="*/ 41 w 187"/>
                  <a:gd name="T1" fmla="*/ 0 h 495"/>
                  <a:gd name="T2" fmla="*/ 138 w 187"/>
                  <a:gd name="T3" fmla="*/ 0 h 495"/>
                  <a:gd name="T4" fmla="*/ 160 w 187"/>
                  <a:gd name="T5" fmla="*/ 42 h 495"/>
                  <a:gd name="T6" fmla="*/ 181 w 187"/>
                  <a:gd name="T7" fmla="*/ 152 h 495"/>
                  <a:gd name="T8" fmla="*/ 168 w 187"/>
                  <a:gd name="T9" fmla="*/ 494 h 495"/>
                  <a:gd name="T10" fmla="*/ 158 w 187"/>
                  <a:gd name="T11" fmla="*/ 495 h 495"/>
                  <a:gd name="T12" fmla="*/ 104 w 187"/>
                  <a:gd name="T13" fmla="*/ 150 h 495"/>
                  <a:gd name="T14" fmla="*/ 76 w 187"/>
                  <a:gd name="T15" fmla="*/ 494 h 495"/>
                  <a:gd name="T16" fmla="*/ 66 w 187"/>
                  <a:gd name="T17" fmla="*/ 495 h 495"/>
                  <a:gd name="T18" fmla="*/ 29 w 187"/>
                  <a:gd name="T19" fmla="*/ 220 h 495"/>
                  <a:gd name="T20" fmla="*/ 29 w 187"/>
                  <a:gd name="T21" fmla="*/ 220 h 495"/>
                  <a:gd name="T22" fmla="*/ 41 w 187"/>
                  <a:gd name="T23"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495">
                    <a:moveTo>
                      <a:pt x="41" y="0"/>
                    </a:moveTo>
                    <a:cubicBezTo>
                      <a:pt x="138" y="0"/>
                      <a:pt x="138" y="0"/>
                      <a:pt x="138" y="0"/>
                    </a:cubicBezTo>
                    <a:cubicBezTo>
                      <a:pt x="143" y="15"/>
                      <a:pt x="150" y="29"/>
                      <a:pt x="160" y="42"/>
                    </a:cubicBezTo>
                    <a:cubicBezTo>
                      <a:pt x="187" y="74"/>
                      <a:pt x="187" y="105"/>
                      <a:pt x="181" y="152"/>
                    </a:cubicBezTo>
                    <a:cubicBezTo>
                      <a:pt x="182" y="224"/>
                      <a:pt x="172" y="422"/>
                      <a:pt x="168" y="494"/>
                    </a:cubicBezTo>
                    <a:cubicBezTo>
                      <a:pt x="158" y="495"/>
                      <a:pt x="158" y="495"/>
                      <a:pt x="158" y="495"/>
                    </a:cubicBezTo>
                    <a:cubicBezTo>
                      <a:pt x="152" y="433"/>
                      <a:pt x="104" y="150"/>
                      <a:pt x="104" y="150"/>
                    </a:cubicBezTo>
                    <a:cubicBezTo>
                      <a:pt x="104" y="150"/>
                      <a:pt x="79" y="432"/>
                      <a:pt x="76" y="494"/>
                    </a:cubicBezTo>
                    <a:cubicBezTo>
                      <a:pt x="66" y="495"/>
                      <a:pt x="66" y="495"/>
                      <a:pt x="66" y="495"/>
                    </a:cubicBezTo>
                    <a:cubicBezTo>
                      <a:pt x="58" y="423"/>
                      <a:pt x="36" y="292"/>
                      <a:pt x="29" y="220"/>
                    </a:cubicBezTo>
                    <a:cubicBezTo>
                      <a:pt x="29" y="220"/>
                      <a:pt x="29" y="220"/>
                      <a:pt x="29" y="220"/>
                    </a:cubicBezTo>
                    <a:cubicBezTo>
                      <a:pt x="22" y="166"/>
                      <a:pt x="0" y="93"/>
                      <a:pt x="41" y="0"/>
                    </a:cubicBezTo>
                    <a:close/>
                  </a:path>
                </a:pathLst>
              </a:custGeom>
              <a:solidFill>
                <a:srgbClr val="4A64AD"/>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90" name="íšļïḋè">
                <a:extLst>
                  <a:ext uri="{FF2B5EF4-FFF2-40B4-BE49-F238E27FC236}">
                    <a16:creationId xmlns:a16="http://schemas.microsoft.com/office/drawing/2014/main" id="{1EC89074-BED5-4BEA-994E-03C483573783}"/>
                  </a:ext>
                </a:extLst>
              </p:cNvPr>
              <p:cNvSpPr/>
              <p:nvPr/>
            </p:nvSpPr>
            <p:spPr bwMode="auto">
              <a:xfrm>
                <a:off x="7445375" y="3387726"/>
                <a:ext cx="984250" cy="809625"/>
              </a:xfrm>
              <a:custGeom>
                <a:avLst/>
                <a:gdLst>
                  <a:gd name="T0" fmla="*/ 299 w 333"/>
                  <a:gd name="T1" fmla="*/ 136 h 274"/>
                  <a:gd name="T2" fmla="*/ 300 w 333"/>
                  <a:gd name="T3" fmla="*/ 132 h 274"/>
                  <a:gd name="T4" fmla="*/ 311 w 333"/>
                  <a:gd name="T5" fmla="*/ 96 h 274"/>
                  <a:gd name="T6" fmla="*/ 317 w 333"/>
                  <a:gd name="T7" fmla="*/ 64 h 274"/>
                  <a:gd name="T8" fmla="*/ 262 w 333"/>
                  <a:gd name="T9" fmla="*/ 12 h 274"/>
                  <a:gd name="T10" fmla="*/ 6 w 333"/>
                  <a:gd name="T11" fmla="*/ 0 h 274"/>
                  <a:gd name="T12" fmla="*/ 0 w 333"/>
                  <a:gd name="T13" fmla="*/ 18 h 274"/>
                  <a:gd name="T14" fmla="*/ 200 w 333"/>
                  <a:gd name="T15" fmla="*/ 67 h 274"/>
                  <a:gd name="T16" fmla="*/ 202 w 333"/>
                  <a:gd name="T17" fmla="*/ 122 h 274"/>
                  <a:gd name="T18" fmla="*/ 204 w 333"/>
                  <a:gd name="T19" fmla="*/ 145 h 274"/>
                  <a:gd name="T20" fmla="*/ 204 w 333"/>
                  <a:gd name="T21" fmla="*/ 159 h 274"/>
                  <a:gd name="T22" fmla="*/ 180 w 333"/>
                  <a:gd name="T23" fmla="*/ 245 h 274"/>
                  <a:gd name="T24" fmla="*/ 180 w 333"/>
                  <a:gd name="T25" fmla="*/ 245 h 274"/>
                  <a:gd name="T26" fmla="*/ 333 w 333"/>
                  <a:gd name="T27" fmla="*/ 245 h 274"/>
                  <a:gd name="T28" fmla="*/ 299 w 333"/>
                  <a:gd name="T29" fmla="*/ 13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3" h="274">
                    <a:moveTo>
                      <a:pt x="299" y="136"/>
                    </a:moveTo>
                    <a:cubicBezTo>
                      <a:pt x="299" y="135"/>
                      <a:pt x="300" y="133"/>
                      <a:pt x="300" y="132"/>
                    </a:cubicBezTo>
                    <a:cubicBezTo>
                      <a:pt x="304" y="120"/>
                      <a:pt x="307" y="108"/>
                      <a:pt x="311" y="96"/>
                    </a:cubicBezTo>
                    <a:cubicBezTo>
                      <a:pt x="314" y="85"/>
                      <a:pt x="317" y="75"/>
                      <a:pt x="317" y="64"/>
                    </a:cubicBezTo>
                    <a:cubicBezTo>
                      <a:pt x="316" y="32"/>
                      <a:pt x="295" y="16"/>
                      <a:pt x="262" y="12"/>
                    </a:cubicBezTo>
                    <a:cubicBezTo>
                      <a:pt x="227" y="8"/>
                      <a:pt x="166" y="52"/>
                      <a:pt x="6" y="0"/>
                    </a:cubicBezTo>
                    <a:cubicBezTo>
                      <a:pt x="3" y="6"/>
                      <a:pt x="1" y="12"/>
                      <a:pt x="0" y="18"/>
                    </a:cubicBezTo>
                    <a:cubicBezTo>
                      <a:pt x="66" y="65"/>
                      <a:pt x="200" y="67"/>
                      <a:pt x="200" y="67"/>
                    </a:cubicBezTo>
                    <a:cubicBezTo>
                      <a:pt x="197" y="80"/>
                      <a:pt x="166" y="89"/>
                      <a:pt x="202" y="122"/>
                    </a:cubicBezTo>
                    <a:cubicBezTo>
                      <a:pt x="203" y="122"/>
                      <a:pt x="204" y="145"/>
                      <a:pt x="204" y="145"/>
                    </a:cubicBezTo>
                    <a:cubicBezTo>
                      <a:pt x="204" y="159"/>
                      <a:pt x="204" y="159"/>
                      <a:pt x="204" y="159"/>
                    </a:cubicBezTo>
                    <a:cubicBezTo>
                      <a:pt x="204" y="190"/>
                      <a:pt x="196" y="219"/>
                      <a:pt x="180" y="245"/>
                    </a:cubicBezTo>
                    <a:cubicBezTo>
                      <a:pt x="180" y="245"/>
                      <a:pt x="180" y="245"/>
                      <a:pt x="180" y="245"/>
                    </a:cubicBezTo>
                    <a:cubicBezTo>
                      <a:pt x="243" y="274"/>
                      <a:pt x="333" y="246"/>
                      <a:pt x="333" y="245"/>
                    </a:cubicBezTo>
                    <a:cubicBezTo>
                      <a:pt x="308" y="215"/>
                      <a:pt x="288" y="174"/>
                      <a:pt x="299" y="136"/>
                    </a:cubicBezTo>
                    <a:close/>
                  </a:path>
                </a:pathLst>
              </a:custGeom>
              <a:solidFill>
                <a:srgbClr val="EB6280"/>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lnSpcReduction="10000"/>
              </a:bodyPr>
              <a:lstStyle/>
              <a:p>
                <a:pPr algn="ctr"/>
                <a:endParaRPr/>
              </a:p>
            </p:txBody>
          </p:sp>
          <p:sp>
            <p:nvSpPr>
              <p:cNvPr id="91" name="iš1íḑè">
                <a:extLst>
                  <a:ext uri="{FF2B5EF4-FFF2-40B4-BE49-F238E27FC236}">
                    <a16:creationId xmlns:a16="http://schemas.microsoft.com/office/drawing/2014/main" id="{00E78ACA-C316-459E-B2AF-48D1F62CF11E}"/>
                  </a:ext>
                </a:extLst>
              </p:cNvPr>
              <p:cNvSpPr/>
              <p:nvPr/>
            </p:nvSpPr>
            <p:spPr bwMode="auto">
              <a:xfrm>
                <a:off x="8059738" y="4389438"/>
                <a:ext cx="341313" cy="76200"/>
              </a:xfrm>
              <a:custGeom>
                <a:avLst/>
                <a:gdLst>
                  <a:gd name="T0" fmla="*/ 68 w 115"/>
                  <a:gd name="T1" fmla="*/ 5 h 26"/>
                  <a:gd name="T2" fmla="*/ 83 w 115"/>
                  <a:gd name="T3" fmla="*/ 12 h 26"/>
                  <a:gd name="T4" fmla="*/ 112 w 115"/>
                  <a:gd name="T5" fmla="*/ 18 h 26"/>
                  <a:gd name="T6" fmla="*/ 115 w 115"/>
                  <a:gd name="T7" fmla="*/ 18 h 26"/>
                  <a:gd name="T8" fmla="*/ 79 w 115"/>
                  <a:gd name="T9" fmla="*/ 17 h 26"/>
                  <a:gd name="T10" fmla="*/ 51 w 115"/>
                  <a:gd name="T11" fmla="*/ 15 h 26"/>
                  <a:gd name="T12" fmla="*/ 13 w 115"/>
                  <a:gd name="T13" fmla="*/ 23 h 26"/>
                  <a:gd name="T14" fmla="*/ 0 w 115"/>
                  <a:gd name="T15" fmla="*/ 19 h 26"/>
                  <a:gd name="T16" fmla="*/ 47 w 115"/>
                  <a:gd name="T17" fmla="*/ 7 h 26"/>
                  <a:gd name="T18" fmla="*/ 68 w 115"/>
                  <a:gd name="T1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6">
                    <a:moveTo>
                      <a:pt x="68" y="5"/>
                    </a:moveTo>
                    <a:cubicBezTo>
                      <a:pt x="73" y="7"/>
                      <a:pt x="78" y="10"/>
                      <a:pt x="83" y="12"/>
                    </a:cubicBezTo>
                    <a:cubicBezTo>
                      <a:pt x="93" y="16"/>
                      <a:pt x="102" y="18"/>
                      <a:pt x="112" y="18"/>
                    </a:cubicBezTo>
                    <a:cubicBezTo>
                      <a:pt x="113" y="18"/>
                      <a:pt x="114" y="18"/>
                      <a:pt x="115" y="18"/>
                    </a:cubicBezTo>
                    <a:cubicBezTo>
                      <a:pt x="103" y="21"/>
                      <a:pt x="91" y="20"/>
                      <a:pt x="79" y="17"/>
                    </a:cubicBezTo>
                    <a:cubicBezTo>
                      <a:pt x="69" y="15"/>
                      <a:pt x="62" y="11"/>
                      <a:pt x="51" y="15"/>
                    </a:cubicBezTo>
                    <a:cubicBezTo>
                      <a:pt x="38" y="20"/>
                      <a:pt x="28" y="26"/>
                      <a:pt x="13" y="23"/>
                    </a:cubicBezTo>
                    <a:cubicBezTo>
                      <a:pt x="8" y="22"/>
                      <a:pt x="4" y="20"/>
                      <a:pt x="0" y="19"/>
                    </a:cubicBezTo>
                    <a:cubicBezTo>
                      <a:pt x="16" y="19"/>
                      <a:pt x="32" y="15"/>
                      <a:pt x="47" y="7"/>
                    </a:cubicBezTo>
                    <a:cubicBezTo>
                      <a:pt x="55" y="4"/>
                      <a:pt x="60" y="0"/>
                      <a:pt x="68" y="5"/>
                    </a:cubicBezTo>
                    <a:close/>
                  </a:path>
                </a:pathLst>
              </a:custGeom>
              <a:solidFill>
                <a:srgbClr val="3851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2" name="íṩľíḑè">
                <a:extLst>
                  <a:ext uri="{FF2B5EF4-FFF2-40B4-BE49-F238E27FC236}">
                    <a16:creationId xmlns:a16="http://schemas.microsoft.com/office/drawing/2014/main" id="{417F4DB7-1C25-4372-B79C-1933DD44143A}"/>
                  </a:ext>
                </a:extLst>
              </p:cNvPr>
              <p:cNvSpPr/>
              <p:nvPr/>
            </p:nvSpPr>
            <p:spPr bwMode="auto">
              <a:xfrm>
                <a:off x="8243888" y="3459163"/>
                <a:ext cx="127000" cy="196850"/>
              </a:xfrm>
              <a:custGeom>
                <a:avLst/>
                <a:gdLst>
                  <a:gd name="T0" fmla="*/ 5 w 43"/>
                  <a:gd name="T1" fmla="*/ 1 h 67"/>
                  <a:gd name="T2" fmla="*/ 33 w 43"/>
                  <a:gd name="T3" fmla="*/ 59 h 67"/>
                  <a:gd name="T4" fmla="*/ 20 w 43"/>
                  <a:gd name="T5" fmla="*/ 51 h 67"/>
                  <a:gd name="T6" fmla="*/ 3 w 43"/>
                  <a:gd name="T7" fmla="*/ 5 h 67"/>
                  <a:gd name="T8" fmla="*/ 5 w 43"/>
                  <a:gd name="T9" fmla="*/ 1 h 67"/>
                </a:gdLst>
                <a:ahLst/>
                <a:cxnLst>
                  <a:cxn ang="0">
                    <a:pos x="T0" y="T1"/>
                  </a:cxn>
                  <a:cxn ang="0">
                    <a:pos x="T2" y="T3"/>
                  </a:cxn>
                  <a:cxn ang="0">
                    <a:pos x="T4" y="T5"/>
                  </a:cxn>
                  <a:cxn ang="0">
                    <a:pos x="T6" y="T7"/>
                  </a:cxn>
                  <a:cxn ang="0">
                    <a:pos x="T8" y="T9"/>
                  </a:cxn>
                </a:cxnLst>
                <a:rect l="0" t="0" r="r" b="b"/>
                <a:pathLst>
                  <a:path w="43" h="67">
                    <a:moveTo>
                      <a:pt x="5" y="1"/>
                    </a:moveTo>
                    <a:cubicBezTo>
                      <a:pt x="32" y="7"/>
                      <a:pt x="43" y="34"/>
                      <a:pt x="33" y="59"/>
                    </a:cubicBezTo>
                    <a:cubicBezTo>
                      <a:pt x="29" y="67"/>
                      <a:pt x="16" y="60"/>
                      <a:pt x="20" y="51"/>
                    </a:cubicBezTo>
                    <a:cubicBezTo>
                      <a:pt x="29" y="33"/>
                      <a:pt x="21" y="14"/>
                      <a:pt x="3" y="5"/>
                    </a:cubicBezTo>
                    <a:cubicBezTo>
                      <a:pt x="0" y="4"/>
                      <a:pt x="2" y="0"/>
                      <a:pt x="5" y="1"/>
                    </a:cubicBezTo>
                    <a:close/>
                  </a:path>
                </a:pathLst>
              </a:custGeom>
              <a:solidFill>
                <a:srgbClr val="F090A9"/>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3" name="iŝliḍè">
                <a:extLst>
                  <a:ext uri="{FF2B5EF4-FFF2-40B4-BE49-F238E27FC236}">
                    <a16:creationId xmlns:a16="http://schemas.microsoft.com/office/drawing/2014/main" id="{ED4E8AC1-F5AF-49C2-89B9-AA24A034A749}"/>
                  </a:ext>
                </a:extLst>
              </p:cNvPr>
              <p:cNvSpPr/>
              <p:nvPr/>
            </p:nvSpPr>
            <p:spPr bwMode="auto">
              <a:xfrm>
                <a:off x="8288338" y="4194176"/>
                <a:ext cx="141288" cy="204788"/>
              </a:xfrm>
              <a:custGeom>
                <a:avLst/>
                <a:gdLst>
                  <a:gd name="T0" fmla="*/ 8 w 48"/>
                  <a:gd name="T1" fmla="*/ 55 h 69"/>
                  <a:gd name="T2" fmla="*/ 3 w 48"/>
                  <a:gd name="T3" fmla="*/ 47 h 69"/>
                  <a:gd name="T4" fmla="*/ 1 w 48"/>
                  <a:gd name="T5" fmla="*/ 34 h 69"/>
                  <a:gd name="T6" fmla="*/ 0 w 48"/>
                  <a:gd name="T7" fmla="*/ 6 h 69"/>
                  <a:gd name="T8" fmla="*/ 1 w 48"/>
                  <a:gd name="T9" fmla="*/ 9 h 69"/>
                  <a:gd name="T10" fmla="*/ 2 w 48"/>
                  <a:gd name="T11" fmla="*/ 21 h 69"/>
                  <a:gd name="T12" fmla="*/ 6 w 48"/>
                  <a:gd name="T13" fmla="*/ 44 h 69"/>
                  <a:gd name="T14" fmla="*/ 28 w 48"/>
                  <a:gd name="T15" fmla="*/ 60 h 69"/>
                  <a:gd name="T16" fmla="*/ 39 w 48"/>
                  <a:gd name="T17" fmla="*/ 50 h 69"/>
                  <a:gd name="T18" fmla="*/ 44 w 48"/>
                  <a:gd name="T19" fmla="*/ 39 h 69"/>
                  <a:gd name="T20" fmla="*/ 35 w 48"/>
                  <a:gd name="T21" fmla="*/ 1 h 69"/>
                  <a:gd name="T22" fmla="*/ 36 w 48"/>
                  <a:gd name="T23" fmla="*/ 1 h 69"/>
                  <a:gd name="T24" fmla="*/ 45 w 48"/>
                  <a:gd name="T25" fmla="*/ 28 h 69"/>
                  <a:gd name="T26" fmla="*/ 41 w 48"/>
                  <a:gd name="T27" fmla="*/ 56 h 69"/>
                  <a:gd name="T28" fmla="*/ 35 w 48"/>
                  <a:gd name="T29" fmla="*/ 63 h 69"/>
                  <a:gd name="T30" fmla="*/ 12 w 48"/>
                  <a:gd name="T31" fmla="*/ 58 h 69"/>
                  <a:gd name="T32" fmla="*/ 8 w 48"/>
                  <a:gd name="T33" fmla="*/ 5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69">
                    <a:moveTo>
                      <a:pt x="8" y="55"/>
                    </a:moveTo>
                    <a:cubicBezTo>
                      <a:pt x="6" y="52"/>
                      <a:pt x="4" y="50"/>
                      <a:pt x="3" y="47"/>
                    </a:cubicBezTo>
                    <a:cubicBezTo>
                      <a:pt x="2" y="43"/>
                      <a:pt x="2" y="38"/>
                      <a:pt x="1" y="34"/>
                    </a:cubicBezTo>
                    <a:cubicBezTo>
                      <a:pt x="0" y="25"/>
                      <a:pt x="0" y="16"/>
                      <a:pt x="0" y="6"/>
                    </a:cubicBezTo>
                    <a:cubicBezTo>
                      <a:pt x="1" y="7"/>
                      <a:pt x="1" y="8"/>
                      <a:pt x="1" y="9"/>
                    </a:cubicBezTo>
                    <a:cubicBezTo>
                      <a:pt x="2" y="13"/>
                      <a:pt x="2" y="17"/>
                      <a:pt x="2" y="21"/>
                    </a:cubicBezTo>
                    <a:cubicBezTo>
                      <a:pt x="3" y="29"/>
                      <a:pt x="3" y="37"/>
                      <a:pt x="6" y="44"/>
                    </a:cubicBezTo>
                    <a:cubicBezTo>
                      <a:pt x="10" y="52"/>
                      <a:pt x="19" y="59"/>
                      <a:pt x="28" y="60"/>
                    </a:cubicBezTo>
                    <a:cubicBezTo>
                      <a:pt x="32" y="58"/>
                      <a:pt x="36" y="53"/>
                      <a:pt x="39" y="50"/>
                    </a:cubicBezTo>
                    <a:cubicBezTo>
                      <a:pt x="42" y="46"/>
                      <a:pt x="43" y="41"/>
                      <a:pt x="44" y="39"/>
                    </a:cubicBezTo>
                    <a:cubicBezTo>
                      <a:pt x="44" y="27"/>
                      <a:pt x="38" y="12"/>
                      <a:pt x="35" y="1"/>
                    </a:cubicBezTo>
                    <a:cubicBezTo>
                      <a:pt x="35" y="0"/>
                      <a:pt x="36" y="0"/>
                      <a:pt x="36" y="1"/>
                    </a:cubicBezTo>
                    <a:cubicBezTo>
                      <a:pt x="40" y="9"/>
                      <a:pt x="43" y="18"/>
                      <a:pt x="45" y="28"/>
                    </a:cubicBezTo>
                    <a:cubicBezTo>
                      <a:pt x="48" y="38"/>
                      <a:pt x="48" y="47"/>
                      <a:pt x="41" y="56"/>
                    </a:cubicBezTo>
                    <a:cubicBezTo>
                      <a:pt x="39" y="58"/>
                      <a:pt x="37" y="61"/>
                      <a:pt x="35" y="63"/>
                    </a:cubicBezTo>
                    <a:cubicBezTo>
                      <a:pt x="28" y="69"/>
                      <a:pt x="18" y="64"/>
                      <a:pt x="12" y="58"/>
                    </a:cubicBezTo>
                    <a:cubicBezTo>
                      <a:pt x="11" y="57"/>
                      <a:pt x="10" y="56"/>
                      <a:pt x="8" y="55"/>
                    </a:cubicBezTo>
                    <a:close/>
                  </a:path>
                </a:pathLst>
              </a:custGeom>
              <a:solidFill>
                <a:srgbClr val="3851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4" name="îşḷîdê">
                <a:extLst>
                  <a:ext uri="{FF2B5EF4-FFF2-40B4-BE49-F238E27FC236}">
                    <a16:creationId xmlns:a16="http://schemas.microsoft.com/office/drawing/2014/main" id="{18BFF1AC-4496-4DF7-A7E9-2081F4E5F581}"/>
                  </a:ext>
                </a:extLst>
              </p:cNvPr>
              <p:cNvSpPr/>
              <p:nvPr/>
            </p:nvSpPr>
            <p:spPr bwMode="auto">
              <a:xfrm>
                <a:off x="8032750" y="4194176"/>
                <a:ext cx="142875" cy="204788"/>
              </a:xfrm>
              <a:custGeom>
                <a:avLst/>
                <a:gdLst>
                  <a:gd name="T0" fmla="*/ 39 w 48"/>
                  <a:gd name="T1" fmla="*/ 55 h 69"/>
                  <a:gd name="T2" fmla="*/ 44 w 48"/>
                  <a:gd name="T3" fmla="*/ 47 h 69"/>
                  <a:gd name="T4" fmla="*/ 47 w 48"/>
                  <a:gd name="T5" fmla="*/ 34 h 69"/>
                  <a:gd name="T6" fmla="*/ 47 w 48"/>
                  <a:gd name="T7" fmla="*/ 6 h 69"/>
                  <a:gd name="T8" fmla="*/ 46 w 48"/>
                  <a:gd name="T9" fmla="*/ 9 h 69"/>
                  <a:gd name="T10" fmla="*/ 45 w 48"/>
                  <a:gd name="T11" fmla="*/ 21 h 69"/>
                  <a:gd name="T12" fmla="*/ 41 w 48"/>
                  <a:gd name="T13" fmla="*/ 44 h 69"/>
                  <a:gd name="T14" fmla="*/ 19 w 48"/>
                  <a:gd name="T15" fmla="*/ 60 h 69"/>
                  <a:gd name="T16" fmla="*/ 8 w 48"/>
                  <a:gd name="T17" fmla="*/ 50 h 69"/>
                  <a:gd name="T18" fmla="*/ 4 w 48"/>
                  <a:gd name="T19" fmla="*/ 39 h 69"/>
                  <a:gd name="T20" fmla="*/ 13 w 48"/>
                  <a:gd name="T21" fmla="*/ 1 h 69"/>
                  <a:gd name="T22" fmla="*/ 11 w 48"/>
                  <a:gd name="T23" fmla="*/ 1 h 69"/>
                  <a:gd name="T24" fmla="*/ 2 w 48"/>
                  <a:gd name="T25" fmla="*/ 28 h 69"/>
                  <a:gd name="T26" fmla="*/ 6 w 48"/>
                  <a:gd name="T27" fmla="*/ 56 h 69"/>
                  <a:gd name="T28" fmla="*/ 13 w 48"/>
                  <a:gd name="T29" fmla="*/ 63 h 69"/>
                  <a:gd name="T30" fmla="*/ 36 w 48"/>
                  <a:gd name="T31" fmla="*/ 58 h 69"/>
                  <a:gd name="T32" fmla="*/ 39 w 48"/>
                  <a:gd name="T33" fmla="*/ 5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69">
                    <a:moveTo>
                      <a:pt x="39" y="55"/>
                    </a:moveTo>
                    <a:cubicBezTo>
                      <a:pt x="41" y="52"/>
                      <a:pt x="43" y="50"/>
                      <a:pt x="44" y="47"/>
                    </a:cubicBezTo>
                    <a:cubicBezTo>
                      <a:pt x="46" y="43"/>
                      <a:pt x="46" y="38"/>
                      <a:pt x="47" y="34"/>
                    </a:cubicBezTo>
                    <a:cubicBezTo>
                      <a:pt x="48" y="25"/>
                      <a:pt x="48" y="16"/>
                      <a:pt x="47" y="6"/>
                    </a:cubicBezTo>
                    <a:cubicBezTo>
                      <a:pt x="46" y="7"/>
                      <a:pt x="46" y="8"/>
                      <a:pt x="46" y="9"/>
                    </a:cubicBezTo>
                    <a:cubicBezTo>
                      <a:pt x="46" y="13"/>
                      <a:pt x="46" y="17"/>
                      <a:pt x="45" y="21"/>
                    </a:cubicBezTo>
                    <a:cubicBezTo>
                      <a:pt x="45" y="29"/>
                      <a:pt x="44" y="37"/>
                      <a:pt x="41" y="44"/>
                    </a:cubicBezTo>
                    <a:cubicBezTo>
                      <a:pt x="38" y="52"/>
                      <a:pt x="29" y="59"/>
                      <a:pt x="19" y="60"/>
                    </a:cubicBezTo>
                    <a:cubicBezTo>
                      <a:pt x="16" y="58"/>
                      <a:pt x="12" y="53"/>
                      <a:pt x="8" y="50"/>
                    </a:cubicBezTo>
                    <a:cubicBezTo>
                      <a:pt x="6" y="46"/>
                      <a:pt x="4" y="41"/>
                      <a:pt x="4" y="39"/>
                    </a:cubicBezTo>
                    <a:cubicBezTo>
                      <a:pt x="3" y="27"/>
                      <a:pt x="9" y="12"/>
                      <a:pt x="13" y="1"/>
                    </a:cubicBezTo>
                    <a:cubicBezTo>
                      <a:pt x="13" y="0"/>
                      <a:pt x="12" y="0"/>
                      <a:pt x="11" y="1"/>
                    </a:cubicBezTo>
                    <a:cubicBezTo>
                      <a:pt x="8" y="9"/>
                      <a:pt x="5" y="18"/>
                      <a:pt x="2" y="28"/>
                    </a:cubicBezTo>
                    <a:cubicBezTo>
                      <a:pt x="0" y="38"/>
                      <a:pt x="0" y="47"/>
                      <a:pt x="6" y="56"/>
                    </a:cubicBezTo>
                    <a:cubicBezTo>
                      <a:pt x="8" y="58"/>
                      <a:pt x="10" y="61"/>
                      <a:pt x="13" y="63"/>
                    </a:cubicBezTo>
                    <a:cubicBezTo>
                      <a:pt x="20" y="69"/>
                      <a:pt x="30" y="64"/>
                      <a:pt x="36" y="58"/>
                    </a:cubicBezTo>
                    <a:cubicBezTo>
                      <a:pt x="37" y="57"/>
                      <a:pt x="38" y="56"/>
                      <a:pt x="39" y="55"/>
                    </a:cubicBezTo>
                    <a:close/>
                  </a:path>
                </a:pathLst>
              </a:custGeom>
              <a:solidFill>
                <a:srgbClr val="38519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25000" lnSpcReduction="20000"/>
              </a:bodyPr>
              <a:lstStyle/>
              <a:p>
                <a:pPr algn="ctr"/>
                <a:endParaRPr/>
              </a:p>
            </p:txBody>
          </p:sp>
          <p:sp>
            <p:nvSpPr>
              <p:cNvPr id="95" name="ïṡľiḍê">
                <a:extLst>
                  <a:ext uri="{FF2B5EF4-FFF2-40B4-BE49-F238E27FC236}">
                    <a16:creationId xmlns:a16="http://schemas.microsoft.com/office/drawing/2014/main" id="{9794DFF3-326F-4777-98D6-9826A3680712}"/>
                  </a:ext>
                </a:extLst>
              </p:cNvPr>
              <p:cNvSpPr/>
              <p:nvPr/>
            </p:nvSpPr>
            <p:spPr bwMode="auto">
              <a:xfrm>
                <a:off x="7213600" y="2265363"/>
                <a:ext cx="568325" cy="419100"/>
              </a:xfrm>
              <a:custGeom>
                <a:avLst/>
                <a:gdLst>
                  <a:gd name="T0" fmla="*/ 175 w 192"/>
                  <a:gd name="T1" fmla="*/ 0 h 142"/>
                  <a:gd name="T2" fmla="*/ 16 w 192"/>
                  <a:gd name="T3" fmla="*/ 0 h 142"/>
                  <a:gd name="T4" fmla="*/ 0 w 192"/>
                  <a:gd name="T5" fmla="*/ 16 h 142"/>
                  <a:gd name="T6" fmla="*/ 0 w 192"/>
                  <a:gd name="T7" fmla="*/ 90 h 142"/>
                  <a:gd name="T8" fmla="*/ 16 w 192"/>
                  <a:gd name="T9" fmla="*/ 106 h 142"/>
                  <a:gd name="T10" fmla="*/ 155 w 192"/>
                  <a:gd name="T11" fmla="*/ 106 h 142"/>
                  <a:gd name="T12" fmla="*/ 172 w 192"/>
                  <a:gd name="T13" fmla="*/ 142 h 142"/>
                  <a:gd name="T14" fmla="*/ 172 w 192"/>
                  <a:gd name="T15" fmla="*/ 106 h 142"/>
                  <a:gd name="T16" fmla="*/ 175 w 192"/>
                  <a:gd name="T17" fmla="*/ 106 h 142"/>
                  <a:gd name="T18" fmla="*/ 192 w 192"/>
                  <a:gd name="T19" fmla="*/ 90 h 142"/>
                  <a:gd name="T20" fmla="*/ 192 w 192"/>
                  <a:gd name="T21" fmla="*/ 16 h 142"/>
                  <a:gd name="T22" fmla="*/ 175 w 192"/>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142">
                    <a:moveTo>
                      <a:pt x="175" y="0"/>
                    </a:moveTo>
                    <a:cubicBezTo>
                      <a:pt x="16" y="0"/>
                      <a:pt x="16" y="0"/>
                      <a:pt x="16" y="0"/>
                    </a:cubicBezTo>
                    <a:cubicBezTo>
                      <a:pt x="7" y="0"/>
                      <a:pt x="0" y="7"/>
                      <a:pt x="0" y="16"/>
                    </a:cubicBezTo>
                    <a:cubicBezTo>
                      <a:pt x="0" y="90"/>
                      <a:pt x="0" y="90"/>
                      <a:pt x="0" y="90"/>
                    </a:cubicBezTo>
                    <a:cubicBezTo>
                      <a:pt x="0" y="98"/>
                      <a:pt x="7" y="106"/>
                      <a:pt x="16" y="106"/>
                    </a:cubicBezTo>
                    <a:cubicBezTo>
                      <a:pt x="155" y="106"/>
                      <a:pt x="155" y="106"/>
                      <a:pt x="155" y="106"/>
                    </a:cubicBezTo>
                    <a:cubicBezTo>
                      <a:pt x="172" y="142"/>
                      <a:pt x="172" y="142"/>
                      <a:pt x="172" y="142"/>
                    </a:cubicBezTo>
                    <a:cubicBezTo>
                      <a:pt x="172" y="106"/>
                      <a:pt x="172" y="106"/>
                      <a:pt x="172" y="106"/>
                    </a:cubicBezTo>
                    <a:cubicBezTo>
                      <a:pt x="175" y="106"/>
                      <a:pt x="175" y="106"/>
                      <a:pt x="175" y="106"/>
                    </a:cubicBezTo>
                    <a:cubicBezTo>
                      <a:pt x="184" y="106"/>
                      <a:pt x="192" y="98"/>
                      <a:pt x="192" y="90"/>
                    </a:cubicBezTo>
                    <a:cubicBezTo>
                      <a:pt x="192" y="16"/>
                      <a:pt x="192" y="16"/>
                      <a:pt x="192" y="16"/>
                    </a:cubicBezTo>
                    <a:cubicBezTo>
                      <a:pt x="192" y="7"/>
                      <a:pt x="184" y="0"/>
                      <a:pt x="175" y="0"/>
                    </a:cubicBezTo>
                    <a:close/>
                  </a:path>
                </a:pathLst>
              </a:custGeom>
              <a:solidFill>
                <a:srgbClr val="E3E2F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32500" lnSpcReduction="20000"/>
              </a:bodyPr>
              <a:lstStyle/>
              <a:p>
                <a:pPr algn="ctr"/>
                <a:endParaRPr/>
              </a:p>
            </p:txBody>
          </p:sp>
          <p:sp>
            <p:nvSpPr>
              <p:cNvPr id="96" name="îšľidè">
                <a:extLst>
                  <a:ext uri="{FF2B5EF4-FFF2-40B4-BE49-F238E27FC236}">
                    <a16:creationId xmlns:a16="http://schemas.microsoft.com/office/drawing/2014/main" id="{82E9AA35-E78B-46DD-A9A5-6176C8515750}"/>
                  </a:ext>
                </a:extLst>
              </p:cNvPr>
              <p:cNvSpPr/>
              <p:nvPr/>
            </p:nvSpPr>
            <p:spPr bwMode="auto">
              <a:xfrm>
                <a:off x="6989763" y="2406651"/>
                <a:ext cx="568325" cy="422275"/>
              </a:xfrm>
              <a:custGeom>
                <a:avLst/>
                <a:gdLst>
                  <a:gd name="T0" fmla="*/ 16 w 192"/>
                  <a:gd name="T1" fmla="*/ 0 h 143"/>
                  <a:gd name="T2" fmla="*/ 176 w 192"/>
                  <a:gd name="T3" fmla="*/ 0 h 143"/>
                  <a:gd name="T4" fmla="*/ 192 w 192"/>
                  <a:gd name="T5" fmla="*/ 16 h 143"/>
                  <a:gd name="T6" fmla="*/ 192 w 192"/>
                  <a:gd name="T7" fmla="*/ 90 h 143"/>
                  <a:gd name="T8" fmla="*/ 176 w 192"/>
                  <a:gd name="T9" fmla="*/ 106 h 143"/>
                  <a:gd name="T10" fmla="*/ 37 w 192"/>
                  <a:gd name="T11" fmla="*/ 106 h 143"/>
                  <a:gd name="T12" fmla="*/ 19 w 192"/>
                  <a:gd name="T13" fmla="*/ 143 h 143"/>
                  <a:gd name="T14" fmla="*/ 19 w 192"/>
                  <a:gd name="T15" fmla="*/ 106 h 143"/>
                  <a:gd name="T16" fmla="*/ 16 w 192"/>
                  <a:gd name="T17" fmla="*/ 106 h 143"/>
                  <a:gd name="T18" fmla="*/ 0 w 192"/>
                  <a:gd name="T19" fmla="*/ 90 h 143"/>
                  <a:gd name="T20" fmla="*/ 0 w 192"/>
                  <a:gd name="T21" fmla="*/ 16 h 143"/>
                  <a:gd name="T22" fmla="*/ 16 w 192"/>
                  <a:gd name="T2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 h="143">
                    <a:moveTo>
                      <a:pt x="16" y="0"/>
                    </a:moveTo>
                    <a:cubicBezTo>
                      <a:pt x="176" y="0"/>
                      <a:pt x="176" y="0"/>
                      <a:pt x="176" y="0"/>
                    </a:cubicBezTo>
                    <a:cubicBezTo>
                      <a:pt x="185" y="0"/>
                      <a:pt x="192" y="7"/>
                      <a:pt x="192" y="16"/>
                    </a:cubicBezTo>
                    <a:cubicBezTo>
                      <a:pt x="192" y="90"/>
                      <a:pt x="192" y="90"/>
                      <a:pt x="192" y="90"/>
                    </a:cubicBezTo>
                    <a:cubicBezTo>
                      <a:pt x="192" y="99"/>
                      <a:pt x="185" y="106"/>
                      <a:pt x="176" y="106"/>
                    </a:cubicBezTo>
                    <a:cubicBezTo>
                      <a:pt x="37" y="106"/>
                      <a:pt x="37" y="106"/>
                      <a:pt x="37" y="106"/>
                    </a:cubicBezTo>
                    <a:cubicBezTo>
                      <a:pt x="19" y="143"/>
                      <a:pt x="19" y="143"/>
                      <a:pt x="19" y="143"/>
                    </a:cubicBezTo>
                    <a:cubicBezTo>
                      <a:pt x="19" y="106"/>
                      <a:pt x="19" y="106"/>
                      <a:pt x="19" y="106"/>
                    </a:cubicBezTo>
                    <a:cubicBezTo>
                      <a:pt x="16" y="106"/>
                      <a:pt x="16" y="106"/>
                      <a:pt x="16" y="106"/>
                    </a:cubicBezTo>
                    <a:cubicBezTo>
                      <a:pt x="8" y="106"/>
                      <a:pt x="0" y="99"/>
                      <a:pt x="0" y="90"/>
                    </a:cubicBezTo>
                    <a:cubicBezTo>
                      <a:pt x="0" y="16"/>
                      <a:pt x="0" y="16"/>
                      <a:pt x="0" y="16"/>
                    </a:cubicBezTo>
                    <a:cubicBezTo>
                      <a:pt x="0" y="7"/>
                      <a:pt x="8" y="0"/>
                      <a:pt x="16" y="0"/>
                    </a:cubicBezTo>
                    <a:close/>
                  </a:path>
                </a:pathLst>
              </a:custGeom>
              <a:solidFill>
                <a:srgbClr val="D1D0E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40000" lnSpcReduction="20000"/>
              </a:bodyPr>
              <a:lstStyle/>
              <a:p>
                <a:pPr algn="ctr"/>
                <a:endParaRPr/>
              </a:p>
            </p:txBody>
          </p:sp>
          <p:sp>
            <p:nvSpPr>
              <p:cNvPr id="97" name="íṧliḓe">
                <a:extLst>
                  <a:ext uri="{FF2B5EF4-FFF2-40B4-BE49-F238E27FC236}">
                    <a16:creationId xmlns:a16="http://schemas.microsoft.com/office/drawing/2014/main" id="{985C4000-5215-4D83-B91C-EA3B6F53786A}"/>
                  </a:ext>
                </a:extLst>
              </p:cNvPr>
              <p:cNvSpPr/>
              <p:nvPr/>
            </p:nvSpPr>
            <p:spPr bwMode="auto">
              <a:xfrm>
                <a:off x="4625975" y="1435101"/>
                <a:ext cx="417513" cy="415925"/>
              </a:xfrm>
              <a:custGeom>
                <a:avLst/>
                <a:gdLst>
                  <a:gd name="T0" fmla="*/ 141 w 141"/>
                  <a:gd name="T1" fmla="*/ 67 h 141"/>
                  <a:gd name="T2" fmla="*/ 138 w 141"/>
                  <a:gd name="T3" fmla="*/ 50 h 141"/>
                  <a:gd name="T4" fmla="*/ 121 w 141"/>
                  <a:gd name="T5" fmla="*/ 53 h 141"/>
                  <a:gd name="T6" fmla="*/ 108 w 141"/>
                  <a:gd name="T7" fmla="*/ 33 h 141"/>
                  <a:gd name="T8" fmla="*/ 118 w 141"/>
                  <a:gd name="T9" fmla="*/ 18 h 141"/>
                  <a:gd name="T10" fmla="*/ 104 w 141"/>
                  <a:gd name="T11" fmla="*/ 8 h 141"/>
                  <a:gd name="T12" fmla="*/ 94 w 141"/>
                  <a:gd name="T13" fmla="*/ 23 h 141"/>
                  <a:gd name="T14" fmla="*/ 70 w 141"/>
                  <a:gd name="T15" fmla="*/ 17 h 141"/>
                  <a:gd name="T16" fmla="*/ 67 w 141"/>
                  <a:gd name="T17" fmla="*/ 0 h 141"/>
                  <a:gd name="T18" fmla="*/ 50 w 141"/>
                  <a:gd name="T19" fmla="*/ 3 h 141"/>
                  <a:gd name="T20" fmla="*/ 53 w 141"/>
                  <a:gd name="T21" fmla="*/ 20 h 141"/>
                  <a:gd name="T22" fmla="*/ 33 w 141"/>
                  <a:gd name="T23" fmla="*/ 33 h 141"/>
                  <a:gd name="T24" fmla="*/ 19 w 141"/>
                  <a:gd name="T25" fmla="*/ 23 h 141"/>
                  <a:gd name="T26" fmla="*/ 9 w 141"/>
                  <a:gd name="T27" fmla="*/ 37 h 141"/>
                  <a:gd name="T28" fmla="*/ 23 w 141"/>
                  <a:gd name="T29" fmla="*/ 47 h 141"/>
                  <a:gd name="T30" fmla="*/ 17 w 141"/>
                  <a:gd name="T31" fmla="*/ 71 h 141"/>
                  <a:gd name="T32" fmla="*/ 0 w 141"/>
                  <a:gd name="T33" fmla="*/ 73 h 141"/>
                  <a:gd name="T34" fmla="*/ 3 w 141"/>
                  <a:gd name="T35" fmla="*/ 90 h 141"/>
                  <a:gd name="T36" fmla="*/ 20 w 141"/>
                  <a:gd name="T37" fmla="*/ 87 h 141"/>
                  <a:gd name="T38" fmla="*/ 33 w 141"/>
                  <a:gd name="T39" fmla="*/ 108 h 141"/>
                  <a:gd name="T40" fmla="*/ 23 w 141"/>
                  <a:gd name="T41" fmla="*/ 122 h 141"/>
                  <a:gd name="T42" fmla="*/ 37 w 141"/>
                  <a:gd name="T43" fmla="*/ 132 h 141"/>
                  <a:gd name="T44" fmla="*/ 47 w 141"/>
                  <a:gd name="T45" fmla="*/ 118 h 141"/>
                  <a:gd name="T46" fmla="*/ 71 w 141"/>
                  <a:gd name="T47" fmla="*/ 123 h 141"/>
                  <a:gd name="T48" fmla="*/ 74 w 141"/>
                  <a:gd name="T49" fmla="*/ 141 h 141"/>
                  <a:gd name="T50" fmla="*/ 91 w 141"/>
                  <a:gd name="T51" fmla="*/ 138 h 141"/>
                  <a:gd name="T52" fmla="*/ 88 w 141"/>
                  <a:gd name="T53" fmla="*/ 121 h 141"/>
                  <a:gd name="T54" fmla="*/ 108 w 141"/>
                  <a:gd name="T55" fmla="*/ 108 h 141"/>
                  <a:gd name="T56" fmla="*/ 123 w 141"/>
                  <a:gd name="T57" fmla="*/ 118 h 141"/>
                  <a:gd name="T58" fmla="*/ 132 w 141"/>
                  <a:gd name="T59" fmla="*/ 104 h 141"/>
                  <a:gd name="T60" fmla="*/ 118 w 141"/>
                  <a:gd name="T61" fmla="*/ 94 h 141"/>
                  <a:gd name="T62" fmla="*/ 124 w 141"/>
                  <a:gd name="T63" fmla="*/ 70 h 141"/>
                  <a:gd name="T64" fmla="*/ 141 w 141"/>
                  <a:gd name="T65" fmla="*/ 67 h 141"/>
                  <a:gd name="T66" fmla="*/ 73 w 141"/>
                  <a:gd name="T67" fmla="*/ 86 h 141"/>
                  <a:gd name="T68" fmla="*/ 55 w 141"/>
                  <a:gd name="T69" fmla="*/ 73 h 141"/>
                  <a:gd name="T70" fmla="*/ 68 w 141"/>
                  <a:gd name="T71" fmla="*/ 55 h 141"/>
                  <a:gd name="T72" fmla="*/ 86 w 141"/>
                  <a:gd name="T73" fmla="*/ 68 h 141"/>
                  <a:gd name="T74" fmla="*/ 73 w 141"/>
                  <a:gd name="T75" fmla="*/ 8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 h="141">
                    <a:moveTo>
                      <a:pt x="141" y="67"/>
                    </a:moveTo>
                    <a:cubicBezTo>
                      <a:pt x="138" y="50"/>
                      <a:pt x="138" y="50"/>
                      <a:pt x="138" y="50"/>
                    </a:cubicBezTo>
                    <a:cubicBezTo>
                      <a:pt x="121" y="53"/>
                      <a:pt x="121" y="53"/>
                      <a:pt x="121" y="53"/>
                    </a:cubicBezTo>
                    <a:cubicBezTo>
                      <a:pt x="118" y="45"/>
                      <a:pt x="114" y="38"/>
                      <a:pt x="108" y="33"/>
                    </a:cubicBezTo>
                    <a:cubicBezTo>
                      <a:pt x="118" y="18"/>
                      <a:pt x="118" y="18"/>
                      <a:pt x="118" y="18"/>
                    </a:cubicBezTo>
                    <a:cubicBezTo>
                      <a:pt x="104" y="8"/>
                      <a:pt x="104" y="8"/>
                      <a:pt x="104" y="8"/>
                    </a:cubicBezTo>
                    <a:cubicBezTo>
                      <a:pt x="94" y="23"/>
                      <a:pt x="94" y="23"/>
                      <a:pt x="94" y="23"/>
                    </a:cubicBezTo>
                    <a:cubicBezTo>
                      <a:pt x="87" y="19"/>
                      <a:pt x="79" y="17"/>
                      <a:pt x="70" y="17"/>
                    </a:cubicBezTo>
                    <a:cubicBezTo>
                      <a:pt x="67" y="0"/>
                      <a:pt x="67" y="0"/>
                      <a:pt x="67" y="0"/>
                    </a:cubicBezTo>
                    <a:cubicBezTo>
                      <a:pt x="50" y="3"/>
                      <a:pt x="50" y="3"/>
                      <a:pt x="50" y="3"/>
                    </a:cubicBezTo>
                    <a:cubicBezTo>
                      <a:pt x="53" y="20"/>
                      <a:pt x="53" y="20"/>
                      <a:pt x="53" y="20"/>
                    </a:cubicBezTo>
                    <a:cubicBezTo>
                      <a:pt x="45" y="23"/>
                      <a:pt x="38" y="27"/>
                      <a:pt x="33" y="33"/>
                    </a:cubicBezTo>
                    <a:cubicBezTo>
                      <a:pt x="19" y="23"/>
                      <a:pt x="19" y="23"/>
                      <a:pt x="19" y="23"/>
                    </a:cubicBezTo>
                    <a:cubicBezTo>
                      <a:pt x="9" y="37"/>
                      <a:pt x="9" y="37"/>
                      <a:pt x="9" y="37"/>
                    </a:cubicBezTo>
                    <a:cubicBezTo>
                      <a:pt x="23" y="47"/>
                      <a:pt x="23" y="47"/>
                      <a:pt x="23" y="47"/>
                    </a:cubicBezTo>
                    <a:cubicBezTo>
                      <a:pt x="19" y="54"/>
                      <a:pt x="17" y="62"/>
                      <a:pt x="17" y="71"/>
                    </a:cubicBezTo>
                    <a:cubicBezTo>
                      <a:pt x="0" y="73"/>
                      <a:pt x="0" y="73"/>
                      <a:pt x="0" y="73"/>
                    </a:cubicBezTo>
                    <a:cubicBezTo>
                      <a:pt x="3" y="90"/>
                      <a:pt x="3" y="90"/>
                      <a:pt x="3" y="90"/>
                    </a:cubicBezTo>
                    <a:cubicBezTo>
                      <a:pt x="20" y="87"/>
                      <a:pt x="20" y="87"/>
                      <a:pt x="20" y="87"/>
                    </a:cubicBezTo>
                    <a:cubicBezTo>
                      <a:pt x="23" y="95"/>
                      <a:pt x="27" y="102"/>
                      <a:pt x="33" y="108"/>
                    </a:cubicBezTo>
                    <a:cubicBezTo>
                      <a:pt x="23" y="122"/>
                      <a:pt x="23" y="122"/>
                      <a:pt x="23" y="122"/>
                    </a:cubicBezTo>
                    <a:cubicBezTo>
                      <a:pt x="37" y="132"/>
                      <a:pt x="37" y="132"/>
                      <a:pt x="37" y="132"/>
                    </a:cubicBezTo>
                    <a:cubicBezTo>
                      <a:pt x="47" y="118"/>
                      <a:pt x="47" y="118"/>
                      <a:pt x="47" y="118"/>
                    </a:cubicBezTo>
                    <a:cubicBezTo>
                      <a:pt x="54" y="121"/>
                      <a:pt x="62" y="123"/>
                      <a:pt x="71" y="123"/>
                    </a:cubicBezTo>
                    <a:cubicBezTo>
                      <a:pt x="74" y="141"/>
                      <a:pt x="74" y="141"/>
                      <a:pt x="74" y="141"/>
                    </a:cubicBezTo>
                    <a:cubicBezTo>
                      <a:pt x="91" y="138"/>
                      <a:pt x="91" y="138"/>
                      <a:pt x="91" y="138"/>
                    </a:cubicBezTo>
                    <a:cubicBezTo>
                      <a:pt x="88" y="121"/>
                      <a:pt x="88" y="121"/>
                      <a:pt x="88" y="121"/>
                    </a:cubicBezTo>
                    <a:cubicBezTo>
                      <a:pt x="96" y="118"/>
                      <a:pt x="103" y="113"/>
                      <a:pt x="108" y="108"/>
                    </a:cubicBezTo>
                    <a:cubicBezTo>
                      <a:pt x="123" y="118"/>
                      <a:pt x="123" y="118"/>
                      <a:pt x="123" y="118"/>
                    </a:cubicBezTo>
                    <a:cubicBezTo>
                      <a:pt x="132" y="104"/>
                      <a:pt x="132" y="104"/>
                      <a:pt x="132" y="104"/>
                    </a:cubicBezTo>
                    <a:cubicBezTo>
                      <a:pt x="118" y="94"/>
                      <a:pt x="118" y="94"/>
                      <a:pt x="118" y="94"/>
                    </a:cubicBezTo>
                    <a:cubicBezTo>
                      <a:pt x="122" y="86"/>
                      <a:pt x="124" y="78"/>
                      <a:pt x="124" y="70"/>
                    </a:cubicBezTo>
                    <a:lnTo>
                      <a:pt x="141" y="67"/>
                    </a:lnTo>
                    <a:close/>
                    <a:moveTo>
                      <a:pt x="73" y="86"/>
                    </a:moveTo>
                    <a:cubicBezTo>
                      <a:pt x="65" y="88"/>
                      <a:pt x="56" y="82"/>
                      <a:pt x="55" y="73"/>
                    </a:cubicBezTo>
                    <a:cubicBezTo>
                      <a:pt x="53" y="64"/>
                      <a:pt x="59" y="56"/>
                      <a:pt x="68" y="55"/>
                    </a:cubicBezTo>
                    <a:cubicBezTo>
                      <a:pt x="77" y="53"/>
                      <a:pt x="85" y="59"/>
                      <a:pt x="86" y="68"/>
                    </a:cubicBezTo>
                    <a:cubicBezTo>
                      <a:pt x="88" y="76"/>
                      <a:pt x="82" y="84"/>
                      <a:pt x="73" y="86"/>
                    </a:cubicBezTo>
                    <a:close/>
                  </a:path>
                </a:pathLst>
              </a:custGeom>
              <a:solidFill>
                <a:srgbClr val="D1D0E8"/>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32500" lnSpcReduction="20000"/>
              </a:bodyPr>
              <a:lstStyle/>
              <a:p>
                <a:pPr algn="ctr"/>
                <a:endParaRPr/>
              </a:p>
            </p:txBody>
          </p:sp>
          <p:sp>
            <p:nvSpPr>
              <p:cNvPr id="98" name="îṧľiḋè">
                <a:extLst>
                  <a:ext uri="{FF2B5EF4-FFF2-40B4-BE49-F238E27FC236}">
                    <a16:creationId xmlns:a16="http://schemas.microsoft.com/office/drawing/2014/main" id="{57ED37C3-7689-4949-B065-8C70946D5FDF}"/>
                  </a:ext>
                </a:extLst>
              </p:cNvPr>
              <p:cNvSpPr/>
              <p:nvPr/>
            </p:nvSpPr>
            <p:spPr bwMode="auto">
              <a:xfrm>
                <a:off x="5006975" y="1243013"/>
                <a:ext cx="512763" cy="512763"/>
              </a:xfrm>
              <a:custGeom>
                <a:avLst/>
                <a:gdLst>
                  <a:gd name="T0" fmla="*/ 173 w 173"/>
                  <a:gd name="T1" fmla="*/ 98 h 174"/>
                  <a:gd name="T2" fmla="*/ 173 w 173"/>
                  <a:gd name="T3" fmla="*/ 77 h 174"/>
                  <a:gd name="T4" fmla="*/ 152 w 173"/>
                  <a:gd name="T5" fmla="*/ 77 h 174"/>
                  <a:gd name="T6" fmla="*/ 141 w 173"/>
                  <a:gd name="T7" fmla="*/ 49 h 174"/>
                  <a:gd name="T8" fmla="*/ 156 w 173"/>
                  <a:gd name="T9" fmla="*/ 33 h 174"/>
                  <a:gd name="T10" fmla="*/ 141 w 173"/>
                  <a:gd name="T11" fmla="*/ 18 h 174"/>
                  <a:gd name="T12" fmla="*/ 126 w 173"/>
                  <a:gd name="T13" fmla="*/ 33 h 174"/>
                  <a:gd name="T14" fmla="*/ 98 w 173"/>
                  <a:gd name="T15" fmla="*/ 22 h 174"/>
                  <a:gd name="T16" fmla="*/ 98 w 173"/>
                  <a:gd name="T17" fmla="*/ 0 h 174"/>
                  <a:gd name="T18" fmla="*/ 76 w 173"/>
                  <a:gd name="T19" fmla="*/ 0 h 174"/>
                  <a:gd name="T20" fmla="*/ 76 w 173"/>
                  <a:gd name="T21" fmla="*/ 22 h 174"/>
                  <a:gd name="T22" fmla="*/ 49 w 173"/>
                  <a:gd name="T23" fmla="*/ 33 h 174"/>
                  <a:gd name="T24" fmla="*/ 33 w 173"/>
                  <a:gd name="T25" fmla="*/ 18 h 174"/>
                  <a:gd name="T26" fmla="*/ 18 w 173"/>
                  <a:gd name="T27" fmla="*/ 33 h 174"/>
                  <a:gd name="T28" fmla="*/ 33 w 173"/>
                  <a:gd name="T29" fmla="*/ 48 h 174"/>
                  <a:gd name="T30" fmla="*/ 22 w 173"/>
                  <a:gd name="T31" fmla="*/ 76 h 174"/>
                  <a:gd name="T32" fmla="*/ 0 w 173"/>
                  <a:gd name="T33" fmla="*/ 76 h 174"/>
                  <a:gd name="T34" fmla="*/ 0 w 173"/>
                  <a:gd name="T35" fmla="*/ 97 h 174"/>
                  <a:gd name="T36" fmla="*/ 22 w 173"/>
                  <a:gd name="T37" fmla="*/ 97 h 174"/>
                  <a:gd name="T38" fmla="*/ 33 w 173"/>
                  <a:gd name="T39" fmla="*/ 125 h 174"/>
                  <a:gd name="T40" fmla="*/ 18 w 173"/>
                  <a:gd name="T41" fmla="*/ 140 h 174"/>
                  <a:gd name="T42" fmla="*/ 33 w 173"/>
                  <a:gd name="T43" fmla="*/ 155 h 174"/>
                  <a:gd name="T44" fmla="*/ 48 w 173"/>
                  <a:gd name="T45" fmla="*/ 140 h 174"/>
                  <a:gd name="T46" fmla="*/ 76 w 173"/>
                  <a:gd name="T47" fmla="*/ 152 h 174"/>
                  <a:gd name="T48" fmla="*/ 76 w 173"/>
                  <a:gd name="T49" fmla="*/ 174 h 174"/>
                  <a:gd name="T50" fmla="*/ 97 w 173"/>
                  <a:gd name="T51" fmla="*/ 174 h 174"/>
                  <a:gd name="T52" fmla="*/ 97 w 173"/>
                  <a:gd name="T53" fmla="*/ 152 h 174"/>
                  <a:gd name="T54" fmla="*/ 125 w 173"/>
                  <a:gd name="T55" fmla="*/ 141 h 174"/>
                  <a:gd name="T56" fmla="*/ 140 w 173"/>
                  <a:gd name="T57" fmla="*/ 156 h 174"/>
                  <a:gd name="T58" fmla="*/ 155 w 173"/>
                  <a:gd name="T59" fmla="*/ 141 h 174"/>
                  <a:gd name="T60" fmla="*/ 140 w 173"/>
                  <a:gd name="T61" fmla="*/ 126 h 174"/>
                  <a:gd name="T62" fmla="*/ 152 w 173"/>
                  <a:gd name="T63" fmla="*/ 98 h 174"/>
                  <a:gd name="T64" fmla="*/ 173 w 173"/>
                  <a:gd name="T65" fmla="*/ 98 h 174"/>
                  <a:gd name="T66" fmla="*/ 87 w 173"/>
                  <a:gd name="T67" fmla="*/ 107 h 174"/>
                  <a:gd name="T68" fmla="*/ 67 w 173"/>
                  <a:gd name="T69" fmla="*/ 87 h 174"/>
                  <a:gd name="T70" fmla="*/ 87 w 173"/>
                  <a:gd name="T71" fmla="*/ 67 h 174"/>
                  <a:gd name="T72" fmla="*/ 107 w 173"/>
                  <a:gd name="T73" fmla="*/ 87 h 174"/>
                  <a:gd name="T74" fmla="*/ 87 w 173"/>
                  <a:gd name="T75" fmla="*/ 10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3" h="174">
                    <a:moveTo>
                      <a:pt x="173" y="98"/>
                    </a:moveTo>
                    <a:cubicBezTo>
                      <a:pt x="173" y="77"/>
                      <a:pt x="173" y="77"/>
                      <a:pt x="173" y="77"/>
                    </a:cubicBezTo>
                    <a:cubicBezTo>
                      <a:pt x="152" y="77"/>
                      <a:pt x="152" y="77"/>
                      <a:pt x="152" y="77"/>
                    </a:cubicBezTo>
                    <a:cubicBezTo>
                      <a:pt x="150" y="66"/>
                      <a:pt x="146" y="57"/>
                      <a:pt x="141" y="49"/>
                    </a:cubicBezTo>
                    <a:cubicBezTo>
                      <a:pt x="156" y="33"/>
                      <a:pt x="156" y="33"/>
                      <a:pt x="156" y="33"/>
                    </a:cubicBezTo>
                    <a:cubicBezTo>
                      <a:pt x="141" y="18"/>
                      <a:pt x="141" y="18"/>
                      <a:pt x="141" y="18"/>
                    </a:cubicBezTo>
                    <a:cubicBezTo>
                      <a:pt x="126" y="33"/>
                      <a:pt x="126" y="33"/>
                      <a:pt x="126" y="33"/>
                    </a:cubicBezTo>
                    <a:cubicBezTo>
                      <a:pt x="118" y="28"/>
                      <a:pt x="108" y="24"/>
                      <a:pt x="98" y="22"/>
                    </a:cubicBezTo>
                    <a:cubicBezTo>
                      <a:pt x="98" y="0"/>
                      <a:pt x="98" y="0"/>
                      <a:pt x="98" y="0"/>
                    </a:cubicBezTo>
                    <a:cubicBezTo>
                      <a:pt x="76" y="0"/>
                      <a:pt x="76" y="0"/>
                      <a:pt x="76" y="0"/>
                    </a:cubicBezTo>
                    <a:cubicBezTo>
                      <a:pt x="76" y="22"/>
                      <a:pt x="76" y="22"/>
                      <a:pt x="76" y="22"/>
                    </a:cubicBezTo>
                    <a:cubicBezTo>
                      <a:pt x="66" y="23"/>
                      <a:pt x="57" y="27"/>
                      <a:pt x="49" y="33"/>
                    </a:cubicBezTo>
                    <a:cubicBezTo>
                      <a:pt x="33" y="18"/>
                      <a:pt x="33" y="18"/>
                      <a:pt x="33" y="18"/>
                    </a:cubicBezTo>
                    <a:cubicBezTo>
                      <a:pt x="18" y="33"/>
                      <a:pt x="18" y="33"/>
                      <a:pt x="18" y="33"/>
                    </a:cubicBezTo>
                    <a:cubicBezTo>
                      <a:pt x="33" y="48"/>
                      <a:pt x="33" y="48"/>
                      <a:pt x="33" y="48"/>
                    </a:cubicBezTo>
                    <a:cubicBezTo>
                      <a:pt x="28" y="56"/>
                      <a:pt x="24" y="66"/>
                      <a:pt x="22" y="76"/>
                    </a:cubicBezTo>
                    <a:cubicBezTo>
                      <a:pt x="0" y="76"/>
                      <a:pt x="0" y="76"/>
                      <a:pt x="0" y="76"/>
                    </a:cubicBezTo>
                    <a:cubicBezTo>
                      <a:pt x="0" y="97"/>
                      <a:pt x="0" y="97"/>
                      <a:pt x="0" y="97"/>
                    </a:cubicBezTo>
                    <a:cubicBezTo>
                      <a:pt x="22" y="97"/>
                      <a:pt x="22" y="97"/>
                      <a:pt x="22" y="97"/>
                    </a:cubicBezTo>
                    <a:cubicBezTo>
                      <a:pt x="23" y="107"/>
                      <a:pt x="27" y="117"/>
                      <a:pt x="33" y="125"/>
                    </a:cubicBezTo>
                    <a:cubicBezTo>
                      <a:pt x="18" y="140"/>
                      <a:pt x="18" y="140"/>
                      <a:pt x="18" y="140"/>
                    </a:cubicBezTo>
                    <a:cubicBezTo>
                      <a:pt x="33" y="155"/>
                      <a:pt x="33" y="155"/>
                      <a:pt x="33" y="155"/>
                    </a:cubicBezTo>
                    <a:cubicBezTo>
                      <a:pt x="48" y="140"/>
                      <a:pt x="48" y="140"/>
                      <a:pt x="48" y="140"/>
                    </a:cubicBezTo>
                    <a:cubicBezTo>
                      <a:pt x="56" y="146"/>
                      <a:pt x="66" y="150"/>
                      <a:pt x="76" y="152"/>
                    </a:cubicBezTo>
                    <a:cubicBezTo>
                      <a:pt x="76" y="174"/>
                      <a:pt x="76" y="174"/>
                      <a:pt x="76" y="174"/>
                    </a:cubicBezTo>
                    <a:cubicBezTo>
                      <a:pt x="97" y="174"/>
                      <a:pt x="97" y="174"/>
                      <a:pt x="97" y="174"/>
                    </a:cubicBezTo>
                    <a:cubicBezTo>
                      <a:pt x="97" y="152"/>
                      <a:pt x="97" y="152"/>
                      <a:pt x="97" y="152"/>
                    </a:cubicBezTo>
                    <a:cubicBezTo>
                      <a:pt x="107" y="150"/>
                      <a:pt x="117" y="146"/>
                      <a:pt x="125" y="141"/>
                    </a:cubicBezTo>
                    <a:cubicBezTo>
                      <a:pt x="140" y="156"/>
                      <a:pt x="140" y="156"/>
                      <a:pt x="140" y="156"/>
                    </a:cubicBezTo>
                    <a:cubicBezTo>
                      <a:pt x="155" y="141"/>
                      <a:pt x="155" y="141"/>
                      <a:pt x="155" y="141"/>
                    </a:cubicBezTo>
                    <a:cubicBezTo>
                      <a:pt x="140" y="126"/>
                      <a:pt x="140" y="126"/>
                      <a:pt x="140" y="126"/>
                    </a:cubicBezTo>
                    <a:cubicBezTo>
                      <a:pt x="146" y="118"/>
                      <a:pt x="150" y="108"/>
                      <a:pt x="152" y="98"/>
                    </a:cubicBezTo>
                    <a:lnTo>
                      <a:pt x="173" y="98"/>
                    </a:lnTo>
                    <a:close/>
                    <a:moveTo>
                      <a:pt x="87" y="107"/>
                    </a:moveTo>
                    <a:cubicBezTo>
                      <a:pt x="76" y="107"/>
                      <a:pt x="67" y="98"/>
                      <a:pt x="67" y="87"/>
                    </a:cubicBezTo>
                    <a:cubicBezTo>
                      <a:pt x="67" y="76"/>
                      <a:pt x="76" y="67"/>
                      <a:pt x="87" y="67"/>
                    </a:cubicBezTo>
                    <a:cubicBezTo>
                      <a:pt x="98" y="67"/>
                      <a:pt x="107" y="76"/>
                      <a:pt x="107" y="87"/>
                    </a:cubicBezTo>
                    <a:cubicBezTo>
                      <a:pt x="107" y="98"/>
                      <a:pt x="98" y="107"/>
                      <a:pt x="87" y="107"/>
                    </a:cubicBezTo>
                    <a:close/>
                  </a:path>
                </a:pathLst>
              </a:custGeom>
              <a:solidFill>
                <a:srgbClr val="E3E2F2"/>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fontScale="55000" lnSpcReduction="20000"/>
              </a:bodyPr>
              <a:lstStyle/>
              <a:p>
                <a:pPr algn="ctr"/>
                <a:endParaRPr/>
              </a:p>
            </p:txBody>
          </p:sp>
        </p:grpSp>
        <p:sp>
          <p:nvSpPr>
            <p:cNvPr id="8" name="ï$ľíḋe">
              <a:extLst>
                <a:ext uri="{FF2B5EF4-FFF2-40B4-BE49-F238E27FC236}">
                  <a16:creationId xmlns:a16="http://schemas.microsoft.com/office/drawing/2014/main" id="{1DDA74E2-3864-4BE8-9436-643D0E1A3241}"/>
                </a:ext>
              </a:extLst>
            </p:cNvPr>
            <p:cNvSpPr/>
            <p:nvPr/>
          </p:nvSpPr>
          <p:spPr>
            <a:xfrm>
              <a:off x="855006" y="3935405"/>
              <a:ext cx="430697" cy="43069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lnSpcReduction="10000"/>
            </a:bodyPr>
            <a:lstStyle/>
            <a:p>
              <a:pPr algn="ctr"/>
              <a:r>
                <a:rPr lang="en-US" altLang="zh-CN" sz="1400" b="1" i="1" dirty="0">
                  <a:solidFill>
                    <a:schemeClr val="bg1"/>
                  </a:solidFill>
                </a:rPr>
                <a:t>1</a:t>
              </a:r>
              <a:endParaRPr lang="zh-CN" altLang="en-US" sz="1400" b="1" i="1" dirty="0">
                <a:solidFill>
                  <a:schemeClr val="bg1"/>
                </a:solidFill>
              </a:endParaRPr>
            </a:p>
          </p:txBody>
        </p:sp>
        <p:cxnSp>
          <p:nvCxnSpPr>
            <p:cNvPr id="9" name="直接连接符 8">
              <a:extLst>
                <a:ext uri="{FF2B5EF4-FFF2-40B4-BE49-F238E27FC236}">
                  <a16:creationId xmlns:a16="http://schemas.microsoft.com/office/drawing/2014/main" id="{5CF01305-C65A-4EB9-ADFD-4A88024F6448}"/>
                </a:ext>
              </a:extLst>
            </p:cNvPr>
            <p:cNvCxnSpPr>
              <a:stCxn id="8" idx="6"/>
            </p:cNvCxnSpPr>
            <p:nvPr/>
          </p:nvCxnSpPr>
          <p:spPr>
            <a:xfrm>
              <a:off x="1285703" y="4150753"/>
              <a:ext cx="10906297"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0" name="îṩḷíḑe">
              <a:extLst>
                <a:ext uri="{FF2B5EF4-FFF2-40B4-BE49-F238E27FC236}">
                  <a16:creationId xmlns:a16="http://schemas.microsoft.com/office/drawing/2014/main" id="{FB50A0B7-122C-442B-A301-66A887BAA97B}"/>
                </a:ext>
              </a:extLst>
            </p:cNvPr>
            <p:cNvSpPr/>
            <p:nvPr/>
          </p:nvSpPr>
          <p:spPr>
            <a:xfrm>
              <a:off x="6961465" y="3935405"/>
              <a:ext cx="430697" cy="430696"/>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lnSpcReduction="10000"/>
            </a:bodyPr>
            <a:lstStyle/>
            <a:p>
              <a:pPr algn="ctr"/>
              <a:r>
                <a:rPr lang="en-US" altLang="zh-CN" sz="1400" b="1" i="1" dirty="0">
                  <a:solidFill>
                    <a:schemeClr val="bg1"/>
                  </a:solidFill>
                </a:rPr>
                <a:t>2</a:t>
              </a:r>
              <a:endParaRPr lang="zh-CN" altLang="en-US" sz="1400" b="1" i="1" dirty="0">
                <a:solidFill>
                  <a:schemeClr val="bg1"/>
                </a:solidFill>
              </a:endParaRPr>
            </a:p>
          </p:txBody>
        </p:sp>
        <p:sp>
          <p:nvSpPr>
            <p:cNvPr id="11" name="ïś1îḑé">
              <a:extLst>
                <a:ext uri="{FF2B5EF4-FFF2-40B4-BE49-F238E27FC236}">
                  <a16:creationId xmlns:a16="http://schemas.microsoft.com/office/drawing/2014/main" id="{67D79456-1098-44DF-92A9-83759CB8DA6E}"/>
                </a:ext>
              </a:extLst>
            </p:cNvPr>
            <p:cNvSpPr/>
            <p:nvPr/>
          </p:nvSpPr>
          <p:spPr bwMode="auto">
            <a:xfrm>
              <a:off x="2561084" y="3605624"/>
              <a:ext cx="2126455" cy="383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775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r>
                <a:rPr lang="zh-CN" altLang="en-US" sz="1400" u="sng" dirty="0"/>
                <a:t>自定义函数类型</a:t>
              </a:r>
              <a:r>
                <a:rPr lang="en-US" altLang="zh-CN" sz="2000" baseline="30000" dirty="0">
                  <a:latin typeface="+mn-lt"/>
                  <a:ea typeface="+mn-ea"/>
                  <a:cs typeface="+mn-ea"/>
                  <a:sym typeface="+mn-lt"/>
                </a:rPr>
                <a:t>[1]</a:t>
              </a:r>
              <a:endParaRPr lang="en-US" altLang="zh-CN" sz="1400" u="sng" dirty="0"/>
            </a:p>
          </p:txBody>
        </p:sp>
        <p:sp>
          <p:nvSpPr>
            <p:cNvPr id="12" name="iSļïďé">
              <a:extLst>
                <a:ext uri="{FF2B5EF4-FFF2-40B4-BE49-F238E27FC236}">
                  <a16:creationId xmlns:a16="http://schemas.microsoft.com/office/drawing/2014/main" id="{9210415C-CC15-40DA-8694-95CE9A80D17B}"/>
                </a:ext>
              </a:extLst>
            </p:cNvPr>
            <p:cNvSpPr/>
            <p:nvPr/>
          </p:nvSpPr>
          <p:spPr bwMode="auto">
            <a:xfrm>
              <a:off x="9254464" y="3605624"/>
              <a:ext cx="2126455" cy="383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775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r>
                <a:rPr lang="zh-CN" altLang="en-US" sz="1400" u="sng" dirty="0"/>
                <a:t>函数式注解</a:t>
              </a:r>
              <a:r>
                <a:rPr lang="en-US" altLang="zh-CN" sz="2000" baseline="30000" dirty="0">
                  <a:latin typeface="+mn-lt"/>
                  <a:ea typeface="+mn-ea"/>
                  <a:cs typeface="+mn-ea"/>
                  <a:sym typeface="+mn-lt"/>
                </a:rPr>
                <a:t>[2]</a:t>
              </a:r>
              <a:endParaRPr lang="en-US" altLang="zh-CN" sz="1400" u="sng" dirty="0"/>
            </a:p>
          </p:txBody>
        </p:sp>
        <p:sp>
          <p:nvSpPr>
            <p:cNvPr id="14" name="íŝliḋe">
              <a:extLst>
                <a:ext uri="{FF2B5EF4-FFF2-40B4-BE49-F238E27FC236}">
                  <a16:creationId xmlns:a16="http://schemas.microsoft.com/office/drawing/2014/main" id="{76AADDA1-6BE5-4AA2-99DD-97ADE2266938}"/>
                </a:ext>
              </a:extLst>
            </p:cNvPr>
            <p:cNvSpPr txBox="1"/>
            <p:nvPr/>
          </p:nvSpPr>
          <p:spPr bwMode="auto">
            <a:xfrm>
              <a:off x="1196030" y="4302130"/>
              <a:ext cx="3499710" cy="90210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b="1" dirty="0" err="1"/>
                <a:t>jdk</a:t>
              </a:r>
              <a:r>
                <a:rPr lang="en-US" altLang="zh-CN" b="1" dirty="0"/>
                <a:t> 1.8</a:t>
              </a:r>
              <a:r>
                <a:rPr lang="zh-CN" altLang="en-US" b="1" dirty="0"/>
                <a:t>规定如果接口中只包含一个方法，则可以作为函数类型</a:t>
              </a:r>
            </a:p>
          </p:txBody>
        </p:sp>
        <p:sp>
          <p:nvSpPr>
            <p:cNvPr id="15" name="íśḷiḑé">
              <a:extLst>
                <a:ext uri="{FF2B5EF4-FFF2-40B4-BE49-F238E27FC236}">
                  <a16:creationId xmlns:a16="http://schemas.microsoft.com/office/drawing/2014/main" id="{9BC48AEE-01AC-4B66-917F-87C9FF3A407B}"/>
                </a:ext>
              </a:extLst>
            </p:cNvPr>
            <p:cNvSpPr/>
            <p:nvPr/>
          </p:nvSpPr>
          <p:spPr bwMode="auto">
            <a:xfrm>
              <a:off x="7361312" y="5336439"/>
              <a:ext cx="2794946" cy="42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zh-CN" altLang="en-US" sz="1100" b="1" dirty="0"/>
                <a:t>注意：</a:t>
              </a:r>
              <a:r>
                <a:rPr lang="zh-CN" altLang="en-US" sz="1100" dirty="0"/>
                <a:t>注解是可选的，只用来在编译阶段</a:t>
              </a:r>
              <a:endParaRPr lang="en-US" altLang="zh-CN" sz="1100" dirty="0"/>
            </a:p>
          </p:txBody>
        </p:sp>
        <p:sp>
          <p:nvSpPr>
            <p:cNvPr id="16" name="îşliḍè">
              <a:extLst>
                <a:ext uri="{FF2B5EF4-FFF2-40B4-BE49-F238E27FC236}">
                  <a16:creationId xmlns:a16="http://schemas.microsoft.com/office/drawing/2014/main" id="{71714ADF-771A-4D24-A349-D479DEA67663}"/>
                </a:ext>
              </a:extLst>
            </p:cNvPr>
            <p:cNvSpPr txBox="1"/>
            <p:nvPr/>
          </p:nvSpPr>
          <p:spPr bwMode="auto">
            <a:xfrm>
              <a:off x="7331200" y="4302130"/>
              <a:ext cx="3499710" cy="90210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zh-CN" altLang="en-US" b="1" dirty="0"/>
                <a:t>手动添加</a:t>
              </a:r>
              <a:r>
                <a:rPr lang="en-US" altLang="zh-CN" b="1" dirty="0"/>
                <a:t>@FunctionalInterface</a:t>
              </a:r>
              <a:r>
                <a:rPr lang="zh-CN" altLang="en-US" b="1" dirty="0"/>
                <a:t>注解帮助编译器检查是否符合</a:t>
              </a:r>
              <a:endParaRPr lang="en-US" altLang="zh-CN" b="1" dirty="0"/>
            </a:p>
          </p:txBody>
        </p:sp>
      </p:grpSp>
    </p:spTree>
    <p:custDataLst>
      <p:tags r:id="rId1"/>
    </p:custDataLst>
    <p:extLst>
      <p:ext uri="{BB962C8B-B14F-4D97-AF65-F5344CB8AC3E}">
        <p14:creationId xmlns:p14="http://schemas.microsoft.com/office/powerpoint/2010/main" val="4581240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3.3</a:t>
            </a:r>
            <a:r>
              <a:rPr lang="zh-CN" altLang="en-US" dirty="0">
                <a:latin typeface="+mn-lt"/>
                <a:ea typeface="+mn-ea"/>
                <a:cs typeface="+mn-ea"/>
                <a:sym typeface="+mn-lt"/>
              </a:rPr>
              <a:t>概念区分</a:t>
            </a:r>
            <a:r>
              <a:rPr lang="en-US" altLang="zh-CN" baseline="30000" dirty="0">
                <a:latin typeface="+mn-lt"/>
                <a:ea typeface="+mn-ea"/>
                <a:cs typeface="+mn-ea"/>
                <a:sym typeface="+mn-lt"/>
              </a:rPr>
              <a:t>[1]</a:t>
            </a:r>
            <a:endParaRPr lang="zh-CN" altLang="en-US" dirty="0"/>
          </a:p>
        </p:txBody>
      </p:sp>
      <p:sp>
        <p:nvSpPr>
          <p:cNvPr id="3" name="页脚占位符 2"/>
          <p:cNvSpPr>
            <a:spLocks noGrp="1"/>
          </p:cNvSpPr>
          <p:nvPr>
            <p:ph type="ftr" sz="quarter" idx="11"/>
          </p:nvPr>
        </p:nvSpPr>
        <p:spPr/>
        <p:txBody>
          <a:bodyPr/>
          <a:lstStyle/>
          <a:p>
            <a:r>
              <a:rPr lang="zh-CN" altLang="en-US"/>
              <a:t>请在插入菜单</a:t>
            </a:r>
            <a:r>
              <a:rPr lang="en-US" altLang="zh-CN"/>
              <a:t>—</a:t>
            </a:r>
            <a:r>
              <a:rPr lang="zh-CN" altLang="en-US"/>
              <a:t>页眉和</a:t>
            </a:r>
            <a:r>
              <a:rPr lang="zh-CN" altLang="en-US" sz="100"/>
              <a:t> </a:t>
            </a:r>
            <a:r>
              <a:rPr lang="zh-CN" altLang="en-US"/>
              <a:t>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6</a:t>
            </a:fld>
            <a:endParaRPr lang="zh-CN" altLang="en-US"/>
          </a:p>
        </p:txBody>
      </p:sp>
      <p:grpSp>
        <p:nvGrpSpPr>
          <p:cNvPr id="108" name="fabdcdd9-df7c-4532-8346-6514c12940f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23839F-E799-4042-B73E-8C7EECD22AEB}"/>
              </a:ext>
            </a:extLst>
          </p:cNvPr>
          <p:cNvGrpSpPr>
            <a:grpSpLocks noChangeAspect="1"/>
          </p:cNvGrpSpPr>
          <p:nvPr>
            <p:custDataLst>
              <p:tags r:id="rId2"/>
            </p:custDataLst>
          </p:nvPr>
        </p:nvGrpSpPr>
        <p:grpSpPr>
          <a:xfrm>
            <a:off x="662502" y="1130300"/>
            <a:ext cx="6170141" cy="4611688"/>
            <a:chOff x="2865438" y="1231900"/>
            <a:chExt cx="6170141" cy="4611688"/>
          </a:xfrm>
        </p:grpSpPr>
        <p:sp>
          <p:nvSpPr>
            <p:cNvPr id="110" name="ïṧḷíďe">
              <a:extLst>
                <a:ext uri="{FF2B5EF4-FFF2-40B4-BE49-F238E27FC236}">
                  <a16:creationId xmlns:a16="http://schemas.microsoft.com/office/drawing/2014/main" id="{F3898F9F-7750-4CF4-9FE7-DDC00B99DBE7}"/>
                </a:ext>
              </a:extLst>
            </p:cNvPr>
            <p:cNvSpPr/>
            <p:nvPr/>
          </p:nvSpPr>
          <p:spPr bwMode="auto">
            <a:xfrm>
              <a:off x="2865438" y="1231900"/>
              <a:ext cx="6170141" cy="2624206"/>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1" name="ïṡḷïďe">
              <a:extLst>
                <a:ext uri="{FF2B5EF4-FFF2-40B4-BE49-F238E27FC236}">
                  <a16:creationId xmlns:a16="http://schemas.microsoft.com/office/drawing/2014/main" id="{2816BA98-4C02-4A25-8F08-3A3A580335A7}"/>
                </a:ext>
              </a:extLst>
            </p:cNvPr>
            <p:cNvSpPr/>
            <p:nvPr/>
          </p:nvSpPr>
          <p:spPr bwMode="auto">
            <a:xfrm>
              <a:off x="2865438" y="1231900"/>
              <a:ext cx="6170141" cy="2624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2" name="iṡ1îḋe">
              <a:extLst>
                <a:ext uri="{FF2B5EF4-FFF2-40B4-BE49-F238E27FC236}">
                  <a16:creationId xmlns:a16="http://schemas.microsoft.com/office/drawing/2014/main" id="{C953B224-565E-451D-8BCB-81F981155D5A}"/>
                </a:ext>
              </a:extLst>
            </p:cNvPr>
            <p:cNvSpPr/>
            <p:nvPr/>
          </p:nvSpPr>
          <p:spPr bwMode="auto">
            <a:xfrm>
              <a:off x="6650902" y="2211239"/>
              <a:ext cx="315329" cy="30471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 name="iṩ1ïďè">
              <a:extLst>
                <a:ext uri="{FF2B5EF4-FFF2-40B4-BE49-F238E27FC236}">
                  <a16:creationId xmlns:a16="http://schemas.microsoft.com/office/drawing/2014/main" id="{5B5A77E1-D9BE-4DCC-A4A3-BAA040A76B24}"/>
                </a:ext>
              </a:extLst>
            </p:cNvPr>
            <p:cNvSpPr/>
            <p:nvPr/>
          </p:nvSpPr>
          <p:spPr bwMode="auto">
            <a:xfrm>
              <a:off x="4739220" y="3249703"/>
              <a:ext cx="316846" cy="30471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 name="íş1iḍé">
              <a:extLst>
                <a:ext uri="{FF2B5EF4-FFF2-40B4-BE49-F238E27FC236}">
                  <a16:creationId xmlns:a16="http://schemas.microsoft.com/office/drawing/2014/main" id="{1300C5E5-8017-4590-9312-BCB8AD5D4679}"/>
                </a:ext>
              </a:extLst>
            </p:cNvPr>
            <p:cNvSpPr/>
            <p:nvPr/>
          </p:nvSpPr>
          <p:spPr bwMode="auto">
            <a:xfrm>
              <a:off x="7595374" y="2136955"/>
              <a:ext cx="315329" cy="30471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 name="iṣľïďé">
              <a:extLst>
                <a:ext uri="{FF2B5EF4-FFF2-40B4-BE49-F238E27FC236}">
                  <a16:creationId xmlns:a16="http://schemas.microsoft.com/office/drawing/2014/main" id="{8E27C694-2651-4EAD-A0A9-3D08F68E9613}"/>
                </a:ext>
              </a:extLst>
            </p:cNvPr>
            <p:cNvSpPr/>
            <p:nvPr/>
          </p:nvSpPr>
          <p:spPr bwMode="auto">
            <a:xfrm>
              <a:off x="6652419" y="3046558"/>
              <a:ext cx="315329" cy="30471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 name="iS1îḍé">
              <a:extLst>
                <a:ext uri="{FF2B5EF4-FFF2-40B4-BE49-F238E27FC236}">
                  <a16:creationId xmlns:a16="http://schemas.microsoft.com/office/drawing/2014/main" id="{C80A55E5-9506-4647-9D5D-E39C0622CF80}"/>
                </a:ext>
              </a:extLst>
            </p:cNvPr>
            <p:cNvSpPr/>
            <p:nvPr/>
          </p:nvSpPr>
          <p:spPr bwMode="auto">
            <a:xfrm>
              <a:off x="4572460" y="1451720"/>
              <a:ext cx="316846" cy="30775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7" name="íSľïďè">
              <a:extLst>
                <a:ext uri="{FF2B5EF4-FFF2-40B4-BE49-F238E27FC236}">
                  <a16:creationId xmlns:a16="http://schemas.microsoft.com/office/drawing/2014/main" id="{8B04823A-0207-4FF0-AB2E-13E2A8F71D41}"/>
                </a:ext>
              </a:extLst>
            </p:cNvPr>
            <p:cNvSpPr/>
            <p:nvPr/>
          </p:nvSpPr>
          <p:spPr bwMode="auto">
            <a:xfrm>
              <a:off x="7756071" y="1380469"/>
              <a:ext cx="316846" cy="3062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8" name="íšļîďe">
              <a:extLst>
                <a:ext uri="{FF2B5EF4-FFF2-40B4-BE49-F238E27FC236}">
                  <a16:creationId xmlns:a16="http://schemas.microsoft.com/office/drawing/2014/main" id="{01AF4134-752A-48DA-BBDF-373795A65473}"/>
                </a:ext>
              </a:extLst>
            </p:cNvPr>
            <p:cNvSpPr/>
            <p:nvPr/>
          </p:nvSpPr>
          <p:spPr bwMode="auto">
            <a:xfrm>
              <a:off x="8532265" y="2523536"/>
              <a:ext cx="315329" cy="30623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9" name="íSḷíde">
              <a:extLst>
                <a:ext uri="{FF2B5EF4-FFF2-40B4-BE49-F238E27FC236}">
                  <a16:creationId xmlns:a16="http://schemas.microsoft.com/office/drawing/2014/main" id="{83D94120-3519-4D69-9916-E26E1A53435A}"/>
                </a:ext>
              </a:extLst>
            </p:cNvPr>
            <p:cNvSpPr/>
            <p:nvPr/>
          </p:nvSpPr>
          <p:spPr bwMode="auto">
            <a:xfrm>
              <a:off x="3397555" y="1336504"/>
              <a:ext cx="316846" cy="30471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0" name="iṣ1ïďe">
              <a:extLst>
                <a:ext uri="{FF2B5EF4-FFF2-40B4-BE49-F238E27FC236}">
                  <a16:creationId xmlns:a16="http://schemas.microsoft.com/office/drawing/2014/main" id="{635BDEAB-9476-4036-8FFF-591957F503C0}"/>
                </a:ext>
              </a:extLst>
            </p:cNvPr>
            <p:cNvSpPr/>
            <p:nvPr/>
          </p:nvSpPr>
          <p:spPr bwMode="auto">
            <a:xfrm>
              <a:off x="7090544" y="1616965"/>
              <a:ext cx="318361" cy="304718"/>
            </a:xfrm>
            <a:prstGeom prst="rect">
              <a:avLst/>
            </a:prstGeom>
            <a:solidFill>
              <a:srgbClr val="7CFC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1" name="îṩļíḑe">
              <a:extLst>
                <a:ext uri="{FF2B5EF4-FFF2-40B4-BE49-F238E27FC236}">
                  <a16:creationId xmlns:a16="http://schemas.microsoft.com/office/drawing/2014/main" id="{E8084788-77D6-418B-BCAF-1767E5A0D79B}"/>
                </a:ext>
              </a:extLst>
            </p:cNvPr>
            <p:cNvSpPr/>
            <p:nvPr/>
          </p:nvSpPr>
          <p:spPr bwMode="auto">
            <a:xfrm>
              <a:off x="5109126" y="2287040"/>
              <a:ext cx="315329" cy="306233"/>
            </a:xfrm>
            <a:prstGeom prst="rect">
              <a:avLst/>
            </a:prstGeom>
            <a:solidFill>
              <a:srgbClr val="7CFC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2" name="ïṩḻîḑê">
              <a:extLst>
                <a:ext uri="{FF2B5EF4-FFF2-40B4-BE49-F238E27FC236}">
                  <a16:creationId xmlns:a16="http://schemas.microsoft.com/office/drawing/2014/main" id="{5E5D26A6-45C4-4E6D-9150-DC00DAAA06FC}"/>
                </a:ext>
              </a:extLst>
            </p:cNvPr>
            <p:cNvSpPr/>
            <p:nvPr/>
          </p:nvSpPr>
          <p:spPr bwMode="auto">
            <a:xfrm>
              <a:off x="6212777" y="2635721"/>
              <a:ext cx="316846" cy="306233"/>
            </a:xfrm>
            <a:prstGeom prst="rect">
              <a:avLst/>
            </a:prstGeom>
            <a:solidFill>
              <a:srgbClr val="7CFC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3" name="ïṩ1îḓé">
              <a:extLst>
                <a:ext uri="{FF2B5EF4-FFF2-40B4-BE49-F238E27FC236}">
                  <a16:creationId xmlns:a16="http://schemas.microsoft.com/office/drawing/2014/main" id="{4AE1B51F-1E2F-4EAC-B042-3934AFBE5C12}"/>
                </a:ext>
              </a:extLst>
            </p:cNvPr>
            <p:cNvSpPr/>
            <p:nvPr/>
          </p:nvSpPr>
          <p:spPr bwMode="auto">
            <a:xfrm>
              <a:off x="6596326" y="1453237"/>
              <a:ext cx="315329" cy="306233"/>
            </a:xfrm>
            <a:prstGeom prst="rect">
              <a:avLst/>
            </a:prstGeom>
            <a:solidFill>
              <a:srgbClr val="FFFFA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4" name="iṩḷíḍê">
              <a:extLst>
                <a:ext uri="{FF2B5EF4-FFF2-40B4-BE49-F238E27FC236}">
                  <a16:creationId xmlns:a16="http://schemas.microsoft.com/office/drawing/2014/main" id="{6E8A0915-C087-4396-9BAB-7AF0E3270C8C}"/>
                </a:ext>
              </a:extLst>
            </p:cNvPr>
            <p:cNvSpPr/>
            <p:nvPr/>
          </p:nvSpPr>
          <p:spPr bwMode="auto">
            <a:xfrm>
              <a:off x="7170893" y="2840381"/>
              <a:ext cx="315329" cy="306233"/>
            </a:xfrm>
            <a:prstGeom prst="rect">
              <a:avLst/>
            </a:prstGeom>
            <a:solidFill>
              <a:srgbClr val="FFFFA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5" name="ïṧḻiḍê">
              <a:extLst>
                <a:ext uri="{FF2B5EF4-FFF2-40B4-BE49-F238E27FC236}">
                  <a16:creationId xmlns:a16="http://schemas.microsoft.com/office/drawing/2014/main" id="{4B7AC4FC-94B2-434D-A175-1AFE65302583}"/>
                </a:ext>
              </a:extLst>
            </p:cNvPr>
            <p:cNvSpPr/>
            <p:nvPr/>
          </p:nvSpPr>
          <p:spPr bwMode="auto">
            <a:xfrm>
              <a:off x="5194022" y="1453237"/>
              <a:ext cx="316846" cy="306233"/>
            </a:xfrm>
            <a:prstGeom prst="rect">
              <a:avLst/>
            </a:prstGeom>
            <a:solidFill>
              <a:srgbClr val="FFFFA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6" name="íślidè">
              <a:extLst>
                <a:ext uri="{FF2B5EF4-FFF2-40B4-BE49-F238E27FC236}">
                  <a16:creationId xmlns:a16="http://schemas.microsoft.com/office/drawing/2014/main" id="{F1E837BC-9605-4810-821E-D94D0D2B564C}"/>
                </a:ext>
              </a:extLst>
            </p:cNvPr>
            <p:cNvSpPr/>
            <p:nvPr/>
          </p:nvSpPr>
          <p:spPr bwMode="auto">
            <a:xfrm>
              <a:off x="5627599" y="3182998"/>
              <a:ext cx="315329" cy="306233"/>
            </a:xfrm>
            <a:prstGeom prst="rect">
              <a:avLst/>
            </a:prstGeom>
            <a:solidFill>
              <a:srgbClr val="FFFFA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7" name="ïşlíḓè">
              <a:extLst>
                <a:ext uri="{FF2B5EF4-FFF2-40B4-BE49-F238E27FC236}">
                  <a16:creationId xmlns:a16="http://schemas.microsoft.com/office/drawing/2014/main" id="{AE549F55-4294-4024-B866-A209104F7B96}"/>
                </a:ext>
              </a:extLst>
            </p:cNvPr>
            <p:cNvSpPr/>
            <p:nvPr/>
          </p:nvSpPr>
          <p:spPr bwMode="auto">
            <a:xfrm>
              <a:off x="6149105" y="1888330"/>
              <a:ext cx="315329" cy="304718"/>
            </a:xfrm>
            <a:prstGeom prst="rect">
              <a:avLst/>
            </a:prstGeom>
            <a:solidFill>
              <a:srgbClr val="FF69B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8" name="iŝľïḍé">
              <a:extLst>
                <a:ext uri="{FF2B5EF4-FFF2-40B4-BE49-F238E27FC236}">
                  <a16:creationId xmlns:a16="http://schemas.microsoft.com/office/drawing/2014/main" id="{A98D5967-8A15-42FC-BB8E-D7D1699DAC73}"/>
                </a:ext>
              </a:extLst>
            </p:cNvPr>
            <p:cNvSpPr/>
            <p:nvPr/>
          </p:nvSpPr>
          <p:spPr bwMode="auto">
            <a:xfrm>
              <a:off x="4495143" y="1991418"/>
              <a:ext cx="316846" cy="306233"/>
            </a:xfrm>
            <a:prstGeom prst="rect">
              <a:avLst/>
            </a:prstGeom>
            <a:solidFill>
              <a:srgbClr val="FF69B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9" name="ïṩḻíďè">
              <a:extLst>
                <a:ext uri="{FF2B5EF4-FFF2-40B4-BE49-F238E27FC236}">
                  <a16:creationId xmlns:a16="http://schemas.microsoft.com/office/drawing/2014/main" id="{D0CC9BA9-30CF-495F-9596-731870AE4A50}"/>
                </a:ext>
              </a:extLst>
            </p:cNvPr>
            <p:cNvSpPr/>
            <p:nvPr/>
          </p:nvSpPr>
          <p:spPr bwMode="auto">
            <a:xfrm>
              <a:off x="8532265" y="1688217"/>
              <a:ext cx="315329" cy="304718"/>
            </a:xfrm>
            <a:prstGeom prst="rect">
              <a:avLst/>
            </a:prstGeom>
            <a:solidFill>
              <a:srgbClr val="FF69B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0" name="íṩ1îḓê">
              <a:extLst>
                <a:ext uri="{FF2B5EF4-FFF2-40B4-BE49-F238E27FC236}">
                  <a16:creationId xmlns:a16="http://schemas.microsoft.com/office/drawing/2014/main" id="{74103680-8C5D-453D-B1EE-A8D105D6B44A}"/>
                </a:ext>
              </a:extLst>
            </p:cNvPr>
            <p:cNvSpPr/>
            <p:nvPr/>
          </p:nvSpPr>
          <p:spPr bwMode="auto">
            <a:xfrm>
              <a:off x="7918283" y="3184515"/>
              <a:ext cx="315329" cy="306233"/>
            </a:xfrm>
            <a:prstGeom prst="rect">
              <a:avLst/>
            </a:prstGeom>
            <a:solidFill>
              <a:srgbClr val="FF69B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1" name="íṧ1idè">
              <a:extLst>
                <a:ext uri="{FF2B5EF4-FFF2-40B4-BE49-F238E27FC236}">
                  <a16:creationId xmlns:a16="http://schemas.microsoft.com/office/drawing/2014/main" id="{E4AF2499-4F0A-4717-B63C-3FCF8DEDE02C}"/>
                </a:ext>
              </a:extLst>
            </p:cNvPr>
            <p:cNvSpPr/>
            <p:nvPr/>
          </p:nvSpPr>
          <p:spPr bwMode="auto">
            <a:xfrm>
              <a:off x="4549719" y="2126343"/>
              <a:ext cx="342617" cy="580630"/>
            </a:xfrm>
            <a:custGeom>
              <a:avLst/>
              <a:gdLst>
                <a:gd name="T0" fmla="*/ 78 w 193"/>
                <a:gd name="T1" fmla="*/ 97 h 328"/>
                <a:gd name="T2" fmla="*/ 78 w 193"/>
                <a:gd name="T3" fmla="*/ 163 h 328"/>
                <a:gd name="T4" fmla="*/ 0 w 193"/>
                <a:gd name="T5" fmla="*/ 278 h 328"/>
                <a:gd name="T6" fmla="*/ 78 w 193"/>
                <a:gd name="T7" fmla="*/ 328 h 328"/>
                <a:gd name="T8" fmla="*/ 131 w 193"/>
                <a:gd name="T9" fmla="*/ 179 h 328"/>
                <a:gd name="T10" fmla="*/ 177 w 193"/>
                <a:gd name="T11" fmla="*/ 129 h 328"/>
                <a:gd name="T12" fmla="*/ 107 w 193"/>
                <a:gd name="T13" fmla="*/ 89 h 328"/>
                <a:gd name="T14" fmla="*/ 107 w 193"/>
                <a:gd name="T15" fmla="*/ 96 h 328"/>
                <a:gd name="T16" fmla="*/ 78 w 193"/>
                <a:gd name="T17" fmla="*/ 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328">
                  <a:moveTo>
                    <a:pt x="78" y="97"/>
                  </a:moveTo>
                  <a:cubicBezTo>
                    <a:pt x="78" y="163"/>
                    <a:pt x="78" y="163"/>
                    <a:pt x="78" y="163"/>
                  </a:cubicBezTo>
                  <a:cubicBezTo>
                    <a:pt x="0" y="278"/>
                    <a:pt x="0" y="278"/>
                    <a:pt x="0" y="278"/>
                  </a:cubicBezTo>
                  <a:cubicBezTo>
                    <a:pt x="78" y="328"/>
                    <a:pt x="78" y="328"/>
                    <a:pt x="78" y="328"/>
                  </a:cubicBezTo>
                  <a:cubicBezTo>
                    <a:pt x="78" y="328"/>
                    <a:pt x="113" y="194"/>
                    <a:pt x="131" y="179"/>
                  </a:cubicBezTo>
                  <a:cubicBezTo>
                    <a:pt x="131" y="179"/>
                    <a:pt x="161" y="158"/>
                    <a:pt x="177" y="129"/>
                  </a:cubicBezTo>
                  <a:cubicBezTo>
                    <a:pt x="193" y="100"/>
                    <a:pt x="185" y="0"/>
                    <a:pt x="107" y="89"/>
                  </a:cubicBezTo>
                  <a:cubicBezTo>
                    <a:pt x="107" y="96"/>
                    <a:pt x="107" y="96"/>
                    <a:pt x="107" y="96"/>
                  </a:cubicBezTo>
                  <a:lnTo>
                    <a:pt x="78" y="97"/>
                  </a:lnTo>
                  <a:close/>
                </a:path>
              </a:pathLst>
            </a:custGeom>
            <a:solidFill>
              <a:srgbClr val="FDA5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ŝľîďê">
              <a:extLst>
                <a:ext uri="{FF2B5EF4-FFF2-40B4-BE49-F238E27FC236}">
                  <a16:creationId xmlns:a16="http://schemas.microsoft.com/office/drawing/2014/main" id="{7A7765E5-F7DB-4564-A712-65563D6C0364}"/>
                </a:ext>
              </a:extLst>
            </p:cNvPr>
            <p:cNvSpPr/>
            <p:nvPr/>
          </p:nvSpPr>
          <p:spPr bwMode="auto">
            <a:xfrm>
              <a:off x="3579476" y="2443188"/>
              <a:ext cx="304718" cy="180405"/>
            </a:xfrm>
            <a:custGeom>
              <a:avLst/>
              <a:gdLst>
                <a:gd name="T0" fmla="*/ 2 w 172"/>
                <a:gd name="T1" fmla="*/ 75 h 102"/>
                <a:gd name="T2" fmla="*/ 33 w 172"/>
                <a:gd name="T3" fmla="*/ 13 h 102"/>
                <a:gd name="T4" fmla="*/ 42 w 172"/>
                <a:gd name="T5" fmla="*/ 7 h 102"/>
                <a:gd name="T6" fmla="*/ 160 w 172"/>
                <a:gd name="T7" fmla="*/ 1 h 102"/>
                <a:gd name="T8" fmla="*/ 172 w 172"/>
                <a:gd name="T9" fmla="*/ 12 h 102"/>
                <a:gd name="T10" fmla="*/ 171 w 172"/>
                <a:gd name="T11" fmla="*/ 16 h 102"/>
                <a:gd name="T12" fmla="*/ 141 w 172"/>
                <a:gd name="T13" fmla="*/ 95 h 102"/>
                <a:gd name="T14" fmla="*/ 129 w 172"/>
                <a:gd name="T15" fmla="*/ 102 h 102"/>
                <a:gd name="T16" fmla="*/ 11 w 172"/>
                <a:gd name="T17" fmla="*/ 91 h 102"/>
                <a:gd name="T18" fmla="*/ 1 w 172"/>
                <a:gd name="T19" fmla="*/ 79 h 102"/>
                <a:gd name="T20" fmla="*/ 2 w 172"/>
                <a:gd name="T21" fmla="*/ 7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 h="102">
                  <a:moveTo>
                    <a:pt x="2" y="75"/>
                  </a:moveTo>
                  <a:cubicBezTo>
                    <a:pt x="33" y="13"/>
                    <a:pt x="33" y="13"/>
                    <a:pt x="33" y="13"/>
                  </a:cubicBezTo>
                  <a:cubicBezTo>
                    <a:pt x="35" y="9"/>
                    <a:pt x="38" y="7"/>
                    <a:pt x="42" y="7"/>
                  </a:cubicBezTo>
                  <a:cubicBezTo>
                    <a:pt x="160" y="1"/>
                    <a:pt x="160" y="1"/>
                    <a:pt x="160" y="1"/>
                  </a:cubicBezTo>
                  <a:cubicBezTo>
                    <a:pt x="166" y="0"/>
                    <a:pt x="172" y="5"/>
                    <a:pt x="172" y="12"/>
                  </a:cubicBezTo>
                  <a:cubicBezTo>
                    <a:pt x="172" y="13"/>
                    <a:pt x="172" y="15"/>
                    <a:pt x="171" y="16"/>
                  </a:cubicBezTo>
                  <a:cubicBezTo>
                    <a:pt x="141" y="95"/>
                    <a:pt x="141" y="95"/>
                    <a:pt x="141" y="95"/>
                  </a:cubicBezTo>
                  <a:cubicBezTo>
                    <a:pt x="139" y="99"/>
                    <a:pt x="134" y="102"/>
                    <a:pt x="129" y="102"/>
                  </a:cubicBezTo>
                  <a:cubicBezTo>
                    <a:pt x="11" y="91"/>
                    <a:pt x="11" y="91"/>
                    <a:pt x="11" y="91"/>
                  </a:cubicBezTo>
                  <a:cubicBezTo>
                    <a:pt x="5" y="91"/>
                    <a:pt x="0" y="85"/>
                    <a:pt x="1" y="79"/>
                  </a:cubicBezTo>
                  <a:cubicBezTo>
                    <a:pt x="1" y="78"/>
                    <a:pt x="1" y="76"/>
                    <a:pt x="2" y="75"/>
                  </a:cubicBezTo>
                </a:path>
              </a:pathLst>
            </a:custGeom>
            <a:solidFill>
              <a:srgbClr val="FDA5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ŝḷídé">
              <a:extLst>
                <a:ext uri="{FF2B5EF4-FFF2-40B4-BE49-F238E27FC236}">
                  <a16:creationId xmlns:a16="http://schemas.microsoft.com/office/drawing/2014/main" id="{2BB7FD98-8E63-44EF-A1BE-9D6222DB0A45}"/>
                </a:ext>
              </a:extLst>
            </p:cNvPr>
            <p:cNvSpPr/>
            <p:nvPr/>
          </p:nvSpPr>
          <p:spPr bwMode="auto">
            <a:xfrm>
              <a:off x="3562800" y="2528084"/>
              <a:ext cx="363841" cy="104605"/>
            </a:xfrm>
            <a:custGeom>
              <a:avLst/>
              <a:gdLst>
                <a:gd name="T0" fmla="*/ 24 w 240"/>
                <a:gd name="T1" fmla="*/ 0 h 69"/>
                <a:gd name="T2" fmla="*/ 0 w 240"/>
                <a:gd name="T3" fmla="*/ 69 h 69"/>
                <a:gd name="T4" fmla="*/ 240 w 240"/>
                <a:gd name="T5" fmla="*/ 61 h 69"/>
                <a:gd name="T6" fmla="*/ 148 w 240"/>
                <a:gd name="T7" fmla="*/ 5 h 69"/>
                <a:gd name="T8" fmla="*/ 24 w 240"/>
                <a:gd name="T9" fmla="*/ 0 h 69"/>
              </a:gdLst>
              <a:ahLst/>
              <a:cxnLst>
                <a:cxn ang="0">
                  <a:pos x="T0" y="T1"/>
                </a:cxn>
                <a:cxn ang="0">
                  <a:pos x="T2" y="T3"/>
                </a:cxn>
                <a:cxn ang="0">
                  <a:pos x="T4" y="T5"/>
                </a:cxn>
                <a:cxn ang="0">
                  <a:pos x="T6" y="T7"/>
                </a:cxn>
                <a:cxn ang="0">
                  <a:pos x="T8" y="T9"/>
                </a:cxn>
              </a:cxnLst>
              <a:rect l="0" t="0" r="r" b="b"/>
              <a:pathLst>
                <a:path w="240" h="69">
                  <a:moveTo>
                    <a:pt x="24" y="0"/>
                  </a:moveTo>
                  <a:lnTo>
                    <a:pt x="0" y="69"/>
                  </a:lnTo>
                  <a:lnTo>
                    <a:pt x="240" y="61"/>
                  </a:lnTo>
                  <a:lnTo>
                    <a:pt x="148" y="5"/>
                  </a:lnTo>
                  <a:lnTo>
                    <a:pt x="24" y="0"/>
                  </a:lnTo>
                  <a:close/>
                </a:path>
              </a:pathLst>
            </a:custGeom>
            <a:solidFill>
              <a:srgbClr val="EDEE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šľíḋe">
              <a:extLst>
                <a:ext uri="{FF2B5EF4-FFF2-40B4-BE49-F238E27FC236}">
                  <a16:creationId xmlns:a16="http://schemas.microsoft.com/office/drawing/2014/main" id="{F63A99E2-4DB4-4B10-8A6F-D43C20759CDB}"/>
                </a:ext>
              </a:extLst>
            </p:cNvPr>
            <p:cNvSpPr/>
            <p:nvPr/>
          </p:nvSpPr>
          <p:spPr bwMode="auto">
            <a:xfrm>
              <a:off x="4522431" y="2609948"/>
              <a:ext cx="178889" cy="136440"/>
            </a:xfrm>
            <a:custGeom>
              <a:avLst/>
              <a:gdLst>
                <a:gd name="T0" fmla="*/ 0 w 118"/>
                <a:gd name="T1" fmla="*/ 15 h 90"/>
                <a:gd name="T2" fmla="*/ 13 w 118"/>
                <a:gd name="T3" fmla="*/ 0 h 90"/>
                <a:gd name="T4" fmla="*/ 118 w 118"/>
                <a:gd name="T5" fmla="*/ 62 h 90"/>
                <a:gd name="T6" fmla="*/ 118 w 118"/>
                <a:gd name="T7" fmla="*/ 90 h 90"/>
                <a:gd name="T8" fmla="*/ 0 w 118"/>
                <a:gd name="T9" fmla="*/ 15 h 90"/>
              </a:gdLst>
              <a:ahLst/>
              <a:cxnLst>
                <a:cxn ang="0">
                  <a:pos x="T0" y="T1"/>
                </a:cxn>
                <a:cxn ang="0">
                  <a:pos x="T2" y="T3"/>
                </a:cxn>
                <a:cxn ang="0">
                  <a:pos x="T4" y="T5"/>
                </a:cxn>
                <a:cxn ang="0">
                  <a:pos x="T6" y="T7"/>
                </a:cxn>
                <a:cxn ang="0">
                  <a:pos x="T8" y="T9"/>
                </a:cxn>
              </a:cxnLst>
              <a:rect l="0" t="0" r="r" b="b"/>
              <a:pathLst>
                <a:path w="118" h="90">
                  <a:moveTo>
                    <a:pt x="0" y="15"/>
                  </a:moveTo>
                  <a:lnTo>
                    <a:pt x="13" y="0"/>
                  </a:lnTo>
                  <a:lnTo>
                    <a:pt x="118" y="62"/>
                  </a:lnTo>
                  <a:lnTo>
                    <a:pt x="118" y="90"/>
                  </a:lnTo>
                  <a:lnTo>
                    <a:pt x="0" y="15"/>
                  </a:lnTo>
                  <a:close/>
                </a:path>
              </a:pathLst>
            </a:custGeom>
            <a:solidFill>
              <a:srgbClr val="EDEE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ïşľïḓé">
              <a:extLst>
                <a:ext uri="{FF2B5EF4-FFF2-40B4-BE49-F238E27FC236}">
                  <a16:creationId xmlns:a16="http://schemas.microsoft.com/office/drawing/2014/main" id="{EA0464E5-0B9D-4FD8-849B-34841FB1384C}"/>
                </a:ext>
              </a:extLst>
            </p:cNvPr>
            <p:cNvSpPr/>
            <p:nvPr/>
          </p:nvSpPr>
          <p:spPr bwMode="auto">
            <a:xfrm>
              <a:off x="3376331" y="3665088"/>
              <a:ext cx="955083" cy="2043575"/>
            </a:xfrm>
            <a:custGeom>
              <a:avLst/>
              <a:gdLst>
                <a:gd name="T0" fmla="*/ 42 w 538"/>
                <a:gd name="T1" fmla="*/ 0 h 1153"/>
                <a:gd name="T2" fmla="*/ 29 w 538"/>
                <a:gd name="T3" fmla="*/ 120 h 1153"/>
                <a:gd name="T4" fmla="*/ 37 w 538"/>
                <a:gd name="T5" fmla="*/ 317 h 1153"/>
                <a:gd name="T6" fmla="*/ 47 w 538"/>
                <a:gd name="T7" fmla="*/ 698 h 1153"/>
                <a:gd name="T8" fmla="*/ 47 w 538"/>
                <a:gd name="T9" fmla="*/ 914 h 1153"/>
                <a:gd name="T10" fmla="*/ 52 w 538"/>
                <a:gd name="T11" fmla="*/ 1126 h 1153"/>
                <a:gd name="T12" fmla="*/ 199 w 538"/>
                <a:gd name="T13" fmla="*/ 1126 h 1153"/>
                <a:gd name="T14" fmla="*/ 199 w 538"/>
                <a:gd name="T15" fmla="*/ 1008 h 1153"/>
                <a:gd name="T16" fmla="*/ 249 w 538"/>
                <a:gd name="T17" fmla="*/ 659 h 1153"/>
                <a:gd name="T18" fmla="*/ 249 w 538"/>
                <a:gd name="T19" fmla="*/ 480 h 1153"/>
                <a:gd name="T20" fmla="*/ 339 w 538"/>
                <a:gd name="T21" fmla="*/ 667 h 1153"/>
                <a:gd name="T22" fmla="*/ 236 w 538"/>
                <a:gd name="T23" fmla="*/ 1098 h 1153"/>
                <a:gd name="T24" fmla="*/ 370 w 538"/>
                <a:gd name="T25" fmla="*/ 1153 h 1153"/>
                <a:gd name="T26" fmla="*/ 538 w 538"/>
                <a:gd name="T27" fmla="*/ 669 h 1153"/>
                <a:gd name="T28" fmla="*/ 404 w 538"/>
                <a:gd name="T29" fmla="*/ 157 h 1153"/>
                <a:gd name="T30" fmla="*/ 384 w 538"/>
                <a:gd name="T31" fmla="*/ 14 h 1153"/>
                <a:gd name="T32" fmla="*/ 42 w 538"/>
                <a:gd name="T33" fmla="*/ 0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8" h="1153">
                  <a:moveTo>
                    <a:pt x="42" y="0"/>
                  </a:moveTo>
                  <a:cubicBezTo>
                    <a:pt x="51" y="40"/>
                    <a:pt x="46" y="82"/>
                    <a:pt x="29" y="120"/>
                  </a:cubicBezTo>
                  <a:cubicBezTo>
                    <a:pt x="0" y="180"/>
                    <a:pt x="0" y="244"/>
                    <a:pt x="37" y="317"/>
                  </a:cubicBezTo>
                  <a:cubicBezTo>
                    <a:pt x="47" y="698"/>
                    <a:pt x="47" y="698"/>
                    <a:pt x="47" y="698"/>
                  </a:cubicBezTo>
                  <a:cubicBezTo>
                    <a:pt x="47" y="698"/>
                    <a:pt x="60" y="877"/>
                    <a:pt x="47" y="914"/>
                  </a:cubicBezTo>
                  <a:cubicBezTo>
                    <a:pt x="34" y="950"/>
                    <a:pt x="52" y="1126"/>
                    <a:pt x="52" y="1126"/>
                  </a:cubicBezTo>
                  <a:cubicBezTo>
                    <a:pt x="199" y="1126"/>
                    <a:pt x="199" y="1126"/>
                    <a:pt x="199" y="1126"/>
                  </a:cubicBezTo>
                  <a:cubicBezTo>
                    <a:pt x="199" y="1008"/>
                    <a:pt x="199" y="1008"/>
                    <a:pt x="199" y="1008"/>
                  </a:cubicBezTo>
                  <a:cubicBezTo>
                    <a:pt x="249" y="659"/>
                    <a:pt x="249" y="659"/>
                    <a:pt x="249" y="659"/>
                  </a:cubicBezTo>
                  <a:cubicBezTo>
                    <a:pt x="249" y="480"/>
                    <a:pt x="249" y="480"/>
                    <a:pt x="249" y="480"/>
                  </a:cubicBezTo>
                  <a:cubicBezTo>
                    <a:pt x="339" y="667"/>
                    <a:pt x="339" y="667"/>
                    <a:pt x="339" y="667"/>
                  </a:cubicBezTo>
                  <a:cubicBezTo>
                    <a:pt x="236" y="1098"/>
                    <a:pt x="236" y="1098"/>
                    <a:pt x="236" y="1098"/>
                  </a:cubicBezTo>
                  <a:cubicBezTo>
                    <a:pt x="370" y="1153"/>
                    <a:pt x="370" y="1153"/>
                    <a:pt x="370" y="1153"/>
                  </a:cubicBezTo>
                  <a:cubicBezTo>
                    <a:pt x="538" y="669"/>
                    <a:pt x="538" y="669"/>
                    <a:pt x="538" y="669"/>
                  </a:cubicBezTo>
                  <a:cubicBezTo>
                    <a:pt x="538" y="669"/>
                    <a:pt x="509" y="288"/>
                    <a:pt x="404" y="157"/>
                  </a:cubicBezTo>
                  <a:cubicBezTo>
                    <a:pt x="384" y="14"/>
                    <a:pt x="384" y="14"/>
                    <a:pt x="384" y="14"/>
                  </a:cubicBezTo>
                  <a:cubicBezTo>
                    <a:pt x="42" y="0"/>
                    <a:pt x="42" y="0"/>
                    <a:pt x="42" y="0"/>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slíḋê">
              <a:extLst>
                <a:ext uri="{FF2B5EF4-FFF2-40B4-BE49-F238E27FC236}">
                  <a16:creationId xmlns:a16="http://schemas.microsoft.com/office/drawing/2014/main" id="{73E97180-6D35-4695-BD3F-6F379F488EDC}"/>
                </a:ext>
              </a:extLst>
            </p:cNvPr>
            <p:cNvSpPr/>
            <p:nvPr/>
          </p:nvSpPr>
          <p:spPr bwMode="auto">
            <a:xfrm>
              <a:off x="3465776" y="5661667"/>
              <a:ext cx="526054" cy="181921"/>
            </a:xfrm>
            <a:custGeom>
              <a:avLst/>
              <a:gdLst>
                <a:gd name="T0" fmla="*/ 0 w 297"/>
                <a:gd name="T1" fmla="*/ 98 h 103"/>
                <a:gd name="T2" fmla="*/ 0 w 297"/>
                <a:gd name="T3" fmla="*/ 0 h 103"/>
                <a:gd name="T4" fmla="*/ 149 w 297"/>
                <a:gd name="T5" fmla="*/ 0 h 103"/>
                <a:gd name="T6" fmla="*/ 228 w 297"/>
                <a:gd name="T7" fmla="*/ 48 h 103"/>
                <a:gd name="T8" fmla="*/ 197 w 297"/>
                <a:gd name="T9" fmla="*/ 103 h 103"/>
                <a:gd name="T10" fmla="*/ 0 w 297"/>
                <a:gd name="T11" fmla="*/ 98 h 103"/>
              </a:gdLst>
              <a:ahLst/>
              <a:cxnLst>
                <a:cxn ang="0">
                  <a:pos x="T0" y="T1"/>
                </a:cxn>
                <a:cxn ang="0">
                  <a:pos x="T2" y="T3"/>
                </a:cxn>
                <a:cxn ang="0">
                  <a:pos x="T4" y="T5"/>
                </a:cxn>
                <a:cxn ang="0">
                  <a:pos x="T6" y="T7"/>
                </a:cxn>
                <a:cxn ang="0">
                  <a:pos x="T8" y="T9"/>
                </a:cxn>
                <a:cxn ang="0">
                  <a:pos x="T10" y="T11"/>
                </a:cxn>
              </a:cxnLst>
              <a:rect l="0" t="0" r="r" b="b"/>
              <a:pathLst>
                <a:path w="297" h="103">
                  <a:moveTo>
                    <a:pt x="0" y="98"/>
                  </a:moveTo>
                  <a:cubicBezTo>
                    <a:pt x="0" y="0"/>
                    <a:pt x="0" y="0"/>
                    <a:pt x="0" y="0"/>
                  </a:cubicBezTo>
                  <a:cubicBezTo>
                    <a:pt x="149" y="0"/>
                    <a:pt x="149" y="0"/>
                    <a:pt x="149" y="0"/>
                  </a:cubicBezTo>
                  <a:cubicBezTo>
                    <a:pt x="149" y="0"/>
                    <a:pt x="160" y="40"/>
                    <a:pt x="228" y="48"/>
                  </a:cubicBezTo>
                  <a:cubicBezTo>
                    <a:pt x="297" y="56"/>
                    <a:pt x="197" y="103"/>
                    <a:pt x="197" y="103"/>
                  </a:cubicBezTo>
                  <a:lnTo>
                    <a:pt x="0" y="98"/>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Sḷidé">
              <a:extLst>
                <a:ext uri="{FF2B5EF4-FFF2-40B4-BE49-F238E27FC236}">
                  <a16:creationId xmlns:a16="http://schemas.microsoft.com/office/drawing/2014/main" id="{BBDAAD1A-69C7-488E-BDDD-00B2B229C8F3}"/>
                </a:ext>
              </a:extLst>
            </p:cNvPr>
            <p:cNvSpPr/>
            <p:nvPr/>
          </p:nvSpPr>
          <p:spPr bwMode="auto">
            <a:xfrm>
              <a:off x="3750785" y="5560095"/>
              <a:ext cx="529086" cy="269849"/>
            </a:xfrm>
            <a:custGeom>
              <a:avLst/>
              <a:gdLst>
                <a:gd name="T0" fmla="*/ 0 w 298"/>
                <a:gd name="T1" fmla="*/ 94 h 152"/>
                <a:gd name="T2" fmla="*/ 26 w 298"/>
                <a:gd name="T3" fmla="*/ 0 h 152"/>
                <a:gd name="T4" fmla="*/ 171 w 298"/>
                <a:gd name="T5" fmla="*/ 40 h 152"/>
                <a:gd name="T6" fmla="*/ 234 w 298"/>
                <a:gd name="T7" fmla="*/ 107 h 152"/>
                <a:gd name="T8" fmla="*/ 189 w 298"/>
                <a:gd name="T9" fmla="*/ 152 h 152"/>
                <a:gd name="T10" fmla="*/ 0 w 298"/>
                <a:gd name="T11" fmla="*/ 94 h 152"/>
              </a:gdLst>
              <a:ahLst/>
              <a:cxnLst>
                <a:cxn ang="0">
                  <a:pos x="T0" y="T1"/>
                </a:cxn>
                <a:cxn ang="0">
                  <a:pos x="T2" y="T3"/>
                </a:cxn>
                <a:cxn ang="0">
                  <a:pos x="T4" y="T5"/>
                </a:cxn>
                <a:cxn ang="0">
                  <a:pos x="T6" y="T7"/>
                </a:cxn>
                <a:cxn ang="0">
                  <a:pos x="T8" y="T9"/>
                </a:cxn>
                <a:cxn ang="0">
                  <a:pos x="T10" y="T11"/>
                </a:cxn>
              </a:cxnLst>
              <a:rect l="0" t="0" r="r" b="b"/>
              <a:pathLst>
                <a:path w="298" h="152">
                  <a:moveTo>
                    <a:pt x="0" y="94"/>
                  </a:moveTo>
                  <a:cubicBezTo>
                    <a:pt x="26" y="0"/>
                    <a:pt x="26" y="0"/>
                    <a:pt x="26" y="0"/>
                  </a:cubicBezTo>
                  <a:cubicBezTo>
                    <a:pt x="171" y="40"/>
                    <a:pt x="171" y="40"/>
                    <a:pt x="171" y="40"/>
                  </a:cubicBezTo>
                  <a:cubicBezTo>
                    <a:pt x="171" y="40"/>
                    <a:pt x="170" y="81"/>
                    <a:pt x="234" y="107"/>
                  </a:cubicBezTo>
                  <a:cubicBezTo>
                    <a:pt x="298" y="133"/>
                    <a:pt x="189" y="152"/>
                    <a:pt x="189" y="152"/>
                  </a:cubicBezTo>
                  <a:lnTo>
                    <a:pt x="0" y="9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ṩļiḋe">
              <a:extLst>
                <a:ext uri="{FF2B5EF4-FFF2-40B4-BE49-F238E27FC236}">
                  <a16:creationId xmlns:a16="http://schemas.microsoft.com/office/drawing/2014/main" id="{E8308535-0B4A-4411-B2AA-F5614FE09323}"/>
                </a:ext>
              </a:extLst>
            </p:cNvPr>
            <p:cNvSpPr/>
            <p:nvPr/>
          </p:nvSpPr>
          <p:spPr bwMode="auto">
            <a:xfrm>
              <a:off x="3456680" y="3777272"/>
              <a:ext cx="620047" cy="60640"/>
            </a:xfrm>
            <a:custGeom>
              <a:avLst/>
              <a:gdLst>
                <a:gd name="T0" fmla="*/ 1 w 349"/>
                <a:gd name="T1" fmla="*/ 0 h 35"/>
                <a:gd name="T2" fmla="*/ 0 w 349"/>
                <a:gd name="T3" fmla="*/ 7 h 35"/>
                <a:gd name="T4" fmla="*/ 39 w 349"/>
                <a:gd name="T5" fmla="*/ 35 h 35"/>
                <a:gd name="T6" fmla="*/ 49 w 349"/>
                <a:gd name="T7" fmla="*/ 33 h 35"/>
                <a:gd name="T8" fmla="*/ 349 w 349"/>
                <a:gd name="T9" fmla="*/ 24 h 35"/>
                <a:gd name="T10" fmla="*/ 348 w 349"/>
                <a:gd name="T11" fmla="*/ 16 h 35"/>
                <a:gd name="T12" fmla="*/ 49 w 349"/>
                <a:gd name="T13" fmla="*/ 26 h 35"/>
                <a:gd name="T14" fmla="*/ 39 w 349"/>
                <a:gd name="T15" fmla="*/ 27 h 35"/>
                <a:gd name="T16" fmla="*/ 1 w 349"/>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9" h="35">
                  <a:moveTo>
                    <a:pt x="1" y="0"/>
                  </a:moveTo>
                  <a:cubicBezTo>
                    <a:pt x="1" y="2"/>
                    <a:pt x="0" y="5"/>
                    <a:pt x="0" y="7"/>
                  </a:cubicBezTo>
                  <a:cubicBezTo>
                    <a:pt x="10" y="31"/>
                    <a:pt x="28" y="35"/>
                    <a:pt x="39" y="35"/>
                  </a:cubicBezTo>
                  <a:cubicBezTo>
                    <a:pt x="45" y="35"/>
                    <a:pt x="49" y="33"/>
                    <a:pt x="49" y="33"/>
                  </a:cubicBezTo>
                  <a:cubicBezTo>
                    <a:pt x="349" y="24"/>
                    <a:pt x="349" y="24"/>
                    <a:pt x="349" y="24"/>
                  </a:cubicBezTo>
                  <a:cubicBezTo>
                    <a:pt x="348" y="16"/>
                    <a:pt x="348" y="16"/>
                    <a:pt x="348" y="16"/>
                  </a:cubicBezTo>
                  <a:cubicBezTo>
                    <a:pt x="49" y="26"/>
                    <a:pt x="49" y="26"/>
                    <a:pt x="49" y="26"/>
                  </a:cubicBezTo>
                  <a:cubicBezTo>
                    <a:pt x="49" y="26"/>
                    <a:pt x="45" y="27"/>
                    <a:pt x="39" y="27"/>
                  </a:cubicBezTo>
                  <a:cubicBezTo>
                    <a:pt x="28" y="27"/>
                    <a:pt x="11" y="23"/>
                    <a:pt x="1"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îslíḋê">
              <a:extLst>
                <a:ext uri="{FF2B5EF4-FFF2-40B4-BE49-F238E27FC236}">
                  <a16:creationId xmlns:a16="http://schemas.microsoft.com/office/drawing/2014/main" id="{B55FCCCD-06F7-4703-877E-BFA57F787622}"/>
                </a:ext>
              </a:extLst>
            </p:cNvPr>
            <p:cNvSpPr/>
            <p:nvPr/>
          </p:nvSpPr>
          <p:spPr bwMode="auto">
            <a:xfrm>
              <a:off x="3324787" y="2593273"/>
              <a:ext cx="1376533" cy="1268897"/>
            </a:xfrm>
            <a:custGeom>
              <a:avLst/>
              <a:gdLst>
                <a:gd name="T0" fmla="*/ 140 w 775"/>
                <a:gd name="T1" fmla="*/ 0 h 715"/>
                <a:gd name="T2" fmla="*/ 127 w 775"/>
                <a:gd name="T3" fmla="*/ 9 h 715"/>
                <a:gd name="T4" fmla="*/ 18 w 775"/>
                <a:gd name="T5" fmla="*/ 268 h 715"/>
                <a:gd name="T6" fmla="*/ 71 w 775"/>
                <a:gd name="T7" fmla="*/ 566 h 715"/>
                <a:gd name="T8" fmla="*/ 123 w 775"/>
                <a:gd name="T9" fmla="*/ 693 h 715"/>
                <a:gd name="T10" fmla="*/ 424 w 775"/>
                <a:gd name="T11" fmla="*/ 683 h 715"/>
                <a:gd name="T12" fmla="*/ 446 w 775"/>
                <a:gd name="T13" fmla="*/ 231 h 715"/>
                <a:gd name="T14" fmla="*/ 709 w 775"/>
                <a:gd name="T15" fmla="*/ 194 h 715"/>
                <a:gd name="T16" fmla="*/ 775 w 775"/>
                <a:gd name="T17" fmla="*/ 93 h 715"/>
                <a:gd name="T18" fmla="*/ 675 w 775"/>
                <a:gd name="T19" fmla="*/ 24 h 715"/>
                <a:gd name="T20" fmla="*/ 641 w 775"/>
                <a:gd name="T21" fmla="*/ 73 h 715"/>
                <a:gd name="T22" fmla="*/ 475 w 775"/>
                <a:gd name="T23" fmla="*/ 27 h 715"/>
                <a:gd name="T24" fmla="*/ 389 w 775"/>
                <a:gd name="T25" fmla="*/ 8 h 715"/>
                <a:gd name="T26" fmla="*/ 140 w 775"/>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5" h="715">
                  <a:moveTo>
                    <a:pt x="140" y="0"/>
                  </a:moveTo>
                  <a:cubicBezTo>
                    <a:pt x="127" y="9"/>
                    <a:pt x="127" y="9"/>
                    <a:pt x="127" y="9"/>
                  </a:cubicBezTo>
                  <a:cubicBezTo>
                    <a:pt x="42" y="66"/>
                    <a:pt x="0" y="168"/>
                    <a:pt x="18" y="268"/>
                  </a:cubicBezTo>
                  <a:cubicBezTo>
                    <a:pt x="18" y="268"/>
                    <a:pt x="94" y="417"/>
                    <a:pt x="71" y="566"/>
                  </a:cubicBezTo>
                  <a:cubicBezTo>
                    <a:pt x="47" y="715"/>
                    <a:pt x="123" y="693"/>
                    <a:pt x="123" y="693"/>
                  </a:cubicBezTo>
                  <a:cubicBezTo>
                    <a:pt x="424" y="683"/>
                    <a:pt x="424" y="683"/>
                    <a:pt x="424" y="683"/>
                  </a:cubicBezTo>
                  <a:cubicBezTo>
                    <a:pt x="446" y="231"/>
                    <a:pt x="446" y="231"/>
                    <a:pt x="446" y="231"/>
                  </a:cubicBezTo>
                  <a:cubicBezTo>
                    <a:pt x="446" y="231"/>
                    <a:pt x="628" y="257"/>
                    <a:pt x="709" y="194"/>
                  </a:cubicBezTo>
                  <a:cubicBezTo>
                    <a:pt x="775" y="93"/>
                    <a:pt x="775" y="93"/>
                    <a:pt x="775" y="93"/>
                  </a:cubicBezTo>
                  <a:cubicBezTo>
                    <a:pt x="675" y="24"/>
                    <a:pt x="675" y="24"/>
                    <a:pt x="675" y="24"/>
                  </a:cubicBezTo>
                  <a:cubicBezTo>
                    <a:pt x="641" y="73"/>
                    <a:pt x="641" y="73"/>
                    <a:pt x="641" y="73"/>
                  </a:cubicBezTo>
                  <a:cubicBezTo>
                    <a:pt x="641" y="73"/>
                    <a:pt x="534" y="51"/>
                    <a:pt x="475" y="27"/>
                  </a:cubicBezTo>
                  <a:cubicBezTo>
                    <a:pt x="448" y="16"/>
                    <a:pt x="419" y="9"/>
                    <a:pt x="389" y="8"/>
                  </a:cubicBezTo>
                  <a:cubicBezTo>
                    <a:pt x="140" y="0"/>
                    <a:pt x="140" y="0"/>
                    <a:pt x="140" y="0"/>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íšļide">
              <a:extLst>
                <a:ext uri="{FF2B5EF4-FFF2-40B4-BE49-F238E27FC236}">
                  <a16:creationId xmlns:a16="http://schemas.microsoft.com/office/drawing/2014/main" id="{4DE4196D-49DD-47CA-AE46-3A40DB61DE7F}"/>
                </a:ext>
              </a:extLst>
            </p:cNvPr>
            <p:cNvSpPr/>
            <p:nvPr/>
          </p:nvSpPr>
          <p:spPr bwMode="auto">
            <a:xfrm>
              <a:off x="3547640" y="3884909"/>
              <a:ext cx="186469" cy="432062"/>
            </a:xfrm>
            <a:custGeom>
              <a:avLst/>
              <a:gdLst>
                <a:gd name="T0" fmla="*/ 18 w 105"/>
                <a:gd name="T1" fmla="*/ 0 h 244"/>
                <a:gd name="T2" fmla="*/ 105 w 105"/>
                <a:gd name="T3" fmla="*/ 244 h 244"/>
                <a:gd name="T4" fmla="*/ 18 w 105"/>
                <a:gd name="T5" fmla="*/ 0 h 244"/>
              </a:gdLst>
              <a:ahLst/>
              <a:cxnLst>
                <a:cxn ang="0">
                  <a:pos x="T0" y="T1"/>
                </a:cxn>
                <a:cxn ang="0">
                  <a:pos x="T2" y="T3"/>
                </a:cxn>
                <a:cxn ang="0">
                  <a:pos x="T4" y="T5"/>
                </a:cxn>
              </a:cxnLst>
              <a:rect l="0" t="0" r="r" b="b"/>
              <a:pathLst>
                <a:path w="105" h="244">
                  <a:moveTo>
                    <a:pt x="18" y="0"/>
                  </a:moveTo>
                  <a:cubicBezTo>
                    <a:pt x="18" y="0"/>
                    <a:pt x="0" y="92"/>
                    <a:pt x="105" y="244"/>
                  </a:cubicBezTo>
                  <a:cubicBezTo>
                    <a:pt x="18" y="0"/>
                    <a:pt x="18" y="0"/>
                    <a:pt x="18"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şḻïdê">
              <a:extLst>
                <a:ext uri="{FF2B5EF4-FFF2-40B4-BE49-F238E27FC236}">
                  <a16:creationId xmlns:a16="http://schemas.microsoft.com/office/drawing/2014/main" id="{A7DCBD18-6F70-47E2-9982-B295C515083A}"/>
                </a:ext>
              </a:extLst>
            </p:cNvPr>
            <p:cNvSpPr/>
            <p:nvPr/>
          </p:nvSpPr>
          <p:spPr bwMode="auto">
            <a:xfrm>
              <a:off x="4120690" y="2972274"/>
              <a:ext cx="401742" cy="43965"/>
            </a:xfrm>
            <a:custGeom>
              <a:avLst/>
              <a:gdLst>
                <a:gd name="T0" fmla="*/ 180 w 227"/>
                <a:gd name="T1" fmla="*/ 14 h 25"/>
                <a:gd name="T2" fmla="*/ 83 w 227"/>
                <a:gd name="T3" fmla="*/ 23 h 25"/>
                <a:gd name="T4" fmla="*/ 0 w 227"/>
                <a:gd name="T5" fmla="*/ 18 h 25"/>
                <a:gd name="T6" fmla="*/ 0 w 227"/>
                <a:gd name="T7" fmla="*/ 18 h 25"/>
                <a:gd name="T8" fmla="*/ 81 w 227"/>
                <a:gd name="T9" fmla="*/ 25 h 25"/>
                <a:gd name="T10" fmla="*/ 180 w 227"/>
                <a:gd name="T11" fmla="*/ 14 h 25"/>
                <a:gd name="T12" fmla="*/ 227 w 227"/>
                <a:gd name="T13" fmla="*/ 0 h 25"/>
                <a:gd name="T14" fmla="*/ 213 w 227"/>
                <a:gd name="T15" fmla="*/ 5 h 25"/>
                <a:gd name="T16" fmla="*/ 227 w 227"/>
                <a:gd name="T17" fmla="*/ 0 h 25"/>
                <a:gd name="T18" fmla="*/ 227 w 227"/>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5">
                  <a:moveTo>
                    <a:pt x="180" y="14"/>
                  </a:moveTo>
                  <a:cubicBezTo>
                    <a:pt x="147" y="21"/>
                    <a:pt x="113" y="23"/>
                    <a:pt x="83" y="23"/>
                  </a:cubicBezTo>
                  <a:cubicBezTo>
                    <a:pt x="41" y="23"/>
                    <a:pt x="8" y="19"/>
                    <a:pt x="0" y="18"/>
                  </a:cubicBezTo>
                  <a:cubicBezTo>
                    <a:pt x="0" y="18"/>
                    <a:pt x="0" y="18"/>
                    <a:pt x="0" y="18"/>
                  </a:cubicBezTo>
                  <a:cubicBezTo>
                    <a:pt x="29" y="23"/>
                    <a:pt x="57" y="25"/>
                    <a:pt x="81" y="25"/>
                  </a:cubicBezTo>
                  <a:cubicBezTo>
                    <a:pt x="122" y="25"/>
                    <a:pt x="155" y="20"/>
                    <a:pt x="180" y="14"/>
                  </a:cubicBezTo>
                  <a:moveTo>
                    <a:pt x="227" y="0"/>
                  </a:moveTo>
                  <a:cubicBezTo>
                    <a:pt x="223" y="2"/>
                    <a:pt x="218" y="4"/>
                    <a:pt x="213" y="5"/>
                  </a:cubicBezTo>
                  <a:cubicBezTo>
                    <a:pt x="222" y="2"/>
                    <a:pt x="227" y="0"/>
                    <a:pt x="227" y="0"/>
                  </a:cubicBezTo>
                  <a:cubicBezTo>
                    <a:pt x="227" y="0"/>
                    <a:pt x="227" y="0"/>
                    <a:pt x="227" y="0"/>
                  </a:cubicBezTo>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íṧļïďe">
              <a:extLst>
                <a:ext uri="{FF2B5EF4-FFF2-40B4-BE49-F238E27FC236}">
                  <a16:creationId xmlns:a16="http://schemas.microsoft.com/office/drawing/2014/main" id="{3C27DD16-87B3-4B0F-A91E-9C7047874CFF}"/>
                </a:ext>
              </a:extLst>
            </p:cNvPr>
            <p:cNvSpPr/>
            <p:nvPr/>
          </p:nvSpPr>
          <p:spPr bwMode="auto">
            <a:xfrm>
              <a:off x="4120690" y="2928309"/>
              <a:ext cx="413870" cy="83381"/>
            </a:xfrm>
            <a:custGeom>
              <a:avLst/>
              <a:gdLst>
                <a:gd name="T0" fmla="*/ 181 w 233"/>
                <a:gd name="T1" fmla="*/ 0 h 47"/>
                <a:gd name="T2" fmla="*/ 0 w 233"/>
                <a:gd name="T3" fmla="*/ 42 h 47"/>
                <a:gd name="T4" fmla="*/ 83 w 233"/>
                <a:gd name="T5" fmla="*/ 47 h 47"/>
                <a:gd name="T6" fmla="*/ 180 w 233"/>
                <a:gd name="T7" fmla="*/ 38 h 47"/>
                <a:gd name="T8" fmla="*/ 213 w 233"/>
                <a:gd name="T9" fmla="*/ 29 h 47"/>
                <a:gd name="T10" fmla="*/ 227 w 233"/>
                <a:gd name="T11" fmla="*/ 24 h 47"/>
                <a:gd name="T12" fmla="*/ 181 w 233"/>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233" h="47">
                  <a:moveTo>
                    <a:pt x="181" y="0"/>
                  </a:moveTo>
                  <a:cubicBezTo>
                    <a:pt x="128" y="0"/>
                    <a:pt x="9" y="39"/>
                    <a:pt x="0" y="42"/>
                  </a:cubicBezTo>
                  <a:cubicBezTo>
                    <a:pt x="8" y="43"/>
                    <a:pt x="41" y="47"/>
                    <a:pt x="83" y="47"/>
                  </a:cubicBezTo>
                  <a:cubicBezTo>
                    <a:pt x="113" y="47"/>
                    <a:pt x="147" y="45"/>
                    <a:pt x="180" y="38"/>
                  </a:cubicBezTo>
                  <a:cubicBezTo>
                    <a:pt x="194" y="35"/>
                    <a:pt x="205" y="32"/>
                    <a:pt x="213" y="29"/>
                  </a:cubicBezTo>
                  <a:cubicBezTo>
                    <a:pt x="218" y="28"/>
                    <a:pt x="223" y="26"/>
                    <a:pt x="227" y="24"/>
                  </a:cubicBezTo>
                  <a:cubicBezTo>
                    <a:pt x="228" y="22"/>
                    <a:pt x="233" y="0"/>
                    <a:pt x="181" y="0"/>
                  </a:cubicBezTo>
                </a:path>
              </a:pathLst>
            </a:custGeom>
            <a:solidFill>
              <a:srgbClr val="2E2E2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iṡḷïḋé">
              <a:extLst>
                <a:ext uri="{FF2B5EF4-FFF2-40B4-BE49-F238E27FC236}">
                  <a16:creationId xmlns:a16="http://schemas.microsoft.com/office/drawing/2014/main" id="{287715B0-F0BD-4B0A-97AD-5F33DA28FD9E}"/>
                </a:ext>
              </a:extLst>
            </p:cNvPr>
            <p:cNvSpPr/>
            <p:nvPr/>
          </p:nvSpPr>
          <p:spPr bwMode="auto">
            <a:xfrm>
              <a:off x="3862969" y="2512924"/>
              <a:ext cx="7581" cy="12128"/>
            </a:xfrm>
            <a:custGeom>
              <a:avLst/>
              <a:gdLst>
                <a:gd name="T0" fmla="*/ 4 w 4"/>
                <a:gd name="T1" fmla="*/ 0 h 7"/>
                <a:gd name="T2" fmla="*/ 2 w 4"/>
                <a:gd name="T3" fmla="*/ 1 h 7"/>
                <a:gd name="T4" fmla="*/ 0 w 4"/>
                <a:gd name="T5" fmla="*/ 7 h 7"/>
                <a:gd name="T6" fmla="*/ 3 w 4"/>
                <a:gd name="T7" fmla="*/ 6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cubicBezTo>
                    <a:pt x="3" y="0"/>
                    <a:pt x="3" y="0"/>
                    <a:pt x="2" y="1"/>
                  </a:cubicBezTo>
                  <a:cubicBezTo>
                    <a:pt x="0" y="7"/>
                    <a:pt x="0" y="7"/>
                    <a:pt x="0" y="7"/>
                  </a:cubicBezTo>
                  <a:cubicBezTo>
                    <a:pt x="1" y="7"/>
                    <a:pt x="2" y="6"/>
                    <a:pt x="3" y="6"/>
                  </a:cubicBezTo>
                  <a:cubicBezTo>
                    <a:pt x="4" y="0"/>
                    <a:pt x="4" y="0"/>
                    <a:pt x="4" y="0"/>
                  </a:cubicBezTo>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îšḷíḋé">
              <a:extLst>
                <a:ext uri="{FF2B5EF4-FFF2-40B4-BE49-F238E27FC236}">
                  <a16:creationId xmlns:a16="http://schemas.microsoft.com/office/drawing/2014/main" id="{FDF6ED04-950D-44FE-88C0-918AFA1D07BC}"/>
                </a:ext>
              </a:extLst>
            </p:cNvPr>
            <p:cNvSpPr/>
            <p:nvPr/>
          </p:nvSpPr>
          <p:spPr bwMode="auto">
            <a:xfrm>
              <a:off x="3809909" y="2514440"/>
              <a:ext cx="56093" cy="15160"/>
            </a:xfrm>
            <a:custGeom>
              <a:avLst/>
              <a:gdLst>
                <a:gd name="T0" fmla="*/ 32 w 32"/>
                <a:gd name="T1" fmla="*/ 0 h 9"/>
                <a:gd name="T2" fmla="*/ 0 w 32"/>
                <a:gd name="T3" fmla="*/ 4 h 9"/>
                <a:gd name="T4" fmla="*/ 18 w 32"/>
                <a:gd name="T5" fmla="*/ 9 h 9"/>
                <a:gd name="T6" fmla="*/ 30 w 32"/>
                <a:gd name="T7" fmla="*/ 6 h 9"/>
                <a:gd name="T8" fmla="*/ 32 w 32"/>
                <a:gd name="T9" fmla="*/ 0 h 9"/>
              </a:gdLst>
              <a:ahLst/>
              <a:cxnLst>
                <a:cxn ang="0">
                  <a:pos x="T0" y="T1"/>
                </a:cxn>
                <a:cxn ang="0">
                  <a:pos x="T2" y="T3"/>
                </a:cxn>
                <a:cxn ang="0">
                  <a:pos x="T4" y="T5"/>
                </a:cxn>
                <a:cxn ang="0">
                  <a:pos x="T6" y="T7"/>
                </a:cxn>
                <a:cxn ang="0">
                  <a:pos x="T8" y="T9"/>
                </a:cxn>
              </a:cxnLst>
              <a:rect l="0" t="0" r="r" b="b"/>
              <a:pathLst>
                <a:path w="32" h="9">
                  <a:moveTo>
                    <a:pt x="32" y="0"/>
                  </a:moveTo>
                  <a:cubicBezTo>
                    <a:pt x="22" y="2"/>
                    <a:pt x="11" y="3"/>
                    <a:pt x="0" y="4"/>
                  </a:cubicBezTo>
                  <a:cubicBezTo>
                    <a:pt x="6" y="7"/>
                    <a:pt x="12" y="9"/>
                    <a:pt x="18" y="9"/>
                  </a:cubicBezTo>
                  <a:cubicBezTo>
                    <a:pt x="22" y="9"/>
                    <a:pt x="26" y="8"/>
                    <a:pt x="30" y="6"/>
                  </a:cubicBezTo>
                  <a:cubicBezTo>
                    <a:pt x="32" y="0"/>
                    <a:pt x="32" y="0"/>
                    <a:pt x="32" y="0"/>
                  </a:cubicBezTo>
                </a:path>
              </a:pathLst>
            </a:custGeom>
            <a:solidFill>
              <a:srgbClr val="E394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í$ḻîdè">
              <a:extLst>
                <a:ext uri="{FF2B5EF4-FFF2-40B4-BE49-F238E27FC236}">
                  <a16:creationId xmlns:a16="http://schemas.microsoft.com/office/drawing/2014/main" id="{17E5BF70-EABD-4A65-A9FF-DAA3AE479F70}"/>
                </a:ext>
              </a:extLst>
            </p:cNvPr>
            <p:cNvSpPr/>
            <p:nvPr/>
          </p:nvSpPr>
          <p:spPr bwMode="auto">
            <a:xfrm>
              <a:off x="3530964" y="1976258"/>
              <a:ext cx="545762" cy="544246"/>
            </a:xfrm>
            <a:prstGeom prst="ellipse">
              <a:avLst/>
            </a:prstGeom>
            <a:solidFill>
              <a:srgbClr val="FDA57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íśḻîde">
              <a:extLst>
                <a:ext uri="{FF2B5EF4-FFF2-40B4-BE49-F238E27FC236}">
                  <a16:creationId xmlns:a16="http://schemas.microsoft.com/office/drawing/2014/main" id="{8492BF94-5EB0-4C7F-B54F-11E069C940FA}"/>
                </a:ext>
              </a:extLst>
            </p:cNvPr>
            <p:cNvSpPr/>
            <p:nvPr/>
          </p:nvSpPr>
          <p:spPr bwMode="auto">
            <a:xfrm>
              <a:off x="3464260" y="1909554"/>
              <a:ext cx="571534" cy="565470"/>
            </a:xfrm>
            <a:custGeom>
              <a:avLst/>
              <a:gdLst>
                <a:gd name="T0" fmla="*/ 209 w 322"/>
                <a:gd name="T1" fmla="*/ 0 h 319"/>
                <a:gd name="T2" fmla="*/ 144 w 322"/>
                <a:gd name="T3" fmla="*/ 8 h 319"/>
                <a:gd name="T4" fmla="*/ 70 w 322"/>
                <a:gd name="T5" fmla="*/ 92 h 319"/>
                <a:gd name="T6" fmla="*/ 22 w 322"/>
                <a:gd name="T7" fmla="*/ 162 h 319"/>
                <a:gd name="T8" fmla="*/ 95 w 322"/>
                <a:gd name="T9" fmla="*/ 319 h 319"/>
                <a:gd name="T10" fmla="*/ 98 w 322"/>
                <a:gd name="T11" fmla="*/ 314 h 319"/>
                <a:gd name="T12" fmla="*/ 98 w 322"/>
                <a:gd name="T13" fmla="*/ 313 h 319"/>
                <a:gd name="T14" fmla="*/ 38 w 322"/>
                <a:gd name="T15" fmla="*/ 191 h 319"/>
                <a:gd name="T16" fmla="*/ 192 w 322"/>
                <a:gd name="T17" fmla="*/ 38 h 319"/>
                <a:gd name="T18" fmla="*/ 320 w 322"/>
                <a:gd name="T19" fmla="*/ 107 h 319"/>
                <a:gd name="T20" fmla="*/ 322 w 322"/>
                <a:gd name="T21" fmla="*/ 105 h 319"/>
                <a:gd name="T22" fmla="*/ 322 w 322"/>
                <a:gd name="T23" fmla="*/ 41 h 319"/>
                <a:gd name="T24" fmla="*/ 209 w 322"/>
                <a:gd name="T2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2" h="319">
                  <a:moveTo>
                    <a:pt x="209" y="0"/>
                  </a:moveTo>
                  <a:cubicBezTo>
                    <a:pt x="186" y="0"/>
                    <a:pt x="163" y="3"/>
                    <a:pt x="144" y="8"/>
                  </a:cubicBezTo>
                  <a:cubicBezTo>
                    <a:pt x="104" y="17"/>
                    <a:pt x="74" y="51"/>
                    <a:pt x="70" y="92"/>
                  </a:cubicBezTo>
                  <a:cubicBezTo>
                    <a:pt x="0" y="111"/>
                    <a:pt x="23" y="148"/>
                    <a:pt x="22" y="162"/>
                  </a:cubicBezTo>
                  <a:cubicBezTo>
                    <a:pt x="14" y="263"/>
                    <a:pt x="65" y="304"/>
                    <a:pt x="95" y="319"/>
                  </a:cubicBezTo>
                  <a:cubicBezTo>
                    <a:pt x="98" y="314"/>
                    <a:pt x="98" y="314"/>
                    <a:pt x="98" y="314"/>
                  </a:cubicBezTo>
                  <a:cubicBezTo>
                    <a:pt x="98" y="314"/>
                    <a:pt x="98" y="313"/>
                    <a:pt x="98" y="313"/>
                  </a:cubicBezTo>
                  <a:cubicBezTo>
                    <a:pt x="62" y="285"/>
                    <a:pt x="38" y="241"/>
                    <a:pt x="38" y="191"/>
                  </a:cubicBezTo>
                  <a:cubicBezTo>
                    <a:pt x="38" y="107"/>
                    <a:pt x="107" y="38"/>
                    <a:pt x="192" y="38"/>
                  </a:cubicBezTo>
                  <a:cubicBezTo>
                    <a:pt x="245" y="38"/>
                    <a:pt x="292" y="66"/>
                    <a:pt x="320" y="107"/>
                  </a:cubicBezTo>
                  <a:cubicBezTo>
                    <a:pt x="322" y="105"/>
                    <a:pt x="322" y="105"/>
                    <a:pt x="322" y="105"/>
                  </a:cubicBezTo>
                  <a:cubicBezTo>
                    <a:pt x="322" y="41"/>
                    <a:pt x="322" y="41"/>
                    <a:pt x="322" y="41"/>
                  </a:cubicBezTo>
                  <a:cubicBezTo>
                    <a:pt x="289" y="10"/>
                    <a:pt x="248" y="0"/>
                    <a:pt x="209" y="0"/>
                  </a:cubicBezTo>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îṡľïḓè">
              <a:extLst>
                <a:ext uri="{FF2B5EF4-FFF2-40B4-BE49-F238E27FC236}">
                  <a16:creationId xmlns:a16="http://schemas.microsoft.com/office/drawing/2014/main" id="{BA1B90FE-B35F-4106-9A81-09C3F773C89D}"/>
                </a:ext>
              </a:extLst>
            </p:cNvPr>
            <p:cNvSpPr/>
            <p:nvPr/>
          </p:nvSpPr>
          <p:spPr bwMode="auto">
            <a:xfrm>
              <a:off x="3632537" y="2464412"/>
              <a:ext cx="43965" cy="24256"/>
            </a:xfrm>
            <a:custGeom>
              <a:avLst/>
              <a:gdLst>
                <a:gd name="T0" fmla="*/ 3 w 25"/>
                <a:gd name="T1" fmla="*/ 0 h 14"/>
                <a:gd name="T2" fmla="*/ 3 w 25"/>
                <a:gd name="T3" fmla="*/ 1 h 14"/>
                <a:gd name="T4" fmla="*/ 0 w 25"/>
                <a:gd name="T5" fmla="*/ 6 h 14"/>
                <a:gd name="T6" fmla="*/ 21 w 25"/>
                <a:gd name="T7" fmla="*/ 14 h 14"/>
                <a:gd name="T8" fmla="*/ 25 w 25"/>
                <a:gd name="T9" fmla="*/ 14 h 14"/>
                <a:gd name="T10" fmla="*/ 3 w 25"/>
                <a:gd name="T11" fmla="*/ 0 h 14"/>
              </a:gdLst>
              <a:ahLst/>
              <a:cxnLst>
                <a:cxn ang="0">
                  <a:pos x="T0" y="T1"/>
                </a:cxn>
                <a:cxn ang="0">
                  <a:pos x="T2" y="T3"/>
                </a:cxn>
                <a:cxn ang="0">
                  <a:pos x="T4" y="T5"/>
                </a:cxn>
                <a:cxn ang="0">
                  <a:pos x="T6" y="T7"/>
                </a:cxn>
                <a:cxn ang="0">
                  <a:pos x="T8" y="T9"/>
                </a:cxn>
                <a:cxn ang="0">
                  <a:pos x="T10" y="T11"/>
                </a:cxn>
              </a:cxnLst>
              <a:rect l="0" t="0" r="r" b="b"/>
              <a:pathLst>
                <a:path w="25" h="14">
                  <a:moveTo>
                    <a:pt x="3" y="0"/>
                  </a:moveTo>
                  <a:cubicBezTo>
                    <a:pt x="3" y="0"/>
                    <a:pt x="3" y="1"/>
                    <a:pt x="3" y="1"/>
                  </a:cubicBezTo>
                  <a:cubicBezTo>
                    <a:pt x="0" y="6"/>
                    <a:pt x="0" y="6"/>
                    <a:pt x="0" y="6"/>
                  </a:cubicBezTo>
                  <a:cubicBezTo>
                    <a:pt x="12" y="12"/>
                    <a:pt x="21" y="14"/>
                    <a:pt x="21" y="14"/>
                  </a:cubicBezTo>
                  <a:cubicBezTo>
                    <a:pt x="22" y="14"/>
                    <a:pt x="24" y="14"/>
                    <a:pt x="25" y="14"/>
                  </a:cubicBezTo>
                  <a:cubicBezTo>
                    <a:pt x="17" y="10"/>
                    <a:pt x="10" y="5"/>
                    <a:pt x="3" y="0"/>
                  </a:cubicBezTo>
                </a:path>
              </a:pathLst>
            </a:custGeom>
            <a:solidFill>
              <a:srgbClr val="E394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îŝ1iḋê">
              <a:extLst>
                <a:ext uri="{FF2B5EF4-FFF2-40B4-BE49-F238E27FC236}">
                  <a16:creationId xmlns:a16="http://schemas.microsoft.com/office/drawing/2014/main" id="{1159BEC1-C660-4111-9874-F25CE06A6A64}"/>
                </a:ext>
              </a:extLst>
            </p:cNvPr>
            <p:cNvSpPr/>
            <p:nvPr/>
          </p:nvSpPr>
          <p:spPr bwMode="auto">
            <a:xfrm>
              <a:off x="3530964" y="1976258"/>
              <a:ext cx="504830" cy="516958"/>
            </a:xfrm>
            <a:custGeom>
              <a:avLst/>
              <a:gdLst>
                <a:gd name="T0" fmla="*/ 154 w 284"/>
                <a:gd name="T1" fmla="*/ 0 h 291"/>
                <a:gd name="T2" fmla="*/ 0 w 284"/>
                <a:gd name="T3" fmla="*/ 153 h 291"/>
                <a:gd name="T4" fmla="*/ 60 w 284"/>
                <a:gd name="T5" fmla="*/ 275 h 291"/>
                <a:gd name="T6" fmla="*/ 82 w 284"/>
                <a:gd name="T7" fmla="*/ 289 h 291"/>
                <a:gd name="T8" fmla="*/ 122 w 284"/>
                <a:gd name="T9" fmla="*/ 291 h 291"/>
                <a:gd name="T10" fmla="*/ 208 w 284"/>
                <a:gd name="T11" fmla="*/ 246 h 291"/>
                <a:gd name="T12" fmla="*/ 206 w 284"/>
                <a:gd name="T13" fmla="*/ 199 h 291"/>
                <a:gd name="T14" fmla="*/ 226 w 284"/>
                <a:gd name="T15" fmla="*/ 189 h 291"/>
                <a:gd name="T16" fmla="*/ 236 w 284"/>
                <a:gd name="T17" fmla="*/ 242 h 291"/>
                <a:gd name="T18" fmla="*/ 252 w 284"/>
                <a:gd name="T19" fmla="*/ 258 h 291"/>
                <a:gd name="T20" fmla="*/ 255 w 284"/>
                <a:gd name="T21" fmla="*/ 258 h 291"/>
                <a:gd name="T22" fmla="*/ 284 w 284"/>
                <a:gd name="T23" fmla="*/ 118 h 291"/>
                <a:gd name="T24" fmla="*/ 275 w 284"/>
                <a:gd name="T25" fmla="*/ 111 h 291"/>
                <a:gd name="T26" fmla="*/ 276 w 284"/>
                <a:gd name="T27" fmla="*/ 74 h 291"/>
                <a:gd name="T28" fmla="*/ 282 w 284"/>
                <a:gd name="T29" fmla="*/ 69 h 291"/>
                <a:gd name="T30" fmla="*/ 154 w 284"/>
                <a:gd name="T31"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291">
                  <a:moveTo>
                    <a:pt x="154" y="0"/>
                  </a:moveTo>
                  <a:cubicBezTo>
                    <a:pt x="69" y="0"/>
                    <a:pt x="0" y="69"/>
                    <a:pt x="0" y="153"/>
                  </a:cubicBezTo>
                  <a:cubicBezTo>
                    <a:pt x="0" y="203"/>
                    <a:pt x="24" y="247"/>
                    <a:pt x="60" y="275"/>
                  </a:cubicBezTo>
                  <a:cubicBezTo>
                    <a:pt x="67" y="280"/>
                    <a:pt x="74" y="285"/>
                    <a:pt x="82" y="289"/>
                  </a:cubicBezTo>
                  <a:cubicBezTo>
                    <a:pt x="97" y="290"/>
                    <a:pt x="110" y="291"/>
                    <a:pt x="122" y="291"/>
                  </a:cubicBezTo>
                  <a:cubicBezTo>
                    <a:pt x="232" y="291"/>
                    <a:pt x="208" y="246"/>
                    <a:pt x="208" y="246"/>
                  </a:cubicBezTo>
                  <a:cubicBezTo>
                    <a:pt x="208" y="246"/>
                    <a:pt x="196" y="212"/>
                    <a:pt x="206" y="199"/>
                  </a:cubicBezTo>
                  <a:cubicBezTo>
                    <a:pt x="210" y="194"/>
                    <a:pt x="218" y="189"/>
                    <a:pt x="226" y="189"/>
                  </a:cubicBezTo>
                  <a:cubicBezTo>
                    <a:pt x="239" y="189"/>
                    <a:pt x="249" y="201"/>
                    <a:pt x="236" y="242"/>
                  </a:cubicBezTo>
                  <a:cubicBezTo>
                    <a:pt x="232" y="257"/>
                    <a:pt x="246" y="258"/>
                    <a:pt x="252" y="258"/>
                  </a:cubicBezTo>
                  <a:cubicBezTo>
                    <a:pt x="254" y="258"/>
                    <a:pt x="255" y="258"/>
                    <a:pt x="255" y="258"/>
                  </a:cubicBezTo>
                  <a:cubicBezTo>
                    <a:pt x="271" y="220"/>
                    <a:pt x="284" y="118"/>
                    <a:pt x="284" y="118"/>
                  </a:cubicBezTo>
                  <a:cubicBezTo>
                    <a:pt x="281" y="116"/>
                    <a:pt x="277" y="114"/>
                    <a:pt x="275" y="111"/>
                  </a:cubicBezTo>
                  <a:cubicBezTo>
                    <a:pt x="265" y="101"/>
                    <a:pt x="266" y="84"/>
                    <a:pt x="276" y="74"/>
                  </a:cubicBezTo>
                  <a:cubicBezTo>
                    <a:pt x="282" y="69"/>
                    <a:pt x="282" y="69"/>
                    <a:pt x="282" y="69"/>
                  </a:cubicBezTo>
                  <a:cubicBezTo>
                    <a:pt x="254" y="28"/>
                    <a:pt x="207" y="0"/>
                    <a:pt x="154" y="0"/>
                  </a:cubicBezTo>
                </a:path>
              </a:pathLst>
            </a:custGeom>
            <a:solidFill>
              <a:srgbClr val="E3947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9" name="ïṥļïḑè">
              <a:extLst>
                <a:ext uri="{FF2B5EF4-FFF2-40B4-BE49-F238E27FC236}">
                  <a16:creationId xmlns:a16="http://schemas.microsoft.com/office/drawing/2014/main" id="{FF52747D-B114-47BC-A607-6672419FC698}"/>
                </a:ext>
              </a:extLst>
            </p:cNvPr>
            <p:cNvSpPr/>
            <p:nvPr/>
          </p:nvSpPr>
          <p:spPr bwMode="auto">
            <a:xfrm>
              <a:off x="3458196" y="1889846"/>
              <a:ext cx="571534" cy="617015"/>
            </a:xfrm>
            <a:custGeom>
              <a:avLst/>
              <a:gdLst>
                <a:gd name="T0" fmla="*/ 322 w 322"/>
                <a:gd name="T1" fmla="*/ 49 h 348"/>
                <a:gd name="T2" fmla="*/ 322 w 322"/>
                <a:gd name="T3" fmla="*/ 113 h 348"/>
                <a:gd name="T4" fmla="*/ 315 w 322"/>
                <a:gd name="T5" fmla="*/ 120 h 348"/>
                <a:gd name="T6" fmla="*/ 313 w 322"/>
                <a:gd name="T7" fmla="*/ 158 h 348"/>
                <a:gd name="T8" fmla="*/ 322 w 322"/>
                <a:gd name="T9" fmla="*/ 164 h 348"/>
                <a:gd name="T10" fmla="*/ 294 w 322"/>
                <a:gd name="T11" fmla="*/ 305 h 348"/>
                <a:gd name="T12" fmla="*/ 275 w 322"/>
                <a:gd name="T13" fmla="*/ 289 h 348"/>
                <a:gd name="T14" fmla="*/ 244 w 322"/>
                <a:gd name="T15" fmla="*/ 246 h 348"/>
                <a:gd name="T16" fmla="*/ 246 w 322"/>
                <a:gd name="T17" fmla="*/ 292 h 348"/>
                <a:gd name="T18" fmla="*/ 117 w 322"/>
                <a:gd name="T19" fmla="*/ 335 h 348"/>
                <a:gd name="T20" fmla="*/ 22 w 322"/>
                <a:gd name="T21" fmla="*/ 171 h 348"/>
                <a:gd name="T22" fmla="*/ 70 w 322"/>
                <a:gd name="T23" fmla="*/ 100 h 348"/>
                <a:gd name="T24" fmla="*/ 144 w 322"/>
                <a:gd name="T25" fmla="*/ 16 h 348"/>
                <a:gd name="T26" fmla="*/ 322 w 322"/>
                <a:gd name="T27" fmla="*/ 4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2" h="348">
                  <a:moveTo>
                    <a:pt x="322" y="49"/>
                  </a:moveTo>
                  <a:cubicBezTo>
                    <a:pt x="322" y="113"/>
                    <a:pt x="322" y="113"/>
                    <a:pt x="322" y="113"/>
                  </a:cubicBezTo>
                  <a:cubicBezTo>
                    <a:pt x="315" y="120"/>
                    <a:pt x="315" y="120"/>
                    <a:pt x="315" y="120"/>
                  </a:cubicBezTo>
                  <a:cubicBezTo>
                    <a:pt x="304" y="130"/>
                    <a:pt x="303" y="147"/>
                    <a:pt x="313" y="158"/>
                  </a:cubicBezTo>
                  <a:cubicBezTo>
                    <a:pt x="316" y="161"/>
                    <a:pt x="319" y="163"/>
                    <a:pt x="322" y="164"/>
                  </a:cubicBezTo>
                  <a:cubicBezTo>
                    <a:pt x="322" y="164"/>
                    <a:pt x="310" y="266"/>
                    <a:pt x="294" y="305"/>
                  </a:cubicBezTo>
                  <a:cubicBezTo>
                    <a:pt x="294" y="305"/>
                    <a:pt x="269" y="307"/>
                    <a:pt x="275" y="289"/>
                  </a:cubicBezTo>
                  <a:cubicBezTo>
                    <a:pt x="295" y="220"/>
                    <a:pt x="254" y="233"/>
                    <a:pt x="244" y="246"/>
                  </a:cubicBezTo>
                  <a:cubicBezTo>
                    <a:pt x="235" y="258"/>
                    <a:pt x="246" y="292"/>
                    <a:pt x="246" y="292"/>
                  </a:cubicBezTo>
                  <a:cubicBezTo>
                    <a:pt x="246" y="292"/>
                    <a:pt x="276" y="348"/>
                    <a:pt x="117" y="335"/>
                  </a:cubicBezTo>
                  <a:cubicBezTo>
                    <a:pt x="117" y="335"/>
                    <a:pt x="11" y="313"/>
                    <a:pt x="22" y="171"/>
                  </a:cubicBezTo>
                  <a:cubicBezTo>
                    <a:pt x="23" y="156"/>
                    <a:pt x="0" y="119"/>
                    <a:pt x="70" y="100"/>
                  </a:cubicBezTo>
                  <a:cubicBezTo>
                    <a:pt x="75" y="59"/>
                    <a:pt x="104" y="26"/>
                    <a:pt x="144" y="16"/>
                  </a:cubicBezTo>
                  <a:cubicBezTo>
                    <a:pt x="197" y="4"/>
                    <a:pt x="270" y="0"/>
                    <a:pt x="322" y="49"/>
                  </a:cubicBezTo>
                  <a:close/>
                </a:path>
              </a:pathLst>
            </a:custGeom>
            <a:solidFill>
              <a:srgbClr val="72351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50" name="文本框 149">
            <a:extLst>
              <a:ext uri="{FF2B5EF4-FFF2-40B4-BE49-F238E27FC236}">
                <a16:creationId xmlns:a16="http://schemas.microsoft.com/office/drawing/2014/main" id="{5C9A99B3-D924-4CD6-B1F6-6B7E39DE8B10}"/>
              </a:ext>
            </a:extLst>
          </p:cNvPr>
          <p:cNvSpPr txBox="1"/>
          <p:nvPr/>
        </p:nvSpPr>
        <p:spPr>
          <a:xfrm>
            <a:off x="5092376" y="4139571"/>
            <a:ext cx="6097314" cy="1393330"/>
          </a:xfrm>
          <a:prstGeom prst="rect">
            <a:avLst/>
          </a:prstGeom>
          <a:noFill/>
        </p:spPr>
        <p:txBody>
          <a:bodyPr wrap="square">
            <a:spAutoFit/>
          </a:bodyPr>
          <a:lstStyle/>
          <a:p>
            <a:pPr>
              <a:lnSpc>
                <a:spcPct val="120000"/>
              </a:lnSpc>
              <a:spcBef>
                <a:spcPct val="0"/>
              </a:spcBef>
            </a:pPr>
            <a:r>
              <a:rPr lang="zh-CN" altLang="en-US" dirty="0">
                <a:cs typeface="+mn-ea"/>
                <a:sym typeface="+mn-lt"/>
              </a:rPr>
              <a:t>函数包含定义和调用两部分</a:t>
            </a:r>
            <a:endParaRPr lang="en-US" altLang="zh-CN" dirty="0">
              <a:cs typeface="+mn-ea"/>
              <a:sym typeface="+mn-lt"/>
            </a:endParaRPr>
          </a:p>
          <a:p>
            <a:pPr lvl="1">
              <a:lnSpc>
                <a:spcPct val="120000"/>
              </a:lnSpc>
              <a:spcBef>
                <a:spcPct val="0"/>
              </a:spcBef>
            </a:pPr>
            <a:r>
              <a:rPr lang="zh-CN" altLang="en-US" b="1" dirty="0">
                <a:cs typeface="+mn-ea"/>
                <a:sym typeface="+mn-lt"/>
              </a:rPr>
              <a:t>函数定义</a:t>
            </a:r>
            <a:r>
              <a:rPr lang="zh-CN" altLang="en-US" dirty="0">
                <a:cs typeface="+mn-ea"/>
                <a:sym typeface="+mn-lt"/>
              </a:rPr>
              <a:t>包括</a:t>
            </a:r>
            <a:r>
              <a:rPr lang="en-US" altLang="zh-CN" u="sng" dirty="0">
                <a:cs typeface="+mn-ea"/>
                <a:sym typeface="+mn-lt"/>
              </a:rPr>
              <a:t>lambda</a:t>
            </a:r>
            <a:r>
              <a:rPr lang="zh-CN" altLang="en-US" u="sng" dirty="0">
                <a:cs typeface="+mn-ea"/>
                <a:sym typeface="+mn-lt"/>
              </a:rPr>
              <a:t>表达式</a:t>
            </a:r>
            <a:r>
              <a:rPr lang="zh-CN" altLang="en-US" dirty="0">
                <a:cs typeface="+mn-ea"/>
                <a:sym typeface="+mn-lt"/>
              </a:rPr>
              <a:t>和</a:t>
            </a:r>
            <a:r>
              <a:rPr lang="zh-CN" altLang="en-US" u="sng" dirty="0">
                <a:cs typeface="+mn-ea"/>
                <a:sym typeface="+mn-lt"/>
              </a:rPr>
              <a:t>方法引用</a:t>
            </a:r>
            <a:endParaRPr lang="en-US" altLang="zh-CN" u="sng" dirty="0">
              <a:cs typeface="+mn-ea"/>
              <a:sym typeface="+mn-lt"/>
            </a:endParaRPr>
          </a:p>
          <a:p>
            <a:pPr lvl="1">
              <a:lnSpc>
                <a:spcPct val="120000"/>
              </a:lnSpc>
              <a:spcBef>
                <a:spcPct val="0"/>
              </a:spcBef>
            </a:pPr>
            <a:r>
              <a:rPr lang="zh-CN" altLang="en-US" b="1" dirty="0">
                <a:cs typeface="+mn-ea"/>
                <a:sym typeface="+mn-lt"/>
              </a:rPr>
              <a:t>函数调用</a:t>
            </a:r>
            <a:r>
              <a:rPr lang="zh-CN" altLang="en-US" dirty="0">
                <a:cs typeface="+mn-ea"/>
                <a:sym typeface="+mn-lt"/>
              </a:rPr>
              <a:t>是使用 </a:t>
            </a:r>
            <a:r>
              <a:rPr lang="zh-CN" altLang="en-US" i="1" u="sng" dirty="0">
                <a:cs typeface="+mn-ea"/>
                <a:sym typeface="+mn-lt"/>
              </a:rPr>
              <a:t>函数名</a:t>
            </a:r>
            <a:r>
              <a:rPr lang="en-US" altLang="zh-CN" i="1" u="sng" dirty="0">
                <a:cs typeface="+mn-ea"/>
                <a:sym typeface="+mn-lt"/>
              </a:rPr>
              <a:t>.</a:t>
            </a:r>
            <a:r>
              <a:rPr lang="zh-CN" altLang="en-US" i="1" u="sng" dirty="0">
                <a:cs typeface="+mn-ea"/>
                <a:sym typeface="+mn-lt"/>
              </a:rPr>
              <a:t>方法名</a:t>
            </a:r>
            <a:r>
              <a:rPr lang="zh-CN" altLang="en-US" i="1" dirty="0">
                <a:cs typeface="+mn-ea"/>
                <a:sym typeface="+mn-lt"/>
              </a:rPr>
              <a:t> </a:t>
            </a:r>
            <a:r>
              <a:rPr lang="zh-CN" altLang="en-US" dirty="0">
                <a:cs typeface="+mn-ea"/>
                <a:sym typeface="+mn-lt"/>
              </a:rPr>
              <a:t>来调用，</a:t>
            </a:r>
            <a:r>
              <a:rPr lang="zh-CN" altLang="en-US" i="1" dirty="0">
                <a:cs typeface="+mn-ea"/>
                <a:sym typeface="+mn-lt"/>
              </a:rPr>
              <a:t>方法名</a:t>
            </a:r>
            <a:r>
              <a:rPr lang="zh-CN" altLang="en-US" dirty="0">
                <a:cs typeface="+mn-ea"/>
                <a:sym typeface="+mn-lt"/>
              </a:rPr>
              <a:t>根据函数类型而定</a:t>
            </a:r>
          </a:p>
        </p:txBody>
      </p:sp>
    </p:spTree>
    <p:custDataLst>
      <p:tags r:id="rId1"/>
    </p:custDataLst>
    <p:extLst>
      <p:ext uri="{BB962C8B-B14F-4D97-AF65-F5344CB8AC3E}">
        <p14:creationId xmlns:p14="http://schemas.microsoft.com/office/powerpoint/2010/main" val="12861589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106687" y="3203039"/>
            <a:ext cx="3546362" cy="895350"/>
          </a:xfrm>
        </p:spPr>
        <p:txBody>
          <a:bodyPr>
            <a:normAutofit/>
          </a:bodyPr>
          <a:lstStyle/>
          <a:p>
            <a:r>
              <a:rPr lang="zh-CN" altLang="en-US" sz="3600" dirty="0"/>
              <a:t>闭包</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639609" y="320928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584589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4.</a:t>
            </a:r>
            <a:r>
              <a:rPr lang="zh-CN" altLang="en-US" dirty="0"/>
              <a:t> 闭包</a:t>
            </a:r>
            <a:r>
              <a:rPr lang="en-US" altLang="zh-CN" baseline="30000" dirty="0">
                <a:latin typeface="+mn-lt"/>
                <a:ea typeface="+mn-ea"/>
                <a:cs typeface="+mn-ea"/>
                <a:sym typeface="+mn-lt"/>
              </a:rPr>
              <a:t>[1]</a:t>
            </a:r>
            <a:endParaRPr lang="zh-CN" altLang="en-US" dirty="0"/>
          </a:p>
        </p:txBody>
      </p:sp>
      <p:sp>
        <p:nvSpPr>
          <p:cNvPr id="3" name="页脚占位符 2"/>
          <p:cNvSpPr>
            <a:spLocks noGrp="1"/>
          </p:cNvSpPr>
          <p:nvPr>
            <p:ph type="ftr" sz="quarter" idx="11"/>
          </p:nvPr>
        </p:nvSpPr>
        <p:spPr/>
        <p:txBody>
          <a:bodyPr/>
          <a:lstStyle/>
          <a:p>
            <a:r>
              <a:rPr lang="zh-CN" altLang="en-US"/>
              <a:t>请在插入菜单</a:t>
            </a:r>
            <a:r>
              <a:rPr lang="en-US" altLang="zh-CN"/>
              <a:t>—</a:t>
            </a:r>
            <a:r>
              <a:rPr lang="zh-CN" altLang="en-US"/>
              <a:t>页眉和</a:t>
            </a:r>
            <a:r>
              <a:rPr lang="zh-CN" altLang="en-US" sz="100"/>
              <a:t> </a:t>
            </a:r>
            <a:r>
              <a:rPr lang="zh-CN" altLang="en-US"/>
              <a:t>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8</a:t>
            </a:fld>
            <a:endParaRPr lang="zh-CN" altLang="en-US"/>
          </a:p>
        </p:txBody>
      </p:sp>
      <p:sp>
        <p:nvSpPr>
          <p:cNvPr id="106" name="文本框 105">
            <a:extLst>
              <a:ext uri="{FF2B5EF4-FFF2-40B4-BE49-F238E27FC236}">
                <a16:creationId xmlns:a16="http://schemas.microsoft.com/office/drawing/2014/main" id="{46B2379C-AF83-42D2-8D61-CE87B4DB0530}"/>
              </a:ext>
            </a:extLst>
          </p:cNvPr>
          <p:cNvSpPr txBox="1"/>
          <p:nvPr/>
        </p:nvSpPr>
        <p:spPr>
          <a:xfrm>
            <a:off x="2017903" y="2102404"/>
            <a:ext cx="3318899" cy="458459"/>
          </a:xfrm>
          <a:prstGeom prst="rect">
            <a:avLst/>
          </a:prstGeom>
          <a:noFill/>
        </p:spPr>
        <p:txBody>
          <a:bodyPr wrap="square" rtlCol="0">
            <a:spAutoFit/>
          </a:bodyPr>
          <a:lstStyle/>
          <a:p>
            <a:pPr>
              <a:lnSpc>
                <a:spcPct val="150000"/>
              </a:lnSpc>
            </a:pPr>
            <a:r>
              <a:rPr lang="zh-CN" altLang="en-US" b="1" dirty="0"/>
              <a:t>解释：</a:t>
            </a:r>
            <a:r>
              <a:rPr lang="zh-CN" altLang="en-US" dirty="0">
                <a:cs typeface="+mn-ea"/>
                <a:sym typeface="+mn-lt"/>
              </a:rPr>
              <a:t>引入了外部变量的函数</a:t>
            </a:r>
            <a:endParaRPr lang="zh-CN" altLang="en-US" dirty="0"/>
          </a:p>
        </p:txBody>
      </p:sp>
      <p:pic>
        <p:nvPicPr>
          <p:cNvPr id="184" name="图形 183" descr="指向右边的反手食指">
            <a:extLst>
              <a:ext uri="{FF2B5EF4-FFF2-40B4-BE49-F238E27FC236}">
                <a16:creationId xmlns:a16="http://schemas.microsoft.com/office/drawing/2014/main" id="{6DB1F4DF-F546-4BEA-9450-BE07A5B9922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1278" y="2018267"/>
            <a:ext cx="914400" cy="914400"/>
          </a:xfrm>
          <a:prstGeom prst="rect">
            <a:avLst/>
          </a:prstGeom>
        </p:spPr>
      </p:pic>
      <p:sp>
        <p:nvSpPr>
          <p:cNvPr id="83" name="文本框 82">
            <a:extLst>
              <a:ext uri="{FF2B5EF4-FFF2-40B4-BE49-F238E27FC236}">
                <a16:creationId xmlns:a16="http://schemas.microsoft.com/office/drawing/2014/main" id="{D73D640F-409E-459E-8707-C40A228D7B90}"/>
              </a:ext>
            </a:extLst>
          </p:cNvPr>
          <p:cNvSpPr txBox="1"/>
          <p:nvPr/>
        </p:nvSpPr>
        <p:spPr>
          <a:xfrm>
            <a:off x="2017904" y="4021691"/>
            <a:ext cx="3255662" cy="1060931"/>
          </a:xfrm>
          <a:prstGeom prst="rect">
            <a:avLst/>
          </a:prstGeom>
          <a:noFill/>
        </p:spPr>
        <p:txBody>
          <a:bodyPr wrap="square">
            <a:spAutoFit/>
          </a:bodyPr>
          <a:lstStyle/>
          <a:p>
            <a:pPr>
              <a:lnSpc>
                <a:spcPct val="120000"/>
              </a:lnSpc>
              <a:spcBef>
                <a:spcPts val="0"/>
              </a:spcBef>
            </a:pPr>
            <a:r>
              <a:rPr lang="zh-CN" altLang="en-US" b="1" dirty="0">
                <a:cs typeface="+mn-ea"/>
                <a:sym typeface="+mn-lt"/>
              </a:rPr>
              <a:t>注意：</a:t>
            </a:r>
            <a:r>
              <a:rPr lang="zh-CN" altLang="en-US" dirty="0">
                <a:cs typeface="+mn-ea"/>
                <a:sym typeface="+mn-lt"/>
              </a:rPr>
              <a:t>被 </a:t>
            </a:r>
            <a:r>
              <a:rPr lang="en-US" altLang="zh-CN" dirty="0">
                <a:cs typeface="+mn-ea"/>
                <a:sym typeface="+mn-lt"/>
              </a:rPr>
              <a:t>lambda </a:t>
            </a:r>
            <a:r>
              <a:rPr lang="zh-CN" altLang="en-US" dirty="0">
                <a:cs typeface="+mn-ea"/>
                <a:sym typeface="+mn-lt"/>
              </a:rPr>
              <a:t>表达式引用的</a:t>
            </a:r>
            <a:r>
              <a:rPr lang="zh-CN" altLang="en-US" dirty="0">
                <a:solidFill>
                  <a:srgbClr val="FF0000"/>
                </a:solidFill>
                <a:cs typeface="+mn-ea"/>
                <a:sym typeface="+mn-lt"/>
              </a:rPr>
              <a:t>局部变量</a:t>
            </a:r>
            <a:r>
              <a:rPr lang="zh-CN" altLang="en-US" dirty="0">
                <a:cs typeface="+mn-ea"/>
                <a:sym typeface="+mn-lt"/>
              </a:rPr>
              <a:t>必须是 </a:t>
            </a:r>
            <a:r>
              <a:rPr lang="en-US" altLang="zh-CN" dirty="0">
                <a:cs typeface="+mn-ea"/>
                <a:sym typeface="+mn-lt"/>
              </a:rPr>
              <a:t>final </a:t>
            </a:r>
            <a:r>
              <a:rPr lang="zh-CN" altLang="en-US" dirty="0">
                <a:cs typeface="+mn-ea"/>
                <a:sym typeface="+mn-lt"/>
              </a:rPr>
              <a:t>或者是等同 </a:t>
            </a:r>
            <a:r>
              <a:rPr lang="en-US" altLang="zh-CN" dirty="0">
                <a:cs typeface="+mn-ea"/>
                <a:sym typeface="+mn-lt"/>
              </a:rPr>
              <a:t>final </a:t>
            </a:r>
            <a:r>
              <a:rPr lang="zh-CN" altLang="en-US" dirty="0">
                <a:cs typeface="+mn-ea"/>
                <a:sym typeface="+mn-lt"/>
              </a:rPr>
              <a:t>效果</a:t>
            </a:r>
          </a:p>
        </p:txBody>
      </p:sp>
      <p:pic>
        <p:nvPicPr>
          <p:cNvPr id="7" name="图形 6" descr="信息">
            <a:extLst>
              <a:ext uri="{FF2B5EF4-FFF2-40B4-BE49-F238E27FC236}">
                <a16:creationId xmlns:a16="http://schemas.microsoft.com/office/drawing/2014/main" id="{8353A1AC-1A45-46E1-80B3-71F53B058CE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73826" y="3957672"/>
            <a:ext cx="914400" cy="914400"/>
          </a:xfrm>
          <a:prstGeom prst="rect">
            <a:avLst/>
          </a:prstGeom>
        </p:spPr>
      </p:pic>
      <p:grpSp>
        <p:nvGrpSpPr>
          <p:cNvPr id="86" name="c280bf6e-09aa-4b99-8527-6c1fe19e013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8BE9F43-6C00-4754-9DBC-54FCE5DBA7E0}"/>
              </a:ext>
            </a:extLst>
          </p:cNvPr>
          <p:cNvGrpSpPr>
            <a:grpSpLocks noChangeAspect="1"/>
          </p:cNvGrpSpPr>
          <p:nvPr>
            <p:custDataLst>
              <p:tags r:id="rId2"/>
            </p:custDataLst>
          </p:nvPr>
        </p:nvGrpSpPr>
        <p:grpSpPr>
          <a:xfrm>
            <a:off x="5409828" y="2395324"/>
            <a:ext cx="5947805" cy="3623601"/>
            <a:chOff x="1573161" y="673536"/>
            <a:chExt cx="9045678" cy="5510928"/>
          </a:xfrm>
        </p:grpSpPr>
        <p:sp>
          <p:nvSpPr>
            <p:cNvPr id="87" name="íṣḷíḑê">
              <a:extLst>
                <a:ext uri="{FF2B5EF4-FFF2-40B4-BE49-F238E27FC236}">
                  <a16:creationId xmlns:a16="http://schemas.microsoft.com/office/drawing/2014/main" id="{3135AF50-2502-4032-B8C4-E73C9E2B828E}"/>
                </a:ext>
              </a:extLst>
            </p:cNvPr>
            <p:cNvSpPr/>
            <p:nvPr/>
          </p:nvSpPr>
          <p:spPr bwMode="auto">
            <a:xfrm>
              <a:off x="1584543" y="5864586"/>
              <a:ext cx="2864380" cy="319878"/>
            </a:xfrm>
            <a:prstGeom prst="ellipse">
              <a:avLst/>
            </a:prstGeom>
            <a:solidFill>
              <a:srgbClr val="7E9799"/>
            </a:solidFill>
            <a:ln w="9525">
              <a:noFill/>
              <a:round/>
              <a:headEnd/>
              <a:tailEnd/>
            </a:ln>
          </p:spPr>
          <p:txBody>
            <a:bodyPr anchor="ctr"/>
            <a:lstStyle/>
            <a:p>
              <a:pPr algn="ctr"/>
              <a:endParaRPr/>
            </a:p>
          </p:txBody>
        </p:sp>
        <p:sp>
          <p:nvSpPr>
            <p:cNvPr id="88" name="ïšļiḑé">
              <a:extLst>
                <a:ext uri="{FF2B5EF4-FFF2-40B4-BE49-F238E27FC236}">
                  <a16:creationId xmlns:a16="http://schemas.microsoft.com/office/drawing/2014/main" id="{14C80EA1-14D0-433D-85C6-7EE2CF715952}"/>
                </a:ext>
              </a:extLst>
            </p:cNvPr>
            <p:cNvSpPr/>
            <p:nvPr/>
          </p:nvSpPr>
          <p:spPr bwMode="auto">
            <a:xfrm>
              <a:off x="1573161" y="4746387"/>
              <a:ext cx="3030402" cy="63976"/>
            </a:xfrm>
            <a:custGeom>
              <a:avLst/>
              <a:gdLst/>
              <a:ahLst/>
              <a:cxnLst>
                <a:cxn ang="0">
                  <a:pos x="7721" y="0"/>
                </a:cxn>
                <a:cxn ang="0">
                  <a:pos x="441" y="0"/>
                </a:cxn>
                <a:cxn ang="0">
                  <a:pos x="0" y="115"/>
                </a:cxn>
                <a:cxn ang="0">
                  <a:pos x="7145" y="163"/>
                </a:cxn>
                <a:cxn ang="0">
                  <a:pos x="7721" y="0"/>
                </a:cxn>
              </a:cxnLst>
              <a:rect l="0" t="0" r="r" b="b"/>
              <a:pathLst>
                <a:path w="7721" h="163">
                  <a:moveTo>
                    <a:pt x="7721" y="0"/>
                  </a:moveTo>
                  <a:lnTo>
                    <a:pt x="441" y="0"/>
                  </a:lnTo>
                  <a:lnTo>
                    <a:pt x="0" y="115"/>
                  </a:lnTo>
                  <a:lnTo>
                    <a:pt x="7145" y="163"/>
                  </a:lnTo>
                  <a:lnTo>
                    <a:pt x="7721" y="0"/>
                  </a:lnTo>
                  <a:close/>
                </a:path>
              </a:pathLst>
            </a:custGeom>
            <a:solidFill>
              <a:srgbClr val="9E4730"/>
            </a:solidFill>
            <a:ln w="9525">
              <a:noFill/>
              <a:round/>
              <a:headEnd/>
              <a:tailEnd/>
            </a:ln>
          </p:spPr>
          <p:txBody>
            <a:bodyPr anchor="ctr"/>
            <a:lstStyle/>
            <a:p>
              <a:pPr algn="ctr"/>
              <a:endParaRPr/>
            </a:p>
          </p:txBody>
        </p:sp>
        <p:sp>
          <p:nvSpPr>
            <p:cNvPr id="89" name="íṩlîdê">
              <a:extLst>
                <a:ext uri="{FF2B5EF4-FFF2-40B4-BE49-F238E27FC236}">
                  <a16:creationId xmlns:a16="http://schemas.microsoft.com/office/drawing/2014/main" id="{42D0FC3D-9FE3-4A5E-9C20-9CCABF3B8746}"/>
                </a:ext>
              </a:extLst>
            </p:cNvPr>
            <p:cNvSpPr/>
            <p:nvPr/>
          </p:nvSpPr>
          <p:spPr bwMode="auto">
            <a:xfrm>
              <a:off x="1573161" y="4791523"/>
              <a:ext cx="2804329" cy="685285"/>
            </a:xfrm>
            <a:custGeom>
              <a:avLst/>
              <a:gdLst/>
              <a:ahLst/>
              <a:cxnLst>
                <a:cxn ang="0">
                  <a:pos x="0" y="0"/>
                </a:cxn>
                <a:cxn ang="0">
                  <a:pos x="7145" y="48"/>
                </a:cxn>
                <a:cxn ang="0">
                  <a:pos x="6282" y="1746"/>
                </a:cxn>
                <a:cxn ang="0">
                  <a:pos x="815" y="1746"/>
                </a:cxn>
                <a:cxn ang="0">
                  <a:pos x="0" y="0"/>
                </a:cxn>
              </a:cxnLst>
              <a:rect l="0" t="0" r="r" b="b"/>
              <a:pathLst>
                <a:path w="7145" h="1746">
                  <a:moveTo>
                    <a:pt x="0" y="0"/>
                  </a:moveTo>
                  <a:lnTo>
                    <a:pt x="7145" y="48"/>
                  </a:lnTo>
                  <a:lnTo>
                    <a:pt x="6282" y="1746"/>
                  </a:lnTo>
                  <a:lnTo>
                    <a:pt x="815" y="1746"/>
                  </a:lnTo>
                  <a:lnTo>
                    <a:pt x="0" y="0"/>
                  </a:lnTo>
                  <a:close/>
                </a:path>
              </a:pathLst>
            </a:custGeom>
            <a:solidFill>
              <a:srgbClr val="E18256"/>
            </a:solidFill>
            <a:ln w="9525">
              <a:noFill/>
              <a:round/>
              <a:headEnd/>
              <a:tailEnd/>
            </a:ln>
          </p:spPr>
          <p:txBody>
            <a:bodyPr anchor="ctr"/>
            <a:lstStyle/>
            <a:p>
              <a:pPr algn="ctr"/>
              <a:endParaRPr/>
            </a:p>
          </p:txBody>
        </p:sp>
        <p:sp>
          <p:nvSpPr>
            <p:cNvPr id="90" name="íŝlíḑè">
              <a:extLst>
                <a:ext uri="{FF2B5EF4-FFF2-40B4-BE49-F238E27FC236}">
                  <a16:creationId xmlns:a16="http://schemas.microsoft.com/office/drawing/2014/main" id="{D21C31C2-CDA9-48D1-87FC-2C3A07458052}"/>
                </a:ext>
              </a:extLst>
            </p:cNvPr>
            <p:cNvSpPr/>
            <p:nvPr/>
          </p:nvSpPr>
          <p:spPr bwMode="auto">
            <a:xfrm>
              <a:off x="4038773" y="4750312"/>
              <a:ext cx="858372" cy="726496"/>
            </a:xfrm>
            <a:custGeom>
              <a:avLst/>
              <a:gdLst/>
              <a:ahLst/>
              <a:cxnLst>
                <a:cxn ang="0">
                  <a:pos x="180" y="59"/>
                </a:cxn>
                <a:cxn ang="0">
                  <a:pos x="134" y="95"/>
                </a:cxn>
                <a:cxn ang="0">
                  <a:pos x="114" y="95"/>
                </a:cxn>
                <a:cxn ang="0">
                  <a:pos x="102" y="95"/>
                </a:cxn>
                <a:cxn ang="0">
                  <a:pos x="150" y="0"/>
                </a:cxn>
                <a:cxn ang="0">
                  <a:pos x="90" y="17"/>
                </a:cxn>
                <a:cxn ang="0">
                  <a:pos x="0" y="193"/>
                </a:cxn>
                <a:cxn ang="0">
                  <a:pos x="62" y="173"/>
                </a:cxn>
                <a:cxn ang="0">
                  <a:pos x="90" y="118"/>
                </a:cxn>
                <a:cxn ang="0">
                  <a:pos x="90" y="118"/>
                </a:cxn>
                <a:cxn ang="0">
                  <a:pos x="114" y="118"/>
                </a:cxn>
                <a:cxn ang="0">
                  <a:pos x="134" y="118"/>
                </a:cxn>
                <a:cxn ang="0">
                  <a:pos x="180" y="154"/>
                </a:cxn>
                <a:cxn ang="0">
                  <a:pos x="228" y="107"/>
                </a:cxn>
                <a:cxn ang="0">
                  <a:pos x="180" y="59"/>
                </a:cxn>
                <a:cxn ang="0">
                  <a:pos x="180" y="134"/>
                </a:cxn>
                <a:cxn ang="0">
                  <a:pos x="153" y="107"/>
                </a:cxn>
                <a:cxn ang="0">
                  <a:pos x="180" y="79"/>
                </a:cxn>
                <a:cxn ang="0">
                  <a:pos x="208" y="107"/>
                </a:cxn>
                <a:cxn ang="0">
                  <a:pos x="180" y="134"/>
                </a:cxn>
              </a:cxnLst>
              <a:rect l="0" t="0" r="r" b="b"/>
              <a:pathLst>
                <a:path w="228" h="193">
                  <a:moveTo>
                    <a:pt x="180" y="59"/>
                  </a:moveTo>
                  <a:cubicBezTo>
                    <a:pt x="158" y="59"/>
                    <a:pt x="139" y="74"/>
                    <a:pt x="134" y="95"/>
                  </a:cubicBezTo>
                  <a:cubicBezTo>
                    <a:pt x="114" y="95"/>
                    <a:pt x="114" y="95"/>
                    <a:pt x="114" y="95"/>
                  </a:cubicBezTo>
                  <a:cubicBezTo>
                    <a:pt x="102" y="95"/>
                    <a:pt x="102" y="95"/>
                    <a:pt x="102" y="95"/>
                  </a:cubicBezTo>
                  <a:cubicBezTo>
                    <a:pt x="150" y="0"/>
                    <a:pt x="150" y="0"/>
                    <a:pt x="150" y="0"/>
                  </a:cubicBezTo>
                  <a:cubicBezTo>
                    <a:pt x="90" y="17"/>
                    <a:pt x="90" y="17"/>
                    <a:pt x="90" y="17"/>
                  </a:cubicBezTo>
                  <a:cubicBezTo>
                    <a:pt x="0" y="193"/>
                    <a:pt x="0" y="193"/>
                    <a:pt x="0" y="193"/>
                  </a:cubicBezTo>
                  <a:cubicBezTo>
                    <a:pt x="62" y="173"/>
                    <a:pt x="62" y="173"/>
                    <a:pt x="62" y="173"/>
                  </a:cubicBezTo>
                  <a:cubicBezTo>
                    <a:pt x="90" y="118"/>
                    <a:pt x="90" y="118"/>
                    <a:pt x="90" y="118"/>
                  </a:cubicBezTo>
                  <a:cubicBezTo>
                    <a:pt x="90" y="118"/>
                    <a:pt x="90" y="118"/>
                    <a:pt x="90" y="118"/>
                  </a:cubicBezTo>
                  <a:cubicBezTo>
                    <a:pt x="114" y="118"/>
                    <a:pt x="114" y="118"/>
                    <a:pt x="114" y="118"/>
                  </a:cubicBezTo>
                  <a:cubicBezTo>
                    <a:pt x="134" y="118"/>
                    <a:pt x="134" y="118"/>
                    <a:pt x="134" y="118"/>
                  </a:cubicBezTo>
                  <a:cubicBezTo>
                    <a:pt x="139" y="139"/>
                    <a:pt x="158" y="154"/>
                    <a:pt x="180" y="154"/>
                  </a:cubicBezTo>
                  <a:cubicBezTo>
                    <a:pt x="206" y="154"/>
                    <a:pt x="228" y="133"/>
                    <a:pt x="228" y="107"/>
                  </a:cubicBezTo>
                  <a:cubicBezTo>
                    <a:pt x="228" y="80"/>
                    <a:pt x="206" y="59"/>
                    <a:pt x="180" y="59"/>
                  </a:cubicBezTo>
                  <a:close/>
                  <a:moveTo>
                    <a:pt x="180" y="134"/>
                  </a:moveTo>
                  <a:cubicBezTo>
                    <a:pt x="165" y="134"/>
                    <a:pt x="153" y="122"/>
                    <a:pt x="153" y="107"/>
                  </a:cubicBezTo>
                  <a:cubicBezTo>
                    <a:pt x="153" y="91"/>
                    <a:pt x="165" y="79"/>
                    <a:pt x="180" y="79"/>
                  </a:cubicBezTo>
                  <a:cubicBezTo>
                    <a:pt x="196" y="79"/>
                    <a:pt x="208" y="91"/>
                    <a:pt x="208" y="107"/>
                  </a:cubicBezTo>
                  <a:cubicBezTo>
                    <a:pt x="208" y="122"/>
                    <a:pt x="196" y="134"/>
                    <a:pt x="180" y="134"/>
                  </a:cubicBezTo>
                  <a:close/>
                </a:path>
              </a:pathLst>
            </a:custGeom>
            <a:solidFill>
              <a:srgbClr val="C96A45"/>
            </a:solidFill>
            <a:ln w="9525">
              <a:noFill/>
              <a:round/>
              <a:headEnd/>
              <a:tailEnd/>
            </a:ln>
          </p:spPr>
          <p:txBody>
            <a:bodyPr anchor="ctr"/>
            <a:lstStyle/>
            <a:p>
              <a:pPr algn="ctr"/>
              <a:endParaRPr/>
            </a:p>
          </p:txBody>
        </p:sp>
        <p:sp>
          <p:nvSpPr>
            <p:cNvPr id="91" name="ísḻïḑé">
              <a:extLst>
                <a:ext uri="{FF2B5EF4-FFF2-40B4-BE49-F238E27FC236}">
                  <a16:creationId xmlns:a16="http://schemas.microsoft.com/office/drawing/2014/main" id="{917B2C3A-6131-4480-9941-5B417C3195E5}"/>
                </a:ext>
              </a:extLst>
            </p:cNvPr>
            <p:cNvSpPr/>
            <p:nvPr/>
          </p:nvSpPr>
          <p:spPr bwMode="auto">
            <a:xfrm>
              <a:off x="2235681" y="5476808"/>
              <a:ext cx="127951" cy="120494"/>
            </a:xfrm>
            <a:prstGeom prst="rect">
              <a:avLst/>
            </a:prstGeom>
            <a:solidFill>
              <a:srgbClr val="23221D"/>
            </a:solidFill>
            <a:ln w="9525">
              <a:noFill/>
              <a:miter lim="800000"/>
              <a:headEnd/>
              <a:tailEnd/>
            </a:ln>
          </p:spPr>
          <p:txBody>
            <a:bodyPr anchor="ctr"/>
            <a:lstStyle/>
            <a:p>
              <a:pPr algn="ctr"/>
              <a:endParaRPr/>
            </a:p>
          </p:txBody>
        </p:sp>
        <p:sp>
          <p:nvSpPr>
            <p:cNvPr id="92" name="îṡḷîḋè">
              <a:extLst>
                <a:ext uri="{FF2B5EF4-FFF2-40B4-BE49-F238E27FC236}">
                  <a16:creationId xmlns:a16="http://schemas.microsoft.com/office/drawing/2014/main" id="{08AC532B-1AF0-4177-8372-9D5BDA13B494}"/>
                </a:ext>
              </a:extLst>
            </p:cNvPr>
            <p:cNvSpPr/>
            <p:nvPr/>
          </p:nvSpPr>
          <p:spPr bwMode="auto">
            <a:xfrm>
              <a:off x="2047287" y="5571005"/>
              <a:ext cx="508272" cy="507880"/>
            </a:xfrm>
            <a:prstGeom prst="ellipse">
              <a:avLst/>
            </a:prstGeom>
            <a:solidFill>
              <a:srgbClr val="353539"/>
            </a:solidFill>
            <a:ln w="9525">
              <a:noFill/>
              <a:round/>
              <a:headEnd/>
              <a:tailEnd/>
            </a:ln>
          </p:spPr>
          <p:txBody>
            <a:bodyPr anchor="ctr"/>
            <a:lstStyle/>
            <a:p>
              <a:pPr algn="ctr"/>
              <a:endParaRPr/>
            </a:p>
          </p:txBody>
        </p:sp>
        <p:sp>
          <p:nvSpPr>
            <p:cNvPr id="93" name="íṡḻíďê">
              <a:extLst>
                <a:ext uri="{FF2B5EF4-FFF2-40B4-BE49-F238E27FC236}">
                  <a16:creationId xmlns:a16="http://schemas.microsoft.com/office/drawing/2014/main" id="{28145502-D478-49E1-B7A2-2378B7575F18}"/>
                </a:ext>
              </a:extLst>
            </p:cNvPr>
            <p:cNvSpPr/>
            <p:nvPr/>
          </p:nvSpPr>
          <p:spPr bwMode="auto">
            <a:xfrm>
              <a:off x="2148941" y="5672659"/>
              <a:ext cx="304964" cy="304571"/>
            </a:xfrm>
            <a:prstGeom prst="ellipse">
              <a:avLst/>
            </a:prstGeom>
            <a:solidFill>
              <a:srgbClr val="F8F6E4"/>
            </a:solidFill>
            <a:ln w="9525">
              <a:noFill/>
              <a:round/>
              <a:headEnd/>
              <a:tailEnd/>
            </a:ln>
          </p:spPr>
          <p:txBody>
            <a:bodyPr anchor="ctr"/>
            <a:lstStyle/>
            <a:p>
              <a:pPr algn="ctr"/>
              <a:endParaRPr/>
            </a:p>
          </p:txBody>
        </p:sp>
        <p:sp>
          <p:nvSpPr>
            <p:cNvPr id="94" name="ïṩ1íďê">
              <a:extLst>
                <a:ext uri="{FF2B5EF4-FFF2-40B4-BE49-F238E27FC236}">
                  <a16:creationId xmlns:a16="http://schemas.microsoft.com/office/drawing/2014/main" id="{B7E80285-BE8E-49A7-B00F-BE1072A1B702}"/>
                </a:ext>
              </a:extLst>
            </p:cNvPr>
            <p:cNvSpPr/>
            <p:nvPr/>
          </p:nvSpPr>
          <p:spPr bwMode="auto">
            <a:xfrm>
              <a:off x="3688673" y="5476808"/>
              <a:ext cx="124026" cy="120494"/>
            </a:xfrm>
            <a:prstGeom prst="rect">
              <a:avLst/>
            </a:prstGeom>
            <a:solidFill>
              <a:srgbClr val="23221D"/>
            </a:solidFill>
            <a:ln w="9525">
              <a:noFill/>
              <a:miter lim="800000"/>
              <a:headEnd/>
              <a:tailEnd/>
            </a:ln>
          </p:spPr>
          <p:txBody>
            <a:bodyPr anchor="ctr"/>
            <a:lstStyle/>
            <a:p>
              <a:pPr algn="ctr"/>
              <a:endParaRPr/>
            </a:p>
          </p:txBody>
        </p:sp>
        <p:sp>
          <p:nvSpPr>
            <p:cNvPr id="95" name="ïṡľïḍê">
              <a:extLst>
                <a:ext uri="{FF2B5EF4-FFF2-40B4-BE49-F238E27FC236}">
                  <a16:creationId xmlns:a16="http://schemas.microsoft.com/office/drawing/2014/main" id="{B76470CC-38BA-4E5A-9764-C8D9F83B88F4}"/>
                </a:ext>
              </a:extLst>
            </p:cNvPr>
            <p:cNvSpPr/>
            <p:nvPr/>
          </p:nvSpPr>
          <p:spPr bwMode="auto">
            <a:xfrm>
              <a:off x="3496746" y="5571005"/>
              <a:ext cx="508272" cy="507880"/>
            </a:xfrm>
            <a:prstGeom prst="ellipse">
              <a:avLst/>
            </a:prstGeom>
            <a:solidFill>
              <a:srgbClr val="353539"/>
            </a:solidFill>
            <a:ln w="9525">
              <a:noFill/>
              <a:round/>
              <a:headEnd/>
              <a:tailEnd/>
            </a:ln>
          </p:spPr>
          <p:txBody>
            <a:bodyPr anchor="ctr"/>
            <a:lstStyle/>
            <a:p>
              <a:pPr algn="ctr"/>
              <a:endParaRPr/>
            </a:p>
          </p:txBody>
        </p:sp>
        <p:sp>
          <p:nvSpPr>
            <p:cNvPr id="96" name="iş1íďè">
              <a:extLst>
                <a:ext uri="{FF2B5EF4-FFF2-40B4-BE49-F238E27FC236}">
                  <a16:creationId xmlns:a16="http://schemas.microsoft.com/office/drawing/2014/main" id="{C59C0828-7E96-4455-BCD0-086263965E95}"/>
                </a:ext>
              </a:extLst>
            </p:cNvPr>
            <p:cNvSpPr/>
            <p:nvPr/>
          </p:nvSpPr>
          <p:spPr bwMode="auto">
            <a:xfrm>
              <a:off x="3598401" y="5668734"/>
              <a:ext cx="308496" cy="308496"/>
            </a:xfrm>
            <a:prstGeom prst="ellipse">
              <a:avLst/>
            </a:prstGeom>
            <a:solidFill>
              <a:srgbClr val="F8F6E4"/>
            </a:solidFill>
            <a:ln w="9525">
              <a:noFill/>
              <a:round/>
              <a:headEnd/>
              <a:tailEnd/>
            </a:ln>
          </p:spPr>
          <p:txBody>
            <a:bodyPr anchor="ctr"/>
            <a:lstStyle/>
            <a:p>
              <a:pPr algn="ctr"/>
              <a:endParaRPr/>
            </a:p>
          </p:txBody>
        </p:sp>
        <p:sp>
          <p:nvSpPr>
            <p:cNvPr id="97" name="iSliḑe">
              <a:extLst>
                <a:ext uri="{FF2B5EF4-FFF2-40B4-BE49-F238E27FC236}">
                  <a16:creationId xmlns:a16="http://schemas.microsoft.com/office/drawing/2014/main" id="{A949A564-91DC-4A45-8285-864727E49EBC}"/>
                </a:ext>
              </a:extLst>
            </p:cNvPr>
            <p:cNvSpPr/>
            <p:nvPr/>
          </p:nvSpPr>
          <p:spPr bwMode="auto">
            <a:xfrm>
              <a:off x="5115368" y="2980975"/>
              <a:ext cx="184470" cy="191927"/>
            </a:xfrm>
            <a:custGeom>
              <a:avLst/>
              <a:gdLst/>
              <a:ahLst/>
              <a:cxnLst>
                <a:cxn ang="0">
                  <a:pos x="14" y="0"/>
                </a:cxn>
                <a:cxn ang="0">
                  <a:pos x="0" y="9"/>
                </a:cxn>
                <a:cxn ang="0">
                  <a:pos x="30" y="51"/>
                </a:cxn>
                <a:cxn ang="0">
                  <a:pos x="43" y="46"/>
                </a:cxn>
                <a:cxn ang="0">
                  <a:pos x="14" y="0"/>
                </a:cxn>
              </a:cxnLst>
              <a:rect l="0" t="0" r="r" b="b"/>
              <a:pathLst>
                <a:path w="49" h="51">
                  <a:moveTo>
                    <a:pt x="14" y="0"/>
                  </a:moveTo>
                  <a:cubicBezTo>
                    <a:pt x="9" y="2"/>
                    <a:pt x="4" y="5"/>
                    <a:pt x="0" y="9"/>
                  </a:cubicBezTo>
                  <a:cubicBezTo>
                    <a:pt x="9" y="13"/>
                    <a:pt x="35" y="28"/>
                    <a:pt x="30" y="51"/>
                  </a:cubicBezTo>
                  <a:cubicBezTo>
                    <a:pt x="35" y="49"/>
                    <a:pt x="40" y="47"/>
                    <a:pt x="43" y="46"/>
                  </a:cubicBezTo>
                  <a:cubicBezTo>
                    <a:pt x="49" y="22"/>
                    <a:pt x="23" y="5"/>
                    <a:pt x="14" y="0"/>
                  </a:cubicBezTo>
                  <a:close/>
                </a:path>
              </a:pathLst>
            </a:custGeom>
            <a:solidFill>
              <a:srgbClr val="DDA268"/>
            </a:solidFill>
            <a:ln w="9525">
              <a:noFill/>
              <a:round/>
              <a:headEnd/>
              <a:tailEnd/>
            </a:ln>
          </p:spPr>
          <p:txBody>
            <a:bodyPr anchor="ctr"/>
            <a:lstStyle/>
            <a:p>
              <a:pPr algn="ctr"/>
              <a:endParaRPr/>
            </a:p>
          </p:txBody>
        </p:sp>
        <p:sp>
          <p:nvSpPr>
            <p:cNvPr id="98" name="ïŝ1îḋé">
              <a:extLst>
                <a:ext uri="{FF2B5EF4-FFF2-40B4-BE49-F238E27FC236}">
                  <a16:creationId xmlns:a16="http://schemas.microsoft.com/office/drawing/2014/main" id="{2CE85349-50EF-4E0D-9A05-891283933341}"/>
                </a:ext>
              </a:extLst>
            </p:cNvPr>
            <p:cNvSpPr/>
            <p:nvPr/>
          </p:nvSpPr>
          <p:spPr bwMode="auto">
            <a:xfrm>
              <a:off x="5167961" y="2939763"/>
              <a:ext cx="180937" cy="214299"/>
            </a:xfrm>
            <a:custGeom>
              <a:avLst/>
              <a:gdLst/>
              <a:ahLst/>
              <a:cxnLst>
                <a:cxn ang="0">
                  <a:pos x="28" y="0"/>
                </a:cxn>
                <a:cxn ang="0">
                  <a:pos x="9" y="6"/>
                </a:cxn>
                <a:cxn ang="0">
                  <a:pos x="0" y="11"/>
                </a:cxn>
                <a:cxn ang="0">
                  <a:pos x="29" y="57"/>
                </a:cxn>
                <a:cxn ang="0">
                  <a:pos x="35" y="55"/>
                </a:cxn>
                <a:cxn ang="0">
                  <a:pos x="47" y="53"/>
                </a:cxn>
                <a:cxn ang="0">
                  <a:pos x="28" y="0"/>
                </a:cxn>
              </a:cxnLst>
              <a:rect l="0" t="0" r="r" b="b"/>
              <a:pathLst>
                <a:path w="48" h="57">
                  <a:moveTo>
                    <a:pt x="28" y="0"/>
                  </a:moveTo>
                  <a:cubicBezTo>
                    <a:pt x="21" y="2"/>
                    <a:pt x="16" y="3"/>
                    <a:pt x="9" y="6"/>
                  </a:cubicBezTo>
                  <a:cubicBezTo>
                    <a:pt x="6" y="7"/>
                    <a:pt x="3" y="10"/>
                    <a:pt x="0" y="11"/>
                  </a:cubicBezTo>
                  <a:cubicBezTo>
                    <a:pt x="9" y="16"/>
                    <a:pt x="35" y="33"/>
                    <a:pt x="29" y="57"/>
                  </a:cubicBezTo>
                  <a:cubicBezTo>
                    <a:pt x="32" y="56"/>
                    <a:pt x="33" y="55"/>
                    <a:pt x="35" y="55"/>
                  </a:cubicBezTo>
                  <a:cubicBezTo>
                    <a:pt x="40" y="53"/>
                    <a:pt x="44" y="53"/>
                    <a:pt x="47" y="53"/>
                  </a:cubicBezTo>
                  <a:cubicBezTo>
                    <a:pt x="48" y="42"/>
                    <a:pt x="46" y="20"/>
                    <a:pt x="28" y="0"/>
                  </a:cubicBezTo>
                  <a:close/>
                </a:path>
              </a:pathLst>
            </a:custGeom>
            <a:solidFill>
              <a:srgbClr val="F0BA7D"/>
            </a:solidFill>
            <a:ln w="9525">
              <a:noFill/>
              <a:round/>
              <a:headEnd/>
              <a:tailEnd/>
            </a:ln>
          </p:spPr>
          <p:txBody>
            <a:bodyPr anchor="ctr"/>
            <a:lstStyle/>
            <a:p>
              <a:pPr algn="ctr"/>
              <a:endParaRPr/>
            </a:p>
          </p:txBody>
        </p:sp>
        <p:sp>
          <p:nvSpPr>
            <p:cNvPr id="99" name="işḻíḑe">
              <a:extLst>
                <a:ext uri="{FF2B5EF4-FFF2-40B4-BE49-F238E27FC236}">
                  <a16:creationId xmlns:a16="http://schemas.microsoft.com/office/drawing/2014/main" id="{4A46EA04-1351-45B5-B4EF-1C6777A63DDE}"/>
                </a:ext>
              </a:extLst>
            </p:cNvPr>
            <p:cNvSpPr/>
            <p:nvPr/>
          </p:nvSpPr>
          <p:spPr bwMode="auto">
            <a:xfrm>
              <a:off x="3722427" y="3263566"/>
              <a:ext cx="56518" cy="233138"/>
            </a:xfrm>
            <a:custGeom>
              <a:avLst/>
              <a:gdLst/>
              <a:ahLst/>
              <a:cxnLst>
                <a:cxn ang="0">
                  <a:pos x="4" y="1"/>
                </a:cxn>
                <a:cxn ang="0">
                  <a:pos x="0" y="62"/>
                </a:cxn>
                <a:cxn ang="0">
                  <a:pos x="15" y="61"/>
                </a:cxn>
                <a:cxn ang="0">
                  <a:pos x="14" y="0"/>
                </a:cxn>
                <a:cxn ang="0">
                  <a:pos x="4" y="1"/>
                </a:cxn>
              </a:cxnLst>
              <a:rect l="0" t="0" r="r" b="b"/>
              <a:pathLst>
                <a:path w="15" h="62">
                  <a:moveTo>
                    <a:pt x="4" y="1"/>
                  </a:moveTo>
                  <a:cubicBezTo>
                    <a:pt x="0" y="62"/>
                    <a:pt x="0" y="62"/>
                    <a:pt x="0" y="62"/>
                  </a:cubicBezTo>
                  <a:cubicBezTo>
                    <a:pt x="5" y="62"/>
                    <a:pt x="10" y="62"/>
                    <a:pt x="15" y="61"/>
                  </a:cubicBezTo>
                  <a:cubicBezTo>
                    <a:pt x="14" y="0"/>
                    <a:pt x="14" y="0"/>
                    <a:pt x="14" y="0"/>
                  </a:cubicBezTo>
                  <a:cubicBezTo>
                    <a:pt x="11" y="0"/>
                    <a:pt x="7" y="0"/>
                    <a:pt x="4" y="1"/>
                  </a:cubicBezTo>
                  <a:close/>
                </a:path>
              </a:pathLst>
            </a:custGeom>
            <a:solidFill>
              <a:srgbClr val="F0BA7D"/>
            </a:solidFill>
            <a:ln w="9525">
              <a:noFill/>
              <a:round/>
              <a:headEnd/>
              <a:tailEnd/>
            </a:ln>
          </p:spPr>
          <p:txBody>
            <a:bodyPr anchor="ctr"/>
            <a:lstStyle/>
            <a:p>
              <a:pPr algn="ctr"/>
              <a:endParaRPr/>
            </a:p>
          </p:txBody>
        </p:sp>
        <p:sp>
          <p:nvSpPr>
            <p:cNvPr id="100" name="íSlide">
              <a:extLst>
                <a:ext uri="{FF2B5EF4-FFF2-40B4-BE49-F238E27FC236}">
                  <a16:creationId xmlns:a16="http://schemas.microsoft.com/office/drawing/2014/main" id="{E6C0A202-5D9B-4AC1-94B3-0DBEC5700003}"/>
                </a:ext>
              </a:extLst>
            </p:cNvPr>
            <p:cNvSpPr/>
            <p:nvPr/>
          </p:nvSpPr>
          <p:spPr bwMode="auto">
            <a:xfrm>
              <a:off x="3775413" y="2770208"/>
              <a:ext cx="1915736" cy="722963"/>
            </a:xfrm>
            <a:custGeom>
              <a:avLst/>
              <a:gdLst/>
              <a:ahLst/>
              <a:cxnLst>
                <a:cxn ang="0">
                  <a:pos x="480" y="0"/>
                </a:cxn>
                <a:cxn ang="0">
                  <a:pos x="355" y="21"/>
                </a:cxn>
                <a:cxn ang="0">
                  <a:pos x="276" y="71"/>
                </a:cxn>
                <a:cxn ang="0">
                  <a:pos x="0" y="131"/>
                </a:cxn>
                <a:cxn ang="0">
                  <a:pos x="1" y="192"/>
                </a:cxn>
                <a:cxn ang="0">
                  <a:pos x="292" y="143"/>
                </a:cxn>
                <a:cxn ang="0">
                  <a:pos x="360" y="138"/>
                </a:cxn>
                <a:cxn ang="0">
                  <a:pos x="436" y="100"/>
                </a:cxn>
                <a:cxn ang="0">
                  <a:pos x="427" y="94"/>
                </a:cxn>
                <a:cxn ang="0">
                  <a:pos x="415" y="96"/>
                </a:cxn>
                <a:cxn ang="0">
                  <a:pos x="409" y="98"/>
                </a:cxn>
                <a:cxn ang="0">
                  <a:pos x="396" y="103"/>
                </a:cxn>
                <a:cxn ang="0">
                  <a:pos x="392" y="105"/>
                </a:cxn>
                <a:cxn ang="0">
                  <a:pos x="359" y="68"/>
                </a:cxn>
                <a:cxn ang="0">
                  <a:pos x="366" y="60"/>
                </a:cxn>
                <a:cxn ang="0">
                  <a:pos x="380" y="51"/>
                </a:cxn>
                <a:cxn ang="0">
                  <a:pos x="389" y="48"/>
                </a:cxn>
                <a:cxn ang="0">
                  <a:pos x="409" y="42"/>
                </a:cxn>
                <a:cxn ang="0">
                  <a:pos x="446" y="33"/>
                </a:cxn>
                <a:cxn ang="0">
                  <a:pos x="480" y="0"/>
                </a:cxn>
              </a:cxnLst>
              <a:rect l="0" t="0" r="r" b="b"/>
              <a:pathLst>
                <a:path w="509" h="192">
                  <a:moveTo>
                    <a:pt x="480" y="0"/>
                  </a:moveTo>
                  <a:cubicBezTo>
                    <a:pt x="465" y="4"/>
                    <a:pt x="374" y="20"/>
                    <a:pt x="355" y="21"/>
                  </a:cubicBezTo>
                  <a:cubicBezTo>
                    <a:pt x="336" y="22"/>
                    <a:pt x="276" y="71"/>
                    <a:pt x="276" y="71"/>
                  </a:cubicBezTo>
                  <a:cubicBezTo>
                    <a:pt x="190" y="104"/>
                    <a:pt x="87" y="122"/>
                    <a:pt x="0" y="131"/>
                  </a:cubicBezTo>
                  <a:cubicBezTo>
                    <a:pt x="1" y="192"/>
                    <a:pt x="1" y="192"/>
                    <a:pt x="1" y="192"/>
                  </a:cubicBezTo>
                  <a:cubicBezTo>
                    <a:pt x="127" y="181"/>
                    <a:pt x="249" y="153"/>
                    <a:pt x="292" y="143"/>
                  </a:cubicBezTo>
                  <a:cubicBezTo>
                    <a:pt x="314" y="140"/>
                    <a:pt x="325" y="137"/>
                    <a:pt x="360" y="138"/>
                  </a:cubicBezTo>
                  <a:cubicBezTo>
                    <a:pt x="403" y="140"/>
                    <a:pt x="440" y="108"/>
                    <a:pt x="436" y="100"/>
                  </a:cubicBezTo>
                  <a:cubicBezTo>
                    <a:pt x="434" y="97"/>
                    <a:pt x="432" y="94"/>
                    <a:pt x="427" y="94"/>
                  </a:cubicBezTo>
                  <a:cubicBezTo>
                    <a:pt x="424" y="94"/>
                    <a:pt x="420" y="94"/>
                    <a:pt x="415" y="96"/>
                  </a:cubicBezTo>
                  <a:cubicBezTo>
                    <a:pt x="413" y="96"/>
                    <a:pt x="411" y="97"/>
                    <a:pt x="409" y="98"/>
                  </a:cubicBezTo>
                  <a:cubicBezTo>
                    <a:pt x="405" y="99"/>
                    <a:pt x="401" y="101"/>
                    <a:pt x="396" y="103"/>
                  </a:cubicBezTo>
                  <a:cubicBezTo>
                    <a:pt x="395" y="104"/>
                    <a:pt x="394" y="104"/>
                    <a:pt x="392" y="105"/>
                  </a:cubicBezTo>
                  <a:cubicBezTo>
                    <a:pt x="366" y="118"/>
                    <a:pt x="352" y="80"/>
                    <a:pt x="359" y="68"/>
                  </a:cubicBezTo>
                  <a:cubicBezTo>
                    <a:pt x="360" y="65"/>
                    <a:pt x="363" y="62"/>
                    <a:pt x="366" y="60"/>
                  </a:cubicBezTo>
                  <a:cubicBezTo>
                    <a:pt x="369" y="57"/>
                    <a:pt x="375" y="54"/>
                    <a:pt x="380" y="51"/>
                  </a:cubicBezTo>
                  <a:cubicBezTo>
                    <a:pt x="383" y="50"/>
                    <a:pt x="386" y="49"/>
                    <a:pt x="389" y="48"/>
                  </a:cubicBezTo>
                  <a:cubicBezTo>
                    <a:pt x="396" y="46"/>
                    <a:pt x="402" y="44"/>
                    <a:pt x="409" y="42"/>
                  </a:cubicBezTo>
                  <a:cubicBezTo>
                    <a:pt x="422" y="39"/>
                    <a:pt x="434" y="36"/>
                    <a:pt x="446" y="33"/>
                  </a:cubicBezTo>
                  <a:cubicBezTo>
                    <a:pt x="509" y="18"/>
                    <a:pt x="480" y="0"/>
                    <a:pt x="480" y="0"/>
                  </a:cubicBezTo>
                  <a:close/>
                </a:path>
              </a:pathLst>
            </a:custGeom>
            <a:solidFill>
              <a:srgbClr val="FFDFA9"/>
            </a:solidFill>
            <a:ln w="9525">
              <a:noFill/>
              <a:round/>
              <a:headEnd/>
              <a:tailEnd/>
            </a:ln>
          </p:spPr>
          <p:txBody>
            <a:bodyPr anchor="ctr"/>
            <a:lstStyle/>
            <a:p>
              <a:pPr algn="ctr"/>
              <a:endParaRPr/>
            </a:p>
          </p:txBody>
        </p:sp>
        <p:sp>
          <p:nvSpPr>
            <p:cNvPr id="101" name="iṧḻiḍè">
              <a:extLst>
                <a:ext uri="{FF2B5EF4-FFF2-40B4-BE49-F238E27FC236}">
                  <a16:creationId xmlns:a16="http://schemas.microsoft.com/office/drawing/2014/main" id="{F17F3D0B-4C61-48B4-BE91-C1D778CC1F99}"/>
                </a:ext>
              </a:extLst>
            </p:cNvPr>
            <p:cNvSpPr/>
            <p:nvPr/>
          </p:nvSpPr>
          <p:spPr bwMode="auto">
            <a:xfrm>
              <a:off x="3158029" y="3304777"/>
              <a:ext cx="74965" cy="195852"/>
            </a:xfrm>
            <a:custGeom>
              <a:avLst/>
              <a:gdLst/>
              <a:ahLst/>
              <a:cxnLst>
                <a:cxn ang="0">
                  <a:pos x="7" y="0"/>
                </a:cxn>
                <a:cxn ang="0">
                  <a:pos x="0" y="50"/>
                </a:cxn>
                <a:cxn ang="0">
                  <a:pos x="20" y="52"/>
                </a:cxn>
                <a:cxn ang="0">
                  <a:pos x="14" y="0"/>
                </a:cxn>
                <a:cxn ang="0">
                  <a:pos x="7" y="0"/>
                </a:cxn>
              </a:cxnLst>
              <a:rect l="0" t="0" r="r" b="b"/>
              <a:pathLst>
                <a:path w="20" h="52">
                  <a:moveTo>
                    <a:pt x="7" y="0"/>
                  </a:moveTo>
                  <a:cubicBezTo>
                    <a:pt x="0" y="50"/>
                    <a:pt x="0" y="50"/>
                    <a:pt x="0" y="50"/>
                  </a:cubicBezTo>
                  <a:cubicBezTo>
                    <a:pt x="7" y="51"/>
                    <a:pt x="13" y="51"/>
                    <a:pt x="20" y="52"/>
                  </a:cubicBezTo>
                  <a:cubicBezTo>
                    <a:pt x="14" y="0"/>
                    <a:pt x="14" y="0"/>
                    <a:pt x="14" y="0"/>
                  </a:cubicBezTo>
                  <a:cubicBezTo>
                    <a:pt x="9" y="0"/>
                    <a:pt x="7" y="0"/>
                    <a:pt x="7" y="0"/>
                  </a:cubicBezTo>
                  <a:close/>
                </a:path>
              </a:pathLst>
            </a:custGeom>
            <a:solidFill>
              <a:srgbClr val="DDDBCE"/>
            </a:solidFill>
            <a:ln w="9525">
              <a:noFill/>
              <a:round/>
              <a:headEnd/>
              <a:tailEnd/>
            </a:ln>
          </p:spPr>
          <p:txBody>
            <a:bodyPr anchor="ctr"/>
            <a:lstStyle/>
            <a:p>
              <a:pPr algn="ctr"/>
              <a:endParaRPr/>
            </a:p>
          </p:txBody>
        </p:sp>
        <p:sp>
          <p:nvSpPr>
            <p:cNvPr id="102" name="íSļíḍê">
              <a:extLst>
                <a:ext uri="{FF2B5EF4-FFF2-40B4-BE49-F238E27FC236}">
                  <a16:creationId xmlns:a16="http://schemas.microsoft.com/office/drawing/2014/main" id="{9A161E5F-7C84-42B0-A9ED-EF847157DA08}"/>
                </a:ext>
              </a:extLst>
            </p:cNvPr>
            <p:cNvSpPr/>
            <p:nvPr/>
          </p:nvSpPr>
          <p:spPr bwMode="auto">
            <a:xfrm>
              <a:off x="3210622" y="3267099"/>
              <a:ext cx="527112" cy="248445"/>
            </a:xfrm>
            <a:custGeom>
              <a:avLst/>
              <a:gdLst/>
              <a:ahLst/>
              <a:cxnLst>
                <a:cxn ang="0">
                  <a:pos x="0" y="10"/>
                </a:cxn>
                <a:cxn ang="0">
                  <a:pos x="6" y="62"/>
                </a:cxn>
                <a:cxn ang="0">
                  <a:pos x="136" y="61"/>
                </a:cxn>
                <a:cxn ang="0">
                  <a:pos x="140" y="0"/>
                </a:cxn>
                <a:cxn ang="0">
                  <a:pos x="0" y="10"/>
                </a:cxn>
              </a:cxnLst>
              <a:rect l="0" t="0" r="r" b="b"/>
              <a:pathLst>
                <a:path w="140" h="66">
                  <a:moveTo>
                    <a:pt x="0" y="10"/>
                  </a:moveTo>
                  <a:cubicBezTo>
                    <a:pt x="6" y="62"/>
                    <a:pt x="6" y="62"/>
                    <a:pt x="6" y="62"/>
                  </a:cubicBezTo>
                  <a:cubicBezTo>
                    <a:pt x="52" y="65"/>
                    <a:pt x="83" y="66"/>
                    <a:pt x="136" y="61"/>
                  </a:cubicBezTo>
                  <a:cubicBezTo>
                    <a:pt x="140" y="0"/>
                    <a:pt x="140" y="0"/>
                    <a:pt x="140" y="0"/>
                  </a:cubicBezTo>
                  <a:cubicBezTo>
                    <a:pt x="64" y="7"/>
                    <a:pt x="16" y="10"/>
                    <a:pt x="0" y="10"/>
                  </a:cubicBezTo>
                  <a:close/>
                </a:path>
              </a:pathLst>
            </a:custGeom>
            <a:solidFill>
              <a:srgbClr val="F8F6E4"/>
            </a:solidFill>
            <a:ln w="9525">
              <a:noFill/>
              <a:round/>
              <a:headEnd/>
              <a:tailEnd/>
            </a:ln>
          </p:spPr>
          <p:txBody>
            <a:bodyPr anchor="ctr"/>
            <a:lstStyle/>
            <a:p>
              <a:pPr algn="ctr"/>
              <a:endParaRPr/>
            </a:p>
          </p:txBody>
        </p:sp>
        <p:sp>
          <p:nvSpPr>
            <p:cNvPr id="103" name="îṧḻiḑe">
              <a:extLst>
                <a:ext uri="{FF2B5EF4-FFF2-40B4-BE49-F238E27FC236}">
                  <a16:creationId xmlns:a16="http://schemas.microsoft.com/office/drawing/2014/main" id="{9D259376-C805-4B77-A084-342D05E9DF02}"/>
                </a:ext>
              </a:extLst>
            </p:cNvPr>
            <p:cNvSpPr/>
            <p:nvPr/>
          </p:nvSpPr>
          <p:spPr bwMode="auto">
            <a:xfrm>
              <a:off x="2167781" y="2755294"/>
              <a:ext cx="474518" cy="609927"/>
            </a:xfrm>
            <a:custGeom>
              <a:avLst/>
              <a:gdLst/>
              <a:ahLst/>
              <a:cxnLst>
                <a:cxn ang="0">
                  <a:pos x="44" y="0"/>
                </a:cxn>
                <a:cxn ang="0">
                  <a:pos x="0" y="57"/>
                </a:cxn>
                <a:cxn ang="0">
                  <a:pos x="104" y="162"/>
                </a:cxn>
                <a:cxn ang="0">
                  <a:pos x="126" y="108"/>
                </a:cxn>
                <a:cxn ang="0">
                  <a:pos x="44" y="0"/>
                </a:cxn>
              </a:cxnLst>
              <a:rect l="0" t="0" r="r" b="b"/>
              <a:pathLst>
                <a:path w="126" h="162">
                  <a:moveTo>
                    <a:pt x="44" y="0"/>
                  </a:moveTo>
                  <a:cubicBezTo>
                    <a:pt x="0" y="57"/>
                    <a:pt x="0" y="57"/>
                    <a:pt x="0" y="57"/>
                  </a:cubicBezTo>
                  <a:cubicBezTo>
                    <a:pt x="26" y="92"/>
                    <a:pt x="63" y="134"/>
                    <a:pt x="104" y="162"/>
                  </a:cubicBezTo>
                  <a:cubicBezTo>
                    <a:pt x="126" y="108"/>
                    <a:pt x="126" y="108"/>
                    <a:pt x="126" y="108"/>
                  </a:cubicBezTo>
                  <a:cubicBezTo>
                    <a:pt x="126" y="108"/>
                    <a:pt x="84" y="70"/>
                    <a:pt x="44" y="0"/>
                  </a:cubicBezTo>
                  <a:close/>
                </a:path>
              </a:pathLst>
            </a:custGeom>
            <a:solidFill>
              <a:srgbClr val="F8F6E4"/>
            </a:solidFill>
            <a:ln w="9525">
              <a:noFill/>
              <a:round/>
              <a:headEnd/>
              <a:tailEnd/>
            </a:ln>
          </p:spPr>
          <p:txBody>
            <a:bodyPr anchor="ctr"/>
            <a:lstStyle/>
            <a:p>
              <a:pPr algn="ctr"/>
              <a:endParaRPr/>
            </a:p>
          </p:txBody>
        </p:sp>
        <p:sp>
          <p:nvSpPr>
            <p:cNvPr id="104" name="îS1îḓè">
              <a:extLst>
                <a:ext uri="{FF2B5EF4-FFF2-40B4-BE49-F238E27FC236}">
                  <a16:creationId xmlns:a16="http://schemas.microsoft.com/office/drawing/2014/main" id="{26C96C6E-C66F-4C69-8AC7-EA19A46FFE06}"/>
                </a:ext>
              </a:extLst>
            </p:cNvPr>
            <p:cNvSpPr/>
            <p:nvPr/>
          </p:nvSpPr>
          <p:spPr bwMode="auto">
            <a:xfrm>
              <a:off x="2134027" y="2740379"/>
              <a:ext cx="199384" cy="229606"/>
            </a:xfrm>
            <a:custGeom>
              <a:avLst/>
              <a:gdLst/>
              <a:ahLst/>
              <a:cxnLst>
                <a:cxn ang="0">
                  <a:pos x="0" y="50"/>
                </a:cxn>
                <a:cxn ang="0">
                  <a:pos x="9" y="61"/>
                </a:cxn>
                <a:cxn ang="0">
                  <a:pos x="53" y="4"/>
                </a:cxn>
                <a:cxn ang="0">
                  <a:pos x="51" y="0"/>
                </a:cxn>
                <a:cxn ang="0">
                  <a:pos x="0" y="50"/>
                </a:cxn>
              </a:cxnLst>
              <a:rect l="0" t="0" r="r" b="b"/>
              <a:pathLst>
                <a:path w="53" h="61">
                  <a:moveTo>
                    <a:pt x="0" y="50"/>
                  </a:moveTo>
                  <a:cubicBezTo>
                    <a:pt x="3" y="53"/>
                    <a:pt x="6" y="57"/>
                    <a:pt x="9" y="61"/>
                  </a:cubicBezTo>
                  <a:cubicBezTo>
                    <a:pt x="53" y="4"/>
                    <a:pt x="53" y="4"/>
                    <a:pt x="53" y="4"/>
                  </a:cubicBezTo>
                  <a:cubicBezTo>
                    <a:pt x="53" y="3"/>
                    <a:pt x="52" y="1"/>
                    <a:pt x="51" y="0"/>
                  </a:cubicBezTo>
                  <a:lnTo>
                    <a:pt x="0" y="50"/>
                  </a:lnTo>
                  <a:close/>
                </a:path>
              </a:pathLst>
            </a:custGeom>
            <a:solidFill>
              <a:srgbClr val="F0BA7D"/>
            </a:solidFill>
            <a:ln w="9525">
              <a:noFill/>
              <a:round/>
              <a:headEnd/>
              <a:tailEnd/>
            </a:ln>
          </p:spPr>
          <p:txBody>
            <a:bodyPr anchor="ctr"/>
            <a:lstStyle/>
            <a:p>
              <a:pPr algn="ctr"/>
              <a:endParaRPr/>
            </a:p>
          </p:txBody>
        </p:sp>
        <p:sp>
          <p:nvSpPr>
            <p:cNvPr id="105" name="ïŝľïdê">
              <a:extLst>
                <a:ext uri="{FF2B5EF4-FFF2-40B4-BE49-F238E27FC236}">
                  <a16:creationId xmlns:a16="http://schemas.microsoft.com/office/drawing/2014/main" id="{9459153F-8183-4E4C-BC47-371A34E2E80B}"/>
                </a:ext>
              </a:extLst>
            </p:cNvPr>
            <p:cNvSpPr/>
            <p:nvPr/>
          </p:nvSpPr>
          <p:spPr bwMode="auto">
            <a:xfrm>
              <a:off x="1610840" y="673536"/>
              <a:ext cx="737878" cy="2254845"/>
            </a:xfrm>
            <a:custGeom>
              <a:avLst/>
              <a:gdLst/>
              <a:ahLst/>
              <a:cxnLst>
                <a:cxn ang="0">
                  <a:pos x="143" y="146"/>
                </a:cxn>
                <a:cxn ang="0">
                  <a:pos x="144" y="142"/>
                </a:cxn>
                <a:cxn ang="0">
                  <a:pos x="152" y="113"/>
                </a:cxn>
                <a:cxn ang="0">
                  <a:pos x="164" y="64"/>
                </a:cxn>
                <a:cxn ang="0">
                  <a:pos x="139" y="78"/>
                </a:cxn>
                <a:cxn ang="0">
                  <a:pos x="116" y="73"/>
                </a:cxn>
                <a:cxn ang="0">
                  <a:pos x="90" y="72"/>
                </a:cxn>
                <a:cxn ang="0">
                  <a:pos x="66" y="68"/>
                </a:cxn>
                <a:cxn ang="0">
                  <a:pos x="57" y="136"/>
                </a:cxn>
                <a:cxn ang="0">
                  <a:pos x="139" y="599"/>
                </a:cxn>
                <a:cxn ang="0">
                  <a:pos x="190" y="549"/>
                </a:cxn>
                <a:cxn ang="0">
                  <a:pos x="143" y="146"/>
                </a:cxn>
              </a:cxnLst>
              <a:rect l="0" t="0" r="r" b="b"/>
              <a:pathLst>
                <a:path w="196" h="599">
                  <a:moveTo>
                    <a:pt x="143" y="146"/>
                  </a:moveTo>
                  <a:cubicBezTo>
                    <a:pt x="143" y="146"/>
                    <a:pt x="143" y="145"/>
                    <a:pt x="144" y="142"/>
                  </a:cubicBezTo>
                  <a:cubicBezTo>
                    <a:pt x="196" y="103"/>
                    <a:pt x="162" y="110"/>
                    <a:pt x="152" y="113"/>
                  </a:cubicBezTo>
                  <a:cubicBezTo>
                    <a:pt x="157" y="93"/>
                    <a:pt x="164" y="70"/>
                    <a:pt x="164" y="64"/>
                  </a:cubicBezTo>
                  <a:cubicBezTo>
                    <a:pt x="166" y="48"/>
                    <a:pt x="153" y="48"/>
                    <a:pt x="139" y="78"/>
                  </a:cubicBezTo>
                  <a:cubicBezTo>
                    <a:pt x="139" y="78"/>
                    <a:pt x="136" y="13"/>
                    <a:pt x="116" y="73"/>
                  </a:cubicBezTo>
                  <a:cubicBezTo>
                    <a:pt x="116" y="73"/>
                    <a:pt x="109" y="2"/>
                    <a:pt x="90" y="72"/>
                  </a:cubicBezTo>
                  <a:cubicBezTo>
                    <a:pt x="90" y="72"/>
                    <a:pt x="76" y="0"/>
                    <a:pt x="66" y="68"/>
                  </a:cubicBezTo>
                  <a:cubicBezTo>
                    <a:pt x="57" y="136"/>
                    <a:pt x="57" y="136"/>
                    <a:pt x="57" y="136"/>
                  </a:cubicBezTo>
                  <a:cubicBezTo>
                    <a:pt x="57" y="136"/>
                    <a:pt x="0" y="401"/>
                    <a:pt x="139" y="599"/>
                  </a:cubicBezTo>
                  <a:cubicBezTo>
                    <a:pt x="190" y="549"/>
                    <a:pt x="190" y="549"/>
                    <a:pt x="190" y="549"/>
                  </a:cubicBezTo>
                  <a:cubicBezTo>
                    <a:pt x="139" y="459"/>
                    <a:pt x="94" y="320"/>
                    <a:pt x="143" y="146"/>
                  </a:cubicBezTo>
                  <a:close/>
                </a:path>
              </a:pathLst>
            </a:custGeom>
            <a:solidFill>
              <a:srgbClr val="FFDFA9"/>
            </a:solidFill>
            <a:ln w="9525">
              <a:noFill/>
              <a:round/>
              <a:headEnd/>
              <a:tailEnd/>
            </a:ln>
          </p:spPr>
          <p:txBody>
            <a:bodyPr anchor="ctr"/>
            <a:lstStyle/>
            <a:p>
              <a:pPr algn="ctr"/>
              <a:endParaRPr/>
            </a:p>
          </p:txBody>
        </p:sp>
        <p:sp>
          <p:nvSpPr>
            <p:cNvPr id="107" name="išḻiďê">
              <a:extLst>
                <a:ext uri="{FF2B5EF4-FFF2-40B4-BE49-F238E27FC236}">
                  <a16:creationId xmlns:a16="http://schemas.microsoft.com/office/drawing/2014/main" id="{B298DC65-4E32-4EAF-B3C7-0D33D25A180F}"/>
                </a:ext>
              </a:extLst>
            </p:cNvPr>
            <p:cNvSpPr/>
            <p:nvPr/>
          </p:nvSpPr>
          <p:spPr bwMode="auto">
            <a:xfrm>
              <a:off x="2205460" y="3075172"/>
              <a:ext cx="1005163" cy="1524424"/>
            </a:xfrm>
            <a:custGeom>
              <a:avLst/>
              <a:gdLst/>
              <a:ahLst/>
              <a:cxnLst>
                <a:cxn ang="0">
                  <a:pos x="109" y="0"/>
                </a:cxn>
                <a:cxn ang="0">
                  <a:pos x="267" y="50"/>
                </a:cxn>
                <a:cxn ang="0">
                  <a:pos x="236" y="396"/>
                </a:cxn>
                <a:cxn ang="0">
                  <a:pos x="123" y="405"/>
                </a:cxn>
                <a:cxn ang="0">
                  <a:pos x="0" y="368"/>
                </a:cxn>
                <a:cxn ang="0">
                  <a:pos x="109" y="0"/>
                </a:cxn>
              </a:cxnLst>
              <a:rect l="0" t="0" r="r" b="b"/>
              <a:pathLst>
                <a:path w="267" h="405">
                  <a:moveTo>
                    <a:pt x="109" y="0"/>
                  </a:moveTo>
                  <a:cubicBezTo>
                    <a:pt x="267" y="50"/>
                    <a:pt x="267" y="50"/>
                    <a:pt x="267" y="50"/>
                  </a:cubicBezTo>
                  <a:cubicBezTo>
                    <a:pt x="236" y="396"/>
                    <a:pt x="236" y="396"/>
                    <a:pt x="236" y="396"/>
                  </a:cubicBezTo>
                  <a:cubicBezTo>
                    <a:pt x="236" y="396"/>
                    <a:pt x="197" y="405"/>
                    <a:pt x="123" y="405"/>
                  </a:cubicBezTo>
                  <a:cubicBezTo>
                    <a:pt x="17" y="405"/>
                    <a:pt x="0" y="368"/>
                    <a:pt x="0" y="368"/>
                  </a:cubicBezTo>
                  <a:lnTo>
                    <a:pt x="109" y="0"/>
                  </a:lnTo>
                  <a:close/>
                </a:path>
              </a:pathLst>
            </a:custGeom>
            <a:solidFill>
              <a:srgbClr val="F8F6E4"/>
            </a:solidFill>
            <a:ln w="9525">
              <a:noFill/>
              <a:round/>
              <a:headEnd/>
              <a:tailEnd/>
            </a:ln>
          </p:spPr>
          <p:txBody>
            <a:bodyPr anchor="ctr"/>
            <a:lstStyle/>
            <a:p>
              <a:pPr algn="ctr"/>
              <a:endParaRPr/>
            </a:p>
          </p:txBody>
        </p:sp>
        <p:sp>
          <p:nvSpPr>
            <p:cNvPr id="109" name="išlïḋe">
              <a:extLst>
                <a:ext uri="{FF2B5EF4-FFF2-40B4-BE49-F238E27FC236}">
                  <a16:creationId xmlns:a16="http://schemas.microsoft.com/office/drawing/2014/main" id="{770CAC5D-8867-4DF3-85EA-768CD07E2333}"/>
                </a:ext>
              </a:extLst>
            </p:cNvPr>
            <p:cNvSpPr/>
            <p:nvPr/>
          </p:nvSpPr>
          <p:spPr bwMode="auto">
            <a:xfrm>
              <a:off x="1716027" y="3297320"/>
              <a:ext cx="1340348" cy="786547"/>
            </a:xfrm>
            <a:custGeom>
              <a:avLst/>
              <a:gdLst/>
              <a:ahLst/>
              <a:cxnLst>
                <a:cxn ang="0">
                  <a:pos x="339" y="0"/>
                </a:cxn>
                <a:cxn ang="0">
                  <a:pos x="310" y="21"/>
                </a:cxn>
                <a:cxn ang="0">
                  <a:pos x="325" y="53"/>
                </a:cxn>
                <a:cxn ang="0">
                  <a:pos x="235" y="131"/>
                </a:cxn>
                <a:cxn ang="0">
                  <a:pos x="43" y="83"/>
                </a:cxn>
                <a:cxn ang="0">
                  <a:pos x="0" y="87"/>
                </a:cxn>
                <a:cxn ang="0">
                  <a:pos x="10" y="143"/>
                </a:cxn>
                <a:cxn ang="0">
                  <a:pos x="222" y="191"/>
                </a:cxn>
                <a:cxn ang="0">
                  <a:pos x="344" y="55"/>
                </a:cxn>
                <a:cxn ang="0">
                  <a:pos x="356" y="28"/>
                </a:cxn>
                <a:cxn ang="0">
                  <a:pos x="339" y="0"/>
                </a:cxn>
              </a:cxnLst>
              <a:rect l="0" t="0" r="r" b="b"/>
              <a:pathLst>
                <a:path w="356" h="209">
                  <a:moveTo>
                    <a:pt x="339" y="0"/>
                  </a:moveTo>
                  <a:cubicBezTo>
                    <a:pt x="310" y="21"/>
                    <a:pt x="310" y="21"/>
                    <a:pt x="310" y="21"/>
                  </a:cubicBezTo>
                  <a:cubicBezTo>
                    <a:pt x="325" y="53"/>
                    <a:pt x="325" y="53"/>
                    <a:pt x="325" y="53"/>
                  </a:cubicBezTo>
                  <a:cubicBezTo>
                    <a:pt x="325" y="53"/>
                    <a:pt x="294" y="124"/>
                    <a:pt x="235" y="131"/>
                  </a:cubicBezTo>
                  <a:cubicBezTo>
                    <a:pt x="179" y="139"/>
                    <a:pt x="78" y="113"/>
                    <a:pt x="43" y="83"/>
                  </a:cubicBezTo>
                  <a:cubicBezTo>
                    <a:pt x="0" y="87"/>
                    <a:pt x="0" y="87"/>
                    <a:pt x="0" y="87"/>
                  </a:cubicBezTo>
                  <a:cubicBezTo>
                    <a:pt x="10" y="143"/>
                    <a:pt x="10" y="143"/>
                    <a:pt x="10" y="143"/>
                  </a:cubicBezTo>
                  <a:cubicBezTo>
                    <a:pt x="10" y="143"/>
                    <a:pt x="125" y="209"/>
                    <a:pt x="222" y="191"/>
                  </a:cubicBezTo>
                  <a:cubicBezTo>
                    <a:pt x="291" y="178"/>
                    <a:pt x="330" y="115"/>
                    <a:pt x="344" y="55"/>
                  </a:cubicBezTo>
                  <a:cubicBezTo>
                    <a:pt x="356" y="28"/>
                    <a:pt x="356" y="28"/>
                    <a:pt x="356" y="28"/>
                  </a:cubicBezTo>
                  <a:lnTo>
                    <a:pt x="339" y="0"/>
                  </a:lnTo>
                  <a:close/>
                </a:path>
              </a:pathLst>
            </a:custGeom>
            <a:solidFill>
              <a:srgbClr val="353539"/>
            </a:solidFill>
            <a:ln w="9525">
              <a:noFill/>
              <a:round/>
              <a:headEnd/>
              <a:tailEnd/>
            </a:ln>
          </p:spPr>
          <p:txBody>
            <a:bodyPr anchor="ctr"/>
            <a:lstStyle/>
            <a:p>
              <a:pPr algn="ctr"/>
              <a:endParaRPr/>
            </a:p>
          </p:txBody>
        </p:sp>
        <p:sp>
          <p:nvSpPr>
            <p:cNvPr id="185" name="iṣļiďé">
              <a:extLst>
                <a:ext uri="{FF2B5EF4-FFF2-40B4-BE49-F238E27FC236}">
                  <a16:creationId xmlns:a16="http://schemas.microsoft.com/office/drawing/2014/main" id="{D0286D5B-6986-47F7-80FF-067DC012E7E0}"/>
                </a:ext>
              </a:extLst>
            </p:cNvPr>
            <p:cNvSpPr/>
            <p:nvPr/>
          </p:nvSpPr>
          <p:spPr bwMode="auto">
            <a:xfrm>
              <a:off x="2119112" y="4095249"/>
              <a:ext cx="1825463" cy="711581"/>
            </a:xfrm>
            <a:custGeom>
              <a:avLst/>
              <a:gdLst/>
              <a:ahLst/>
              <a:cxnLst>
                <a:cxn ang="0">
                  <a:pos x="23" y="97"/>
                </a:cxn>
                <a:cxn ang="0">
                  <a:pos x="0" y="186"/>
                </a:cxn>
                <a:cxn ang="0">
                  <a:pos x="485" y="189"/>
                </a:cxn>
                <a:cxn ang="0">
                  <a:pos x="375" y="6"/>
                </a:cxn>
                <a:cxn ang="0">
                  <a:pos x="213" y="134"/>
                </a:cxn>
                <a:cxn ang="0">
                  <a:pos x="97" y="129"/>
                </a:cxn>
                <a:cxn ang="0">
                  <a:pos x="23" y="97"/>
                </a:cxn>
              </a:cxnLst>
              <a:rect l="0" t="0" r="r" b="b"/>
              <a:pathLst>
                <a:path w="485" h="189">
                  <a:moveTo>
                    <a:pt x="23" y="97"/>
                  </a:moveTo>
                  <a:cubicBezTo>
                    <a:pt x="0" y="186"/>
                    <a:pt x="0" y="186"/>
                    <a:pt x="0" y="186"/>
                  </a:cubicBezTo>
                  <a:cubicBezTo>
                    <a:pt x="485" y="189"/>
                    <a:pt x="485" y="189"/>
                    <a:pt x="485" y="189"/>
                  </a:cubicBezTo>
                  <a:cubicBezTo>
                    <a:pt x="485" y="189"/>
                    <a:pt x="450" y="12"/>
                    <a:pt x="375" y="6"/>
                  </a:cubicBezTo>
                  <a:cubicBezTo>
                    <a:pt x="313" y="0"/>
                    <a:pt x="213" y="134"/>
                    <a:pt x="213" y="134"/>
                  </a:cubicBezTo>
                  <a:cubicBezTo>
                    <a:pt x="213" y="134"/>
                    <a:pt x="153" y="140"/>
                    <a:pt x="97" y="129"/>
                  </a:cubicBezTo>
                  <a:cubicBezTo>
                    <a:pt x="50" y="120"/>
                    <a:pt x="23" y="97"/>
                    <a:pt x="23" y="97"/>
                  </a:cubicBezTo>
                  <a:close/>
                </a:path>
              </a:pathLst>
            </a:custGeom>
            <a:solidFill>
              <a:srgbClr val="353539"/>
            </a:solidFill>
            <a:ln w="9525">
              <a:noFill/>
              <a:round/>
              <a:headEnd/>
              <a:tailEnd/>
            </a:ln>
          </p:spPr>
          <p:txBody>
            <a:bodyPr anchor="ctr"/>
            <a:lstStyle/>
            <a:p>
              <a:pPr algn="ctr"/>
              <a:endParaRPr/>
            </a:p>
          </p:txBody>
        </p:sp>
        <p:sp>
          <p:nvSpPr>
            <p:cNvPr id="186" name="iśľïḍe">
              <a:extLst>
                <a:ext uri="{FF2B5EF4-FFF2-40B4-BE49-F238E27FC236}">
                  <a16:creationId xmlns:a16="http://schemas.microsoft.com/office/drawing/2014/main" id="{6F54115F-AC67-4047-A5E9-966BB017AA93}"/>
                </a:ext>
              </a:extLst>
            </p:cNvPr>
            <p:cNvSpPr/>
            <p:nvPr/>
          </p:nvSpPr>
          <p:spPr bwMode="auto">
            <a:xfrm>
              <a:off x="3334648" y="4513249"/>
              <a:ext cx="327728" cy="293581"/>
            </a:xfrm>
            <a:custGeom>
              <a:avLst/>
              <a:gdLst/>
              <a:ahLst/>
              <a:cxnLst>
                <a:cxn ang="0">
                  <a:pos x="87" y="78"/>
                </a:cxn>
                <a:cxn ang="0">
                  <a:pos x="61" y="0"/>
                </a:cxn>
                <a:cxn ang="0">
                  <a:pos x="0" y="77"/>
                </a:cxn>
                <a:cxn ang="0">
                  <a:pos x="87" y="78"/>
                </a:cxn>
              </a:cxnLst>
              <a:rect l="0" t="0" r="r" b="b"/>
              <a:pathLst>
                <a:path w="87" h="78">
                  <a:moveTo>
                    <a:pt x="87" y="78"/>
                  </a:moveTo>
                  <a:cubicBezTo>
                    <a:pt x="87" y="78"/>
                    <a:pt x="70" y="0"/>
                    <a:pt x="61" y="0"/>
                  </a:cubicBezTo>
                  <a:cubicBezTo>
                    <a:pt x="38" y="0"/>
                    <a:pt x="4" y="65"/>
                    <a:pt x="0" y="77"/>
                  </a:cubicBezTo>
                  <a:lnTo>
                    <a:pt x="87" y="78"/>
                  </a:lnTo>
                  <a:close/>
                </a:path>
              </a:pathLst>
            </a:custGeom>
            <a:solidFill>
              <a:srgbClr val="23221D"/>
            </a:solidFill>
            <a:ln w="9525">
              <a:noFill/>
              <a:round/>
              <a:headEnd/>
              <a:tailEnd/>
            </a:ln>
          </p:spPr>
          <p:txBody>
            <a:bodyPr anchor="ctr"/>
            <a:lstStyle/>
            <a:p>
              <a:pPr algn="ctr"/>
              <a:endParaRPr/>
            </a:p>
          </p:txBody>
        </p:sp>
        <p:sp>
          <p:nvSpPr>
            <p:cNvPr id="187" name="iṩ1ídê">
              <a:extLst>
                <a:ext uri="{FF2B5EF4-FFF2-40B4-BE49-F238E27FC236}">
                  <a16:creationId xmlns:a16="http://schemas.microsoft.com/office/drawing/2014/main" id="{A001D1F2-6E17-4FF9-B416-29CFE14CF602}"/>
                </a:ext>
              </a:extLst>
            </p:cNvPr>
            <p:cNvSpPr/>
            <p:nvPr/>
          </p:nvSpPr>
          <p:spPr bwMode="auto">
            <a:xfrm>
              <a:off x="2875437" y="2966060"/>
              <a:ext cx="218616" cy="177012"/>
            </a:xfrm>
            <a:custGeom>
              <a:avLst/>
              <a:gdLst/>
              <a:ahLst/>
              <a:cxnLst>
                <a:cxn ang="0">
                  <a:pos x="58" y="28"/>
                </a:cxn>
                <a:cxn ang="0">
                  <a:pos x="7" y="0"/>
                </a:cxn>
                <a:cxn ang="0">
                  <a:pos x="0" y="26"/>
                </a:cxn>
                <a:cxn ang="0">
                  <a:pos x="53" y="47"/>
                </a:cxn>
                <a:cxn ang="0">
                  <a:pos x="58" y="28"/>
                </a:cxn>
              </a:cxnLst>
              <a:rect l="0" t="0" r="r" b="b"/>
              <a:pathLst>
                <a:path w="58" h="47">
                  <a:moveTo>
                    <a:pt x="58" y="28"/>
                  </a:moveTo>
                  <a:cubicBezTo>
                    <a:pt x="7" y="0"/>
                    <a:pt x="7" y="0"/>
                    <a:pt x="7" y="0"/>
                  </a:cubicBezTo>
                  <a:cubicBezTo>
                    <a:pt x="0" y="26"/>
                    <a:pt x="0" y="26"/>
                    <a:pt x="0" y="26"/>
                  </a:cubicBezTo>
                  <a:cubicBezTo>
                    <a:pt x="19" y="38"/>
                    <a:pt x="40" y="44"/>
                    <a:pt x="53" y="47"/>
                  </a:cubicBezTo>
                  <a:lnTo>
                    <a:pt x="58" y="28"/>
                  </a:lnTo>
                  <a:close/>
                </a:path>
              </a:pathLst>
            </a:custGeom>
            <a:solidFill>
              <a:srgbClr val="F0BA7D"/>
            </a:solidFill>
            <a:ln w="9525">
              <a:noFill/>
              <a:round/>
              <a:headEnd/>
              <a:tailEnd/>
            </a:ln>
          </p:spPr>
          <p:txBody>
            <a:bodyPr anchor="ctr"/>
            <a:lstStyle/>
            <a:p>
              <a:pPr algn="ctr"/>
              <a:endParaRPr/>
            </a:p>
          </p:txBody>
        </p:sp>
        <p:sp>
          <p:nvSpPr>
            <p:cNvPr id="188" name="ïṩ1îḋè">
              <a:extLst>
                <a:ext uri="{FF2B5EF4-FFF2-40B4-BE49-F238E27FC236}">
                  <a16:creationId xmlns:a16="http://schemas.microsoft.com/office/drawing/2014/main" id="{80AD16CE-1AF3-4917-8D8D-F64166F75BD3}"/>
                </a:ext>
              </a:extLst>
            </p:cNvPr>
            <p:cNvSpPr/>
            <p:nvPr/>
          </p:nvSpPr>
          <p:spPr bwMode="auto">
            <a:xfrm>
              <a:off x="2849140" y="3063790"/>
              <a:ext cx="226073" cy="199777"/>
            </a:xfrm>
            <a:custGeom>
              <a:avLst/>
              <a:gdLst/>
              <a:ahLst/>
              <a:cxnLst>
                <a:cxn ang="0">
                  <a:pos x="7" y="0"/>
                </a:cxn>
                <a:cxn ang="0">
                  <a:pos x="0" y="23"/>
                </a:cxn>
                <a:cxn ang="0">
                  <a:pos x="36" y="53"/>
                </a:cxn>
                <a:cxn ang="0">
                  <a:pos x="55" y="40"/>
                </a:cxn>
                <a:cxn ang="0">
                  <a:pos x="60" y="21"/>
                </a:cxn>
                <a:cxn ang="0">
                  <a:pos x="7" y="0"/>
                </a:cxn>
              </a:cxnLst>
              <a:rect l="0" t="0" r="r" b="b"/>
              <a:pathLst>
                <a:path w="60" h="53">
                  <a:moveTo>
                    <a:pt x="7" y="0"/>
                  </a:moveTo>
                  <a:cubicBezTo>
                    <a:pt x="0" y="23"/>
                    <a:pt x="0" y="23"/>
                    <a:pt x="0" y="23"/>
                  </a:cubicBezTo>
                  <a:cubicBezTo>
                    <a:pt x="36" y="53"/>
                    <a:pt x="36" y="53"/>
                    <a:pt x="36" y="53"/>
                  </a:cubicBezTo>
                  <a:cubicBezTo>
                    <a:pt x="55" y="40"/>
                    <a:pt x="55" y="40"/>
                    <a:pt x="55" y="40"/>
                  </a:cubicBezTo>
                  <a:cubicBezTo>
                    <a:pt x="60" y="21"/>
                    <a:pt x="60" y="21"/>
                    <a:pt x="60" y="21"/>
                  </a:cubicBezTo>
                  <a:cubicBezTo>
                    <a:pt x="47" y="18"/>
                    <a:pt x="26" y="12"/>
                    <a:pt x="7" y="0"/>
                  </a:cubicBezTo>
                  <a:close/>
                </a:path>
              </a:pathLst>
            </a:custGeom>
            <a:solidFill>
              <a:srgbClr val="FFDFA9"/>
            </a:solidFill>
            <a:ln w="9525">
              <a:noFill/>
              <a:round/>
              <a:headEnd/>
              <a:tailEnd/>
            </a:ln>
          </p:spPr>
          <p:txBody>
            <a:bodyPr anchor="ctr"/>
            <a:lstStyle/>
            <a:p>
              <a:pPr algn="ctr"/>
              <a:endParaRPr/>
            </a:p>
          </p:txBody>
        </p:sp>
        <p:sp>
          <p:nvSpPr>
            <p:cNvPr id="189" name="ïṥḻiḓê">
              <a:extLst>
                <a:ext uri="{FF2B5EF4-FFF2-40B4-BE49-F238E27FC236}">
                  <a16:creationId xmlns:a16="http://schemas.microsoft.com/office/drawing/2014/main" id="{2C2DB975-F816-40E2-A10D-A3128EDC558C}"/>
                </a:ext>
              </a:extLst>
            </p:cNvPr>
            <p:cNvSpPr/>
            <p:nvPr/>
          </p:nvSpPr>
          <p:spPr bwMode="auto">
            <a:xfrm>
              <a:off x="2521805" y="1407882"/>
              <a:ext cx="1456524" cy="1818006"/>
            </a:xfrm>
            <a:custGeom>
              <a:avLst/>
              <a:gdLst/>
              <a:ahLst/>
              <a:cxnLst>
                <a:cxn ang="0">
                  <a:pos x="369" y="218"/>
                </a:cxn>
                <a:cxn ang="0">
                  <a:pos x="225" y="470"/>
                </a:cxn>
                <a:cxn ang="0">
                  <a:pos x="17" y="266"/>
                </a:cxn>
                <a:cxn ang="0">
                  <a:pos x="162" y="14"/>
                </a:cxn>
                <a:cxn ang="0">
                  <a:pos x="369" y="218"/>
                </a:cxn>
              </a:cxnLst>
              <a:rect l="0" t="0" r="r" b="b"/>
              <a:pathLst>
                <a:path w="387" h="483">
                  <a:moveTo>
                    <a:pt x="369" y="218"/>
                  </a:moveTo>
                  <a:cubicBezTo>
                    <a:pt x="387" y="344"/>
                    <a:pt x="322" y="457"/>
                    <a:pt x="225" y="470"/>
                  </a:cubicBezTo>
                  <a:cubicBezTo>
                    <a:pt x="127" y="483"/>
                    <a:pt x="34" y="392"/>
                    <a:pt x="17" y="266"/>
                  </a:cubicBezTo>
                  <a:cubicBezTo>
                    <a:pt x="0" y="140"/>
                    <a:pt x="65" y="27"/>
                    <a:pt x="162" y="14"/>
                  </a:cubicBezTo>
                  <a:cubicBezTo>
                    <a:pt x="259" y="0"/>
                    <a:pt x="352" y="92"/>
                    <a:pt x="369" y="218"/>
                  </a:cubicBezTo>
                  <a:close/>
                </a:path>
              </a:pathLst>
            </a:custGeom>
            <a:solidFill>
              <a:srgbClr val="FFDFA9"/>
            </a:solidFill>
            <a:ln w="9525">
              <a:noFill/>
              <a:round/>
              <a:headEnd/>
              <a:tailEnd/>
            </a:ln>
          </p:spPr>
          <p:txBody>
            <a:bodyPr anchor="ctr"/>
            <a:lstStyle/>
            <a:p>
              <a:pPr algn="ctr"/>
              <a:endParaRPr/>
            </a:p>
          </p:txBody>
        </p:sp>
        <p:sp>
          <p:nvSpPr>
            <p:cNvPr id="190" name="işḷiḑe">
              <a:extLst>
                <a:ext uri="{FF2B5EF4-FFF2-40B4-BE49-F238E27FC236}">
                  <a16:creationId xmlns:a16="http://schemas.microsoft.com/office/drawing/2014/main" id="{CFB3C132-C5DC-4859-88B1-1BF90F3B21A7}"/>
                </a:ext>
              </a:extLst>
            </p:cNvPr>
            <p:cNvSpPr/>
            <p:nvPr/>
          </p:nvSpPr>
          <p:spPr bwMode="auto">
            <a:xfrm>
              <a:off x="2431533" y="1177884"/>
              <a:ext cx="1701437" cy="1663758"/>
            </a:xfrm>
            <a:custGeom>
              <a:avLst/>
              <a:gdLst/>
              <a:ahLst/>
              <a:cxnLst>
                <a:cxn ang="0">
                  <a:pos x="385" y="16"/>
                </a:cxn>
                <a:cxn ang="0">
                  <a:pos x="345" y="45"/>
                </a:cxn>
                <a:cxn ang="0">
                  <a:pos x="315" y="0"/>
                </a:cxn>
                <a:cxn ang="0">
                  <a:pos x="234" y="45"/>
                </a:cxn>
                <a:cxn ang="0">
                  <a:pos x="71" y="92"/>
                </a:cxn>
                <a:cxn ang="0">
                  <a:pos x="0" y="207"/>
                </a:cxn>
                <a:cxn ang="0">
                  <a:pos x="83" y="442"/>
                </a:cxn>
                <a:cxn ang="0">
                  <a:pos x="161" y="177"/>
                </a:cxn>
                <a:cxn ang="0">
                  <a:pos x="356" y="173"/>
                </a:cxn>
                <a:cxn ang="0">
                  <a:pos x="385" y="216"/>
                </a:cxn>
                <a:cxn ang="0">
                  <a:pos x="385" y="166"/>
                </a:cxn>
                <a:cxn ang="0">
                  <a:pos x="416" y="145"/>
                </a:cxn>
                <a:cxn ang="0">
                  <a:pos x="385" y="16"/>
                </a:cxn>
              </a:cxnLst>
              <a:rect l="0" t="0" r="r" b="b"/>
              <a:pathLst>
                <a:path w="452" h="442">
                  <a:moveTo>
                    <a:pt x="385" y="16"/>
                  </a:moveTo>
                  <a:cubicBezTo>
                    <a:pt x="385" y="16"/>
                    <a:pt x="370" y="37"/>
                    <a:pt x="345" y="45"/>
                  </a:cubicBezTo>
                  <a:cubicBezTo>
                    <a:pt x="345" y="45"/>
                    <a:pt x="348" y="23"/>
                    <a:pt x="315" y="0"/>
                  </a:cubicBezTo>
                  <a:cubicBezTo>
                    <a:pt x="315" y="0"/>
                    <a:pt x="278" y="54"/>
                    <a:pt x="234" y="45"/>
                  </a:cubicBezTo>
                  <a:cubicBezTo>
                    <a:pt x="169" y="31"/>
                    <a:pt x="97" y="20"/>
                    <a:pt x="71" y="92"/>
                  </a:cubicBezTo>
                  <a:cubicBezTo>
                    <a:pt x="71" y="92"/>
                    <a:pt x="0" y="112"/>
                    <a:pt x="0" y="207"/>
                  </a:cubicBezTo>
                  <a:cubicBezTo>
                    <a:pt x="0" y="261"/>
                    <a:pt x="27" y="377"/>
                    <a:pt x="83" y="442"/>
                  </a:cubicBezTo>
                  <a:cubicBezTo>
                    <a:pt x="83" y="442"/>
                    <a:pt x="157" y="303"/>
                    <a:pt x="161" y="177"/>
                  </a:cubicBezTo>
                  <a:cubicBezTo>
                    <a:pt x="161" y="177"/>
                    <a:pt x="279" y="189"/>
                    <a:pt x="356" y="173"/>
                  </a:cubicBezTo>
                  <a:cubicBezTo>
                    <a:pt x="370" y="181"/>
                    <a:pt x="389" y="196"/>
                    <a:pt x="385" y="216"/>
                  </a:cubicBezTo>
                  <a:cubicBezTo>
                    <a:pt x="385" y="216"/>
                    <a:pt x="408" y="185"/>
                    <a:pt x="385" y="166"/>
                  </a:cubicBezTo>
                  <a:cubicBezTo>
                    <a:pt x="399" y="160"/>
                    <a:pt x="410" y="154"/>
                    <a:pt x="416" y="145"/>
                  </a:cubicBezTo>
                  <a:cubicBezTo>
                    <a:pt x="452" y="94"/>
                    <a:pt x="410" y="26"/>
                    <a:pt x="385" y="16"/>
                  </a:cubicBezTo>
                  <a:close/>
                </a:path>
              </a:pathLst>
            </a:custGeom>
            <a:solidFill>
              <a:srgbClr val="353539"/>
            </a:solidFill>
            <a:ln w="9525">
              <a:noFill/>
              <a:round/>
              <a:headEnd/>
              <a:tailEnd/>
            </a:ln>
          </p:spPr>
          <p:txBody>
            <a:bodyPr anchor="ctr"/>
            <a:lstStyle/>
            <a:p>
              <a:pPr algn="ctr"/>
              <a:endParaRPr/>
            </a:p>
          </p:txBody>
        </p:sp>
        <p:sp>
          <p:nvSpPr>
            <p:cNvPr id="191" name="ïṧḷîḓê">
              <a:extLst>
                <a:ext uri="{FF2B5EF4-FFF2-40B4-BE49-F238E27FC236}">
                  <a16:creationId xmlns:a16="http://schemas.microsoft.com/office/drawing/2014/main" id="{311DA79C-C80A-4A55-89A6-5DD230FBFCA8}"/>
                </a:ext>
              </a:extLst>
            </p:cNvPr>
            <p:cNvSpPr/>
            <p:nvPr/>
          </p:nvSpPr>
          <p:spPr bwMode="auto">
            <a:xfrm>
              <a:off x="2743953" y="2156749"/>
              <a:ext cx="251977" cy="323803"/>
            </a:xfrm>
            <a:custGeom>
              <a:avLst/>
              <a:gdLst/>
              <a:ahLst/>
              <a:cxnLst>
                <a:cxn ang="0">
                  <a:pos x="60" y="34"/>
                </a:cxn>
                <a:cxn ang="0">
                  <a:pos x="46" y="81"/>
                </a:cxn>
                <a:cxn ang="0">
                  <a:pos x="7" y="52"/>
                </a:cxn>
                <a:cxn ang="0">
                  <a:pos x="21" y="5"/>
                </a:cxn>
                <a:cxn ang="0">
                  <a:pos x="60" y="34"/>
                </a:cxn>
              </a:cxnLst>
              <a:rect l="0" t="0" r="r" b="b"/>
              <a:pathLst>
                <a:path w="67" h="86">
                  <a:moveTo>
                    <a:pt x="60" y="34"/>
                  </a:moveTo>
                  <a:cubicBezTo>
                    <a:pt x="67" y="55"/>
                    <a:pt x="61" y="76"/>
                    <a:pt x="46" y="81"/>
                  </a:cubicBezTo>
                  <a:cubicBezTo>
                    <a:pt x="31" y="86"/>
                    <a:pt x="14" y="73"/>
                    <a:pt x="7" y="52"/>
                  </a:cubicBezTo>
                  <a:cubicBezTo>
                    <a:pt x="0" y="31"/>
                    <a:pt x="6" y="10"/>
                    <a:pt x="21" y="5"/>
                  </a:cubicBezTo>
                  <a:cubicBezTo>
                    <a:pt x="35" y="0"/>
                    <a:pt x="53" y="13"/>
                    <a:pt x="60" y="34"/>
                  </a:cubicBezTo>
                  <a:close/>
                </a:path>
              </a:pathLst>
            </a:custGeom>
            <a:solidFill>
              <a:srgbClr val="FFDFA9"/>
            </a:solidFill>
            <a:ln w="9525">
              <a:noFill/>
              <a:round/>
              <a:headEnd/>
              <a:tailEnd/>
            </a:ln>
          </p:spPr>
          <p:txBody>
            <a:bodyPr anchor="ctr"/>
            <a:lstStyle/>
            <a:p>
              <a:pPr algn="ctr"/>
              <a:endParaRPr/>
            </a:p>
          </p:txBody>
        </p:sp>
        <p:sp>
          <p:nvSpPr>
            <p:cNvPr id="192" name="íśļïďè">
              <a:extLst>
                <a:ext uri="{FF2B5EF4-FFF2-40B4-BE49-F238E27FC236}">
                  <a16:creationId xmlns:a16="http://schemas.microsoft.com/office/drawing/2014/main" id="{FD086235-F713-45DB-9939-55D8D0E2B15A}"/>
                </a:ext>
              </a:extLst>
            </p:cNvPr>
            <p:cNvSpPr/>
            <p:nvPr/>
          </p:nvSpPr>
          <p:spPr bwMode="auto">
            <a:xfrm>
              <a:off x="3274598" y="2826727"/>
              <a:ext cx="274742" cy="146791"/>
            </a:xfrm>
            <a:custGeom>
              <a:avLst/>
              <a:gdLst/>
              <a:ahLst/>
              <a:cxnLst>
                <a:cxn ang="0">
                  <a:pos x="0" y="1"/>
                </a:cxn>
                <a:cxn ang="0">
                  <a:pos x="41" y="36"/>
                </a:cxn>
                <a:cxn ang="0">
                  <a:pos x="73" y="33"/>
                </a:cxn>
                <a:cxn ang="0">
                  <a:pos x="0" y="1"/>
                </a:cxn>
              </a:cxnLst>
              <a:rect l="0" t="0" r="r" b="b"/>
              <a:pathLst>
                <a:path w="73" h="39">
                  <a:moveTo>
                    <a:pt x="0" y="1"/>
                  </a:moveTo>
                  <a:cubicBezTo>
                    <a:pt x="4" y="16"/>
                    <a:pt x="15" y="30"/>
                    <a:pt x="41" y="36"/>
                  </a:cubicBezTo>
                  <a:cubicBezTo>
                    <a:pt x="53" y="39"/>
                    <a:pt x="64" y="37"/>
                    <a:pt x="73" y="33"/>
                  </a:cubicBezTo>
                  <a:cubicBezTo>
                    <a:pt x="48" y="4"/>
                    <a:pt x="19" y="0"/>
                    <a:pt x="0" y="1"/>
                  </a:cubicBezTo>
                  <a:close/>
                </a:path>
              </a:pathLst>
            </a:custGeom>
            <a:solidFill>
              <a:srgbClr val="E18256"/>
            </a:solidFill>
            <a:ln w="9525">
              <a:noFill/>
              <a:round/>
              <a:headEnd/>
              <a:tailEnd/>
            </a:ln>
          </p:spPr>
          <p:txBody>
            <a:bodyPr anchor="ctr"/>
            <a:lstStyle/>
            <a:p>
              <a:pPr algn="ctr"/>
              <a:endParaRPr/>
            </a:p>
          </p:txBody>
        </p:sp>
        <p:sp>
          <p:nvSpPr>
            <p:cNvPr id="193" name="îṧḷíďê">
              <a:extLst>
                <a:ext uri="{FF2B5EF4-FFF2-40B4-BE49-F238E27FC236}">
                  <a16:creationId xmlns:a16="http://schemas.microsoft.com/office/drawing/2014/main" id="{7E2DAF87-389E-438A-B87C-97140FE62B5B}"/>
                </a:ext>
              </a:extLst>
            </p:cNvPr>
            <p:cNvSpPr/>
            <p:nvPr/>
          </p:nvSpPr>
          <p:spPr bwMode="auto">
            <a:xfrm>
              <a:off x="3251833" y="2615961"/>
              <a:ext cx="421925" cy="335185"/>
            </a:xfrm>
            <a:custGeom>
              <a:avLst/>
              <a:gdLst/>
              <a:ahLst/>
              <a:cxnLst>
                <a:cxn ang="0">
                  <a:pos x="112" y="57"/>
                </a:cxn>
                <a:cxn ang="0">
                  <a:pos x="14" y="0"/>
                </a:cxn>
                <a:cxn ang="0">
                  <a:pos x="6" y="57"/>
                </a:cxn>
                <a:cxn ang="0">
                  <a:pos x="79" y="89"/>
                </a:cxn>
                <a:cxn ang="0">
                  <a:pos x="112" y="57"/>
                </a:cxn>
              </a:cxnLst>
              <a:rect l="0" t="0" r="r" b="b"/>
              <a:pathLst>
                <a:path w="112" h="89">
                  <a:moveTo>
                    <a:pt x="112" y="57"/>
                  </a:moveTo>
                  <a:cubicBezTo>
                    <a:pt x="112" y="57"/>
                    <a:pt x="59" y="52"/>
                    <a:pt x="14" y="0"/>
                  </a:cubicBezTo>
                  <a:cubicBezTo>
                    <a:pt x="14" y="0"/>
                    <a:pt x="0" y="31"/>
                    <a:pt x="6" y="57"/>
                  </a:cubicBezTo>
                  <a:cubicBezTo>
                    <a:pt x="25" y="56"/>
                    <a:pt x="54" y="60"/>
                    <a:pt x="79" y="89"/>
                  </a:cubicBezTo>
                  <a:cubicBezTo>
                    <a:pt x="102" y="80"/>
                    <a:pt x="112" y="57"/>
                    <a:pt x="112" y="57"/>
                  </a:cubicBezTo>
                  <a:close/>
                </a:path>
              </a:pathLst>
            </a:custGeom>
            <a:solidFill>
              <a:srgbClr val="353539"/>
            </a:solidFill>
            <a:ln w="9525">
              <a:noFill/>
              <a:round/>
              <a:headEnd/>
              <a:tailEnd/>
            </a:ln>
          </p:spPr>
          <p:txBody>
            <a:bodyPr anchor="ctr"/>
            <a:lstStyle/>
            <a:p>
              <a:pPr algn="ctr"/>
              <a:endParaRPr/>
            </a:p>
          </p:txBody>
        </p:sp>
        <p:sp>
          <p:nvSpPr>
            <p:cNvPr id="194" name="iṥľiḋè">
              <a:extLst>
                <a:ext uri="{FF2B5EF4-FFF2-40B4-BE49-F238E27FC236}">
                  <a16:creationId xmlns:a16="http://schemas.microsoft.com/office/drawing/2014/main" id="{C4372BAA-8087-40E2-B068-0AA70F38124C}"/>
                </a:ext>
              </a:extLst>
            </p:cNvPr>
            <p:cNvSpPr/>
            <p:nvPr/>
          </p:nvSpPr>
          <p:spPr bwMode="auto">
            <a:xfrm>
              <a:off x="3880600" y="2360058"/>
              <a:ext cx="199384" cy="248445"/>
            </a:xfrm>
            <a:custGeom>
              <a:avLst/>
              <a:gdLst/>
              <a:ahLst/>
              <a:cxnLst>
                <a:cxn ang="0">
                  <a:pos x="0" y="2"/>
                </a:cxn>
                <a:cxn ang="0">
                  <a:pos x="48" y="5"/>
                </a:cxn>
                <a:cxn ang="0">
                  <a:pos x="0" y="63"/>
                </a:cxn>
                <a:cxn ang="0">
                  <a:pos x="0" y="2"/>
                </a:cxn>
              </a:cxnLst>
              <a:rect l="0" t="0" r="r" b="b"/>
              <a:pathLst>
                <a:path w="53" h="66">
                  <a:moveTo>
                    <a:pt x="0" y="2"/>
                  </a:moveTo>
                  <a:cubicBezTo>
                    <a:pt x="0" y="2"/>
                    <a:pt x="44" y="0"/>
                    <a:pt x="48" y="5"/>
                  </a:cubicBezTo>
                  <a:cubicBezTo>
                    <a:pt x="53" y="10"/>
                    <a:pt x="50" y="66"/>
                    <a:pt x="0" y="63"/>
                  </a:cubicBezTo>
                  <a:lnTo>
                    <a:pt x="0" y="2"/>
                  </a:lnTo>
                  <a:close/>
                </a:path>
              </a:pathLst>
            </a:custGeom>
            <a:solidFill>
              <a:srgbClr val="FFDFA9"/>
            </a:solidFill>
            <a:ln w="9525">
              <a:noFill/>
              <a:round/>
              <a:headEnd/>
              <a:tailEnd/>
            </a:ln>
          </p:spPr>
          <p:txBody>
            <a:bodyPr anchor="ctr"/>
            <a:lstStyle/>
            <a:p>
              <a:pPr algn="ctr"/>
              <a:endParaRPr/>
            </a:p>
          </p:txBody>
        </p:sp>
        <p:sp>
          <p:nvSpPr>
            <p:cNvPr id="195" name="ïsļîďè">
              <a:extLst>
                <a:ext uri="{FF2B5EF4-FFF2-40B4-BE49-F238E27FC236}">
                  <a16:creationId xmlns:a16="http://schemas.microsoft.com/office/drawing/2014/main" id="{69B0947D-B701-4EAB-A4BD-9C60BA3C63A4}"/>
                </a:ext>
              </a:extLst>
            </p:cNvPr>
            <p:cNvSpPr/>
            <p:nvPr/>
          </p:nvSpPr>
          <p:spPr bwMode="auto">
            <a:xfrm>
              <a:off x="3741266" y="2597121"/>
              <a:ext cx="158173" cy="127951"/>
            </a:xfrm>
            <a:custGeom>
              <a:avLst/>
              <a:gdLst/>
              <a:ahLst/>
              <a:cxnLst>
                <a:cxn ang="0">
                  <a:pos x="42" y="0"/>
                </a:cxn>
                <a:cxn ang="0">
                  <a:pos x="3" y="0"/>
                </a:cxn>
                <a:cxn ang="0">
                  <a:pos x="32" y="34"/>
                </a:cxn>
                <a:cxn ang="0">
                  <a:pos x="42" y="0"/>
                </a:cxn>
              </a:cxnLst>
              <a:rect l="0" t="0" r="r" b="b"/>
              <a:pathLst>
                <a:path w="42" h="34">
                  <a:moveTo>
                    <a:pt x="42" y="0"/>
                  </a:moveTo>
                  <a:cubicBezTo>
                    <a:pt x="3" y="0"/>
                    <a:pt x="3" y="0"/>
                    <a:pt x="3" y="0"/>
                  </a:cubicBezTo>
                  <a:cubicBezTo>
                    <a:pt x="3" y="0"/>
                    <a:pt x="0" y="29"/>
                    <a:pt x="32" y="34"/>
                  </a:cubicBezTo>
                  <a:cubicBezTo>
                    <a:pt x="32" y="34"/>
                    <a:pt x="41" y="9"/>
                    <a:pt x="42" y="0"/>
                  </a:cubicBezTo>
                  <a:close/>
                </a:path>
              </a:pathLst>
            </a:custGeom>
            <a:solidFill>
              <a:srgbClr val="F0BA7D"/>
            </a:solidFill>
            <a:ln w="9525">
              <a:noFill/>
              <a:round/>
              <a:headEnd/>
              <a:tailEnd/>
            </a:ln>
          </p:spPr>
          <p:txBody>
            <a:bodyPr anchor="ctr"/>
            <a:lstStyle/>
            <a:p>
              <a:pPr algn="ctr"/>
              <a:endParaRPr/>
            </a:p>
          </p:txBody>
        </p:sp>
        <p:sp>
          <p:nvSpPr>
            <p:cNvPr id="196" name="ísḻïḑè">
              <a:extLst>
                <a:ext uri="{FF2B5EF4-FFF2-40B4-BE49-F238E27FC236}">
                  <a16:creationId xmlns:a16="http://schemas.microsoft.com/office/drawing/2014/main" id="{4360E32B-7C0A-4962-8308-1A3F290D9332}"/>
                </a:ext>
              </a:extLst>
            </p:cNvPr>
            <p:cNvSpPr/>
            <p:nvPr/>
          </p:nvSpPr>
          <p:spPr bwMode="auto">
            <a:xfrm>
              <a:off x="3767563" y="2115538"/>
              <a:ext cx="86740" cy="169163"/>
            </a:xfrm>
            <a:custGeom>
              <a:avLst/>
              <a:gdLst/>
              <a:ahLst/>
              <a:cxnLst>
                <a:cxn ang="0">
                  <a:pos x="22" y="21"/>
                </a:cxn>
                <a:cxn ang="0">
                  <a:pos x="20" y="15"/>
                </a:cxn>
                <a:cxn ang="0">
                  <a:pos x="16" y="17"/>
                </a:cxn>
                <a:cxn ang="0">
                  <a:pos x="11" y="12"/>
                </a:cxn>
                <a:cxn ang="0">
                  <a:pos x="16" y="6"/>
                </a:cxn>
                <a:cxn ang="0">
                  <a:pos x="17" y="6"/>
                </a:cxn>
                <a:cxn ang="0">
                  <a:pos x="9" y="1"/>
                </a:cxn>
                <a:cxn ang="0">
                  <a:pos x="1" y="24"/>
                </a:cxn>
                <a:cxn ang="0">
                  <a:pos x="14" y="45"/>
                </a:cxn>
                <a:cxn ang="0">
                  <a:pos x="22" y="21"/>
                </a:cxn>
              </a:cxnLst>
              <a:rect l="0" t="0" r="r" b="b"/>
              <a:pathLst>
                <a:path w="23" h="45">
                  <a:moveTo>
                    <a:pt x="22" y="21"/>
                  </a:moveTo>
                  <a:cubicBezTo>
                    <a:pt x="21" y="19"/>
                    <a:pt x="21" y="17"/>
                    <a:pt x="20" y="15"/>
                  </a:cubicBezTo>
                  <a:cubicBezTo>
                    <a:pt x="20" y="16"/>
                    <a:pt x="18" y="17"/>
                    <a:pt x="16" y="17"/>
                  </a:cubicBezTo>
                  <a:cubicBezTo>
                    <a:pt x="14" y="17"/>
                    <a:pt x="11" y="15"/>
                    <a:pt x="11" y="12"/>
                  </a:cubicBezTo>
                  <a:cubicBezTo>
                    <a:pt x="11" y="9"/>
                    <a:pt x="14" y="6"/>
                    <a:pt x="16" y="6"/>
                  </a:cubicBezTo>
                  <a:cubicBezTo>
                    <a:pt x="17" y="6"/>
                    <a:pt x="17" y="6"/>
                    <a:pt x="17" y="6"/>
                  </a:cubicBezTo>
                  <a:cubicBezTo>
                    <a:pt x="15" y="3"/>
                    <a:pt x="12" y="0"/>
                    <a:pt x="9" y="1"/>
                  </a:cubicBezTo>
                  <a:cubicBezTo>
                    <a:pt x="3" y="2"/>
                    <a:pt x="0" y="12"/>
                    <a:pt x="1" y="24"/>
                  </a:cubicBezTo>
                  <a:cubicBezTo>
                    <a:pt x="3" y="36"/>
                    <a:pt x="8" y="45"/>
                    <a:pt x="14" y="45"/>
                  </a:cubicBezTo>
                  <a:cubicBezTo>
                    <a:pt x="20" y="44"/>
                    <a:pt x="23" y="33"/>
                    <a:pt x="22" y="21"/>
                  </a:cubicBezTo>
                  <a:close/>
                </a:path>
              </a:pathLst>
            </a:custGeom>
            <a:solidFill>
              <a:srgbClr val="353539"/>
            </a:solidFill>
            <a:ln w="9525">
              <a:noFill/>
              <a:round/>
              <a:headEnd/>
              <a:tailEnd/>
            </a:ln>
          </p:spPr>
          <p:txBody>
            <a:bodyPr anchor="ctr"/>
            <a:lstStyle/>
            <a:p>
              <a:pPr algn="ctr"/>
              <a:endParaRPr/>
            </a:p>
          </p:txBody>
        </p:sp>
        <p:sp>
          <p:nvSpPr>
            <p:cNvPr id="197" name="ïsḷíḋê">
              <a:extLst>
                <a:ext uri="{FF2B5EF4-FFF2-40B4-BE49-F238E27FC236}">
                  <a16:creationId xmlns:a16="http://schemas.microsoft.com/office/drawing/2014/main" id="{90367991-8D1B-49B9-8726-D3B245A4CCE1}"/>
                </a:ext>
              </a:extLst>
            </p:cNvPr>
            <p:cNvSpPr/>
            <p:nvPr/>
          </p:nvSpPr>
          <p:spPr bwMode="auto">
            <a:xfrm>
              <a:off x="3364870" y="2092774"/>
              <a:ext cx="113037" cy="210766"/>
            </a:xfrm>
            <a:custGeom>
              <a:avLst/>
              <a:gdLst/>
              <a:ahLst/>
              <a:cxnLst>
                <a:cxn ang="0">
                  <a:pos x="26" y="16"/>
                </a:cxn>
                <a:cxn ang="0">
                  <a:pos x="21" y="20"/>
                </a:cxn>
                <a:cxn ang="0">
                  <a:pos x="15" y="13"/>
                </a:cxn>
                <a:cxn ang="0">
                  <a:pos x="21" y="6"/>
                </a:cxn>
                <a:cxn ang="0">
                  <a:pos x="22" y="7"/>
                </a:cxn>
                <a:cxn ang="0">
                  <a:pos x="12" y="1"/>
                </a:cxn>
                <a:cxn ang="0">
                  <a:pos x="2" y="30"/>
                </a:cxn>
                <a:cxn ang="0">
                  <a:pos x="18" y="55"/>
                </a:cxn>
                <a:cxn ang="0">
                  <a:pos x="29" y="26"/>
                </a:cxn>
                <a:cxn ang="0">
                  <a:pos x="26" y="16"/>
                </a:cxn>
              </a:cxnLst>
              <a:rect l="0" t="0" r="r" b="b"/>
              <a:pathLst>
                <a:path w="30" h="56">
                  <a:moveTo>
                    <a:pt x="26" y="16"/>
                  </a:moveTo>
                  <a:cubicBezTo>
                    <a:pt x="25" y="18"/>
                    <a:pt x="23" y="20"/>
                    <a:pt x="21" y="20"/>
                  </a:cubicBezTo>
                  <a:cubicBezTo>
                    <a:pt x="18" y="20"/>
                    <a:pt x="15" y="17"/>
                    <a:pt x="15" y="13"/>
                  </a:cubicBezTo>
                  <a:cubicBezTo>
                    <a:pt x="15" y="9"/>
                    <a:pt x="18" y="6"/>
                    <a:pt x="21" y="6"/>
                  </a:cubicBezTo>
                  <a:cubicBezTo>
                    <a:pt x="21" y="6"/>
                    <a:pt x="21" y="6"/>
                    <a:pt x="22" y="7"/>
                  </a:cubicBezTo>
                  <a:cubicBezTo>
                    <a:pt x="19" y="3"/>
                    <a:pt x="15" y="0"/>
                    <a:pt x="12" y="1"/>
                  </a:cubicBezTo>
                  <a:cubicBezTo>
                    <a:pt x="5" y="2"/>
                    <a:pt x="0" y="15"/>
                    <a:pt x="2" y="30"/>
                  </a:cubicBezTo>
                  <a:cubicBezTo>
                    <a:pt x="4" y="45"/>
                    <a:pt x="11" y="56"/>
                    <a:pt x="18" y="55"/>
                  </a:cubicBezTo>
                  <a:cubicBezTo>
                    <a:pt x="26" y="54"/>
                    <a:pt x="30" y="41"/>
                    <a:pt x="29" y="26"/>
                  </a:cubicBezTo>
                  <a:cubicBezTo>
                    <a:pt x="28" y="22"/>
                    <a:pt x="27" y="19"/>
                    <a:pt x="26" y="16"/>
                  </a:cubicBezTo>
                  <a:close/>
                </a:path>
              </a:pathLst>
            </a:custGeom>
            <a:solidFill>
              <a:srgbClr val="353539"/>
            </a:solidFill>
            <a:ln w="9525">
              <a:noFill/>
              <a:round/>
              <a:headEnd/>
              <a:tailEnd/>
            </a:ln>
          </p:spPr>
          <p:txBody>
            <a:bodyPr anchor="ctr"/>
            <a:lstStyle/>
            <a:p>
              <a:pPr algn="ctr"/>
              <a:endParaRPr/>
            </a:p>
          </p:txBody>
        </p:sp>
        <p:sp>
          <p:nvSpPr>
            <p:cNvPr id="198" name="ïşļîḍê">
              <a:extLst>
                <a:ext uri="{FF2B5EF4-FFF2-40B4-BE49-F238E27FC236}">
                  <a16:creationId xmlns:a16="http://schemas.microsoft.com/office/drawing/2014/main" id="{46388DB9-A40D-4A40-B5AA-17FD162EC3AE}"/>
                </a:ext>
              </a:extLst>
            </p:cNvPr>
            <p:cNvSpPr/>
            <p:nvPr/>
          </p:nvSpPr>
          <p:spPr bwMode="auto">
            <a:xfrm>
              <a:off x="7633573" y="5826907"/>
              <a:ext cx="2909908" cy="319878"/>
            </a:xfrm>
            <a:prstGeom prst="ellipse">
              <a:avLst/>
            </a:prstGeom>
            <a:solidFill>
              <a:srgbClr val="7E9799"/>
            </a:solidFill>
            <a:ln w="9525">
              <a:noFill/>
              <a:round/>
              <a:headEnd/>
              <a:tailEnd/>
            </a:ln>
          </p:spPr>
          <p:txBody>
            <a:bodyPr anchor="ctr"/>
            <a:lstStyle/>
            <a:p>
              <a:pPr algn="ctr"/>
              <a:endParaRPr/>
            </a:p>
          </p:txBody>
        </p:sp>
        <p:sp>
          <p:nvSpPr>
            <p:cNvPr id="199" name="iṣ1ïďe">
              <a:extLst>
                <a:ext uri="{FF2B5EF4-FFF2-40B4-BE49-F238E27FC236}">
                  <a16:creationId xmlns:a16="http://schemas.microsoft.com/office/drawing/2014/main" id="{4F722BDD-2FB0-46EE-B426-5AE5FE16F501}"/>
                </a:ext>
              </a:extLst>
            </p:cNvPr>
            <p:cNvSpPr/>
            <p:nvPr/>
          </p:nvSpPr>
          <p:spPr bwMode="auto">
            <a:xfrm>
              <a:off x="4802947" y="4874338"/>
              <a:ext cx="3188183" cy="267285"/>
            </a:xfrm>
            <a:custGeom>
              <a:avLst/>
              <a:gdLst/>
              <a:ahLst/>
              <a:cxnLst>
                <a:cxn ang="0">
                  <a:pos x="127" y="67"/>
                </a:cxn>
                <a:cxn ang="0">
                  <a:pos x="5" y="66"/>
                </a:cxn>
                <a:cxn ang="0">
                  <a:pos x="0" y="61"/>
                </a:cxn>
                <a:cxn ang="0">
                  <a:pos x="5" y="56"/>
                </a:cxn>
                <a:cxn ang="0">
                  <a:pos x="841" y="1"/>
                </a:cxn>
                <a:cxn ang="0">
                  <a:pos x="846" y="5"/>
                </a:cxn>
                <a:cxn ang="0">
                  <a:pos x="843" y="10"/>
                </a:cxn>
                <a:cxn ang="0">
                  <a:pos x="127" y="67"/>
                </a:cxn>
              </a:cxnLst>
              <a:rect l="0" t="0" r="r" b="b"/>
              <a:pathLst>
                <a:path w="847" h="71">
                  <a:moveTo>
                    <a:pt x="127" y="67"/>
                  </a:moveTo>
                  <a:cubicBezTo>
                    <a:pt x="53" y="67"/>
                    <a:pt x="6" y="66"/>
                    <a:pt x="5" y="66"/>
                  </a:cubicBezTo>
                  <a:cubicBezTo>
                    <a:pt x="2" y="66"/>
                    <a:pt x="0" y="63"/>
                    <a:pt x="0" y="61"/>
                  </a:cubicBezTo>
                  <a:cubicBezTo>
                    <a:pt x="0" y="58"/>
                    <a:pt x="2" y="55"/>
                    <a:pt x="5" y="56"/>
                  </a:cubicBezTo>
                  <a:cubicBezTo>
                    <a:pt x="10" y="56"/>
                    <a:pt x="498" y="71"/>
                    <a:pt x="841" y="1"/>
                  </a:cubicBezTo>
                  <a:cubicBezTo>
                    <a:pt x="843" y="0"/>
                    <a:pt x="846" y="2"/>
                    <a:pt x="846" y="5"/>
                  </a:cubicBezTo>
                  <a:cubicBezTo>
                    <a:pt x="847" y="7"/>
                    <a:pt x="845" y="10"/>
                    <a:pt x="843" y="10"/>
                  </a:cubicBezTo>
                  <a:cubicBezTo>
                    <a:pt x="604" y="60"/>
                    <a:pt x="295" y="67"/>
                    <a:pt x="127" y="67"/>
                  </a:cubicBezTo>
                  <a:close/>
                </a:path>
              </a:pathLst>
            </a:custGeom>
            <a:solidFill>
              <a:srgbClr val="23221D"/>
            </a:solidFill>
            <a:ln w="9525">
              <a:noFill/>
              <a:round/>
              <a:headEnd/>
              <a:tailEnd/>
            </a:ln>
          </p:spPr>
          <p:txBody>
            <a:bodyPr anchor="ctr"/>
            <a:lstStyle/>
            <a:p>
              <a:pPr algn="ctr"/>
              <a:endParaRPr/>
            </a:p>
          </p:txBody>
        </p:sp>
        <p:sp>
          <p:nvSpPr>
            <p:cNvPr id="200" name="ïṧļîďé">
              <a:extLst>
                <a:ext uri="{FF2B5EF4-FFF2-40B4-BE49-F238E27FC236}">
                  <a16:creationId xmlns:a16="http://schemas.microsoft.com/office/drawing/2014/main" id="{9A33A8D1-1CC4-4331-80ED-C7A9DBFB367B}"/>
                </a:ext>
              </a:extLst>
            </p:cNvPr>
            <p:cNvSpPr/>
            <p:nvPr/>
          </p:nvSpPr>
          <p:spPr bwMode="auto">
            <a:xfrm>
              <a:off x="7882018" y="4994832"/>
              <a:ext cx="1046766" cy="1106817"/>
            </a:xfrm>
            <a:custGeom>
              <a:avLst/>
              <a:gdLst/>
              <a:ahLst/>
              <a:cxnLst>
                <a:cxn ang="0">
                  <a:pos x="212" y="45"/>
                </a:cxn>
                <a:cxn ang="0">
                  <a:pos x="168" y="106"/>
                </a:cxn>
                <a:cxn ang="0">
                  <a:pos x="8" y="135"/>
                </a:cxn>
                <a:cxn ang="0">
                  <a:pos x="55" y="267"/>
                </a:cxn>
                <a:cxn ang="0">
                  <a:pos x="57" y="166"/>
                </a:cxn>
                <a:cxn ang="0">
                  <a:pos x="185" y="144"/>
                </a:cxn>
                <a:cxn ang="0">
                  <a:pos x="238" y="90"/>
                </a:cxn>
                <a:cxn ang="0">
                  <a:pos x="278" y="37"/>
                </a:cxn>
                <a:cxn ang="0">
                  <a:pos x="245" y="0"/>
                </a:cxn>
                <a:cxn ang="0">
                  <a:pos x="212" y="45"/>
                </a:cxn>
              </a:cxnLst>
              <a:rect l="0" t="0" r="r" b="b"/>
              <a:pathLst>
                <a:path w="278" h="294">
                  <a:moveTo>
                    <a:pt x="212" y="45"/>
                  </a:moveTo>
                  <a:cubicBezTo>
                    <a:pt x="168" y="106"/>
                    <a:pt x="168" y="106"/>
                    <a:pt x="168" y="106"/>
                  </a:cubicBezTo>
                  <a:cubicBezTo>
                    <a:pt x="168" y="106"/>
                    <a:pt x="16" y="124"/>
                    <a:pt x="8" y="135"/>
                  </a:cubicBezTo>
                  <a:cubicBezTo>
                    <a:pt x="0" y="146"/>
                    <a:pt x="15" y="294"/>
                    <a:pt x="55" y="267"/>
                  </a:cubicBezTo>
                  <a:cubicBezTo>
                    <a:pt x="100" y="236"/>
                    <a:pt x="57" y="166"/>
                    <a:pt x="57" y="166"/>
                  </a:cubicBezTo>
                  <a:cubicBezTo>
                    <a:pt x="57" y="166"/>
                    <a:pt x="165" y="151"/>
                    <a:pt x="185" y="144"/>
                  </a:cubicBezTo>
                  <a:cubicBezTo>
                    <a:pt x="195" y="141"/>
                    <a:pt x="217" y="115"/>
                    <a:pt x="238" y="90"/>
                  </a:cubicBezTo>
                  <a:cubicBezTo>
                    <a:pt x="259" y="63"/>
                    <a:pt x="278" y="37"/>
                    <a:pt x="278" y="37"/>
                  </a:cubicBezTo>
                  <a:cubicBezTo>
                    <a:pt x="245" y="0"/>
                    <a:pt x="245" y="0"/>
                    <a:pt x="245" y="0"/>
                  </a:cubicBezTo>
                  <a:lnTo>
                    <a:pt x="212" y="45"/>
                  </a:lnTo>
                  <a:close/>
                </a:path>
              </a:pathLst>
            </a:custGeom>
            <a:solidFill>
              <a:srgbClr val="353539"/>
            </a:solidFill>
            <a:ln w="9525">
              <a:noFill/>
              <a:round/>
              <a:headEnd/>
              <a:tailEnd/>
            </a:ln>
          </p:spPr>
          <p:txBody>
            <a:bodyPr anchor="ctr"/>
            <a:lstStyle/>
            <a:p>
              <a:pPr algn="ctr"/>
              <a:endParaRPr/>
            </a:p>
          </p:txBody>
        </p:sp>
        <p:sp>
          <p:nvSpPr>
            <p:cNvPr id="201" name="iṧliḑê">
              <a:extLst>
                <a:ext uri="{FF2B5EF4-FFF2-40B4-BE49-F238E27FC236}">
                  <a16:creationId xmlns:a16="http://schemas.microsoft.com/office/drawing/2014/main" id="{6DF9174B-4C7E-4C6B-956B-C26ED3F1090D}"/>
                </a:ext>
              </a:extLst>
            </p:cNvPr>
            <p:cNvSpPr/>
            <p:nvPr/>
          </p:nvSpPr>
          <p:spPr bwMode="auto">
            <a:xfrm>
              <a:off x="9244737" y="4870806"/>
              <a:ext cx="1374102" cy="700199"/>
            </a:xfrm>
            <a:custGeom>
              <a:avLst/>
              <a:gdLst/>
              <a:ahLst/>
              <a:cxnLst>
                <a:cxn ang="0">
                  <a:pos x="341" y="130"/>
                </a:cxn>
                <a:cxn ang="0">
                  <a:pos x="248" y="131"/>
                </a:cxn>
                <a:cxn ang="0">
                  <a:pos x="185" y="5"/>
                </a:cxn>
                <a:cxn ang="0">
                  <a:pos x="56" y="6"/>
                </a:cxn>
                <a:cxn ang="0">
                  <a:pos x="7" y="9"/>
                </a:cxn>
                <a:cxn ang="0">
                  <a:pos x="5" y="20"/>
                </a:cxn>
                <a:cxn ang="0">
                  <a:pos x="0" y="51"/>
                </a:cxn>
                <a:cxn ang="0">
                  <a:pos x="60" y="49"/>
                </a:cxn>
                <a:cxn ang="0">
                  <a:pos x="162" y="45"/>
                </a:cxn>
                <a:cxn ang="0">
                  <a:pos x="219" y="182"/>
                </a:cxn>
                <a:cxn ang="0">
                  <a:pos x="341" y="130"/>
                </a:cxn>
              </a:cxnLst>
              <a:rect l="0" t="0" r="r" b="b"/>
              <a:pathLst>
                <a:path w="365" h="186">
                  <a:moveTo>
                    <a:pt x="341" y="130"/>
                  </a:moveTo>
                  <a:cubicBezTo>
                    <a:pt x="317" y="95"/>
                    <a:pt x="248" y="131"/>
                    <a:pt x="248" y="131"/>
                  </a:cubicBezTo>
                  <a:cubicBezTo>
                    <a:pt x="248" y="131"/>
                    <a:pt x="196" y="15"/>
                    <a:pt x="185" y="5"/>
                  </a:cubicBezTo>
                  <a:cubicBezTo>
                    <a:pt x="180" y="0"/>
                    <a:pt x="107" y="3"/>
                    <a:pt x="56" y="6"/>
                  </a:cubicBezTo>
                  <a:cubicBezTo>
                    <a:pt x="28" y="8"/>
                    <a:pt x="7" y="9"/>
                    <a:pt x="7" y="9"/>
                  </a:cubicBezTo>
                  <a:cubicBezTo>
                    <a:pt x="5" y="20"/>
                    <a:pt x="5" y="20"/>
                    <a:pt x="5" y="20"/>
                  </a:cubicBezTo>
                  <a:cubicBezTo>
                    <a:pt x="0" y="51"/>
                    <a:pt x="0" y="51"/>
                    <a:pt x="0" y="51"/>
                  </a:cubicBezTo>
                  <a:cubicBezTo>
                    <a:pt x="60" y="49"/>
                    <a:pt x="60" y="49"/>
                    <a:pt x="60" y="49"/>
                  </a:cubicBezTo>
                  <a:cubicBezTo>
                    <a:pt x="162" y="45"/>
                    <a:pt x="162" y="45"/>
                    <a:pt x="162" y="45"/>
                  </a:cubicBezTo>
                  <a:cubicBezTo>
                    <a:pt x="162" y="45"/>
                    <a:pt x="206" y="179"/>
                    <a:pt x="219" y="182"/>
                  </a:cubicBezTo>
                  <a:cubicBezTo>
                    <a:pt x="233" y="186"/>
                    <a:pt x="365" y="165"/>
                    <a:pt x="341" y="130"/>
                  </a:cubicBezTo>
                  <a:close/>
                </a:path>
              </a:pathLst>
            </a:custGeom>
            <a:solidFill>
              <a:srgbClr val="353539"/>
            </a:solidFill>
            <a:ln w="9525">
              <a:noFill/>
              <a:round/>
              <a:headEnd/>
              <a:tailEnd/>
            </a:ln>
          </p:spPr>
          <p:txBody>
            <a:bodyPr anchor="ctr"/>
            <a:lstStyle/>
            <a:p>
              <a:pPr algn="ctr"/>
              <a:endParaRPr/>
            </a:p>
          </p:txBody>
        </p:sp>
        <p:sp>
          <p:nvSpPr>
            <p:cNvPr id="202" name="íṧlíḍé">
              <a:extLst>
                <a:ext uri="{FF2B5EF4-FFF2-40B4-BE49-F238E27FC236}">
                  <a16:creationId xmlns:a16="http://schemas.microsoft.com/office/drawing/2014/main" id="{98C6C177-78AF-4882-A4DE-32B5E734A4E5}"/>
                </a:ext>
              </a:extLst>
            </p:cNvPr>
            <p:cNvSpPr/>
            <p:nvPr/>
          </p:nvSpPr>
          <p:spPr bwMode="auto">
            <a:xfrm>
              <a:off x="9703949" y="3161912"/>
              <a:ext cx="715506" cy="1046374"/>
            </a:xfrm>
            <a:custGeom>
              <a:avLst/>
              <a:gdLst/>
              <a:ahLst/>
              <a:cxnLst>
                <a:cxn ang="0">
                  <a:pos x="190" y="50"/>
                </a:cxn>
                <a:cxn ang="0">
                  <a:pos x="140" y="0"/>
                </a:cxn>
                <a:cxn ang="0">
                  <a:pos x="90" y="50"/>
                </a:cxn>
                <a:cxn ang="0">
                  <a:pos x="110" y="90"/>
                </a:cxn>
                <a:cxn ang="0">
                  <a:pos x="119" y="104"/>
                </a:cxn>
                <a:cxn ang="0">
                  <a:pos x="113" y="214"/>
                </a:cxn>
                <a:cxn ang="0">
                  <a:pos x="0" y="239"/>
                </a:cxn>
                <a:cxn ang="0">
                  <a:pos x="11" y="274"/>
                </a:cxn>
                <a:cxn ang="0">
                  <a:pos x="143" y="255"/>
                </a:cxn>
                <a:cxn ang="0">
                  <a:pos x="170" y="98"/>
                </a:cxn>
                <a:cxn ang="0">
                  <a:pos x="175" y="86"/>
                </a:cxn>
                <a:cxn ang="0">
                  <a:pos x="190" y="50"/>
                </a:cxn>
              </a:cxnLst>
              <a:rect l="0" t="0" r="r" b="b"/>
              <a:pathLst>
                <a:path w="190" h="278">
                  <a:moveTo>
                    <a:pt x="190" y="50"/>
                  </a:moveTo>
                  <a:cubicBezTo>
                    <a:pt x="190" y="22"/>
                    <a:pt x="168" y="0"/>
                    <a:pt x="140" y="0"/>
                  </a:cubicBezTo>
                  <a:cubicBezTo>
                    <a:pt x="112" y="0"/>
                    <a:pt x="90" y="22"/>
                    <a:pt x="90" y="50"/>
                  </a:cubicBezTo>
                  <a:cubicBezTo>
                    <a:pt x="90" y="67"/>
                    <a:pt x="98" y="81"/>
                    <a:pt x="110" y="90"/>
                  </a:cubicBezTo>
                  <a:cubicBezTo>
                    <a:pt x="115" y="98"/>
                    <a:pt x="119" y="104"/>
                    <a:pt x="119" y="104"/>
                  </a:cubicBezTo>
                  <a:cubicBezTo>
                    <a:pt x="117" y="125"/>
                    <a:pt x="123" y="188"/>
                    <a:pt x="113" y="214"/>
                  </a:cubicBezTo>
                  <a:cubicBezTo>
                    <a:pt x="103" y="240"/>
                    <a:pt x="0" y="239"/>
                    <a:pt x="0" y="239"/>
                  </a:cubicBezTo>
                  <a:cubicBezTo>
                    <a:pt x="11" y="274"/>
                    <a:pt x="11" y="274"/>
                    <a:pt x="11" y="274"/>
                  </a:cubicBezTo>
                  <a:cubicBezTo>
                    <a:pt x="11" y="274"/>
                    <a:pt x="108" y="278"/>
                    <a:pt x="143" y="255"/>
                  </a:cubicBezTo>
                  <a:cubicBezTo>
                    <a:pt x="178" y="232"/>
                    <a:pt x="170" y="98"/>
                    <a:pt x="170" y="98"/>
                  </a:cubicBezTo>
                  <a:cubicBezTo>
                    <a:pt x="172" y="95"/>
                    <a:pt x="173" y="91"/>
                    <a:pt x="175" y="86"/>
                  </a:cubicBezTo>
                  <a:cubicBezTo>
                    <a:pt x="184" y="77"/>
                    <a:pt x="190" y="64"/>
                    <a:pt x="190" y="50"/>
                  </a:cubicBezTo>
                  <a:close/>
                </a:path>
              </a:pathLst>
            </a:custGeom>
            <a:solidFill>
              <a:srgbClr val="353539"/>
            </a:solidFill>
            <a:ln w="9525">
              <a:noFill/>
              <a:round/>
              <a:headEnd/>
              <a:tailEnd/>
            </a:ln>
          </p:spPr>
          <p:txBody>
            <a:bodyPr anchor="ctr"/>
            <a:lstStyle/>
            <a:p>
              <a:pPr algn="ctr"/>
              <a:endParaRPr/>
            </a:p>
          </p:txBody>
        </p:sp>
        <p:sp>
          <p:nvSpPr>
            <p:cNvPr id="203" name="iṧlíde">
              <a:extLst>
                <a:ext uri="{FF2B5EF4-FFF2-40B4-BE49-F238E27FC236}">
                  <a16:creationId xmlns:a16="http://schemas.microsoft.com/office/drawing/2014/main" id="{A46B1496-7954-4797-8B16-1A38DCD2A173}"/>
                </a:ext>
              </a:extLst>
            </p:cNvPr>
            <p:cNvSpPr/>
            <p:nvPr/>
          </p:nvSpPr>
          <p:spPr bwMode="auto">
            <a:xfrm>
              <a:off x="7162979" y="4234582"/>
              <a:ext cx="990248" cy="1034992"/>
            </a:xfrm>
            <a:custGeom>
              <a:avLst/>
              <a:gdLst/>
              <a:ahLst/>
              <a:cxnLst>
                <a:cxn ang="0">
                  <a:pos x="4" y="214"/>
                </a:cxn>
                <a:cxn ang="0">
                  <a:pos x="46" y="271"/>
                </a:cxn>
                <a:cxn ang="0">
                  <a:pos x="103" y="229"/>
                </a:cxn>
                <a:cxn ang="0">
                  <a:pos x="89" y="186"/>
                </a:cxn>
                <a:cxn ang="0">
                  <a:pos x="82" y="171"/>
                </a:cxn>
                <a:cxn ang="0">
                  <a:pos x="105" y="63"/>
                </a:cxn>
                <a:cxn ang="0">
                  <a:pos x="263" y="68"/>
                </a:cxn>
                <a:cxn ang="0">
                  <a:pos x="263" y="23"/>
                </a:cxn>
                <a:cxn ang="0">
                  <a:pos x="81" y="18"/>
                </a:cxn>
                <a:cxn ang="0">
                  <a:pos x="31" y="170"/>
                </a:cxn>
                <a:cxn ang="0">
                  <a:pos x="25" y="181"/>
                </a:cxn>
                <a:cxn ang="0">
                  <a:pos x="4" y="214"/>
                </a:cxn>
              </a:cxnLst>
              <a:rect l="0" t="0" r="r" b="b"/>
              <a:pathLst>
                <a:path w="263" h="275">
                  <a:moveTo>
                    <a:pt x="4" y="214"/>
                  </a:moveTo>
                  <a:cubicBezTo>
                    <a:pt x="0" y="241"/>
                    <a:pt x="19" y="267"/>
                    <a:pt x="46" y="271"/>
                  </a:cubicBezTo>
                  <a:cubicBezTo>
                    <a:pt x="74" y="275"/>
                    <a:pt x="99" y="256"/>
                    <a:pt x="103" y="229"/>
                  </a:cubicBezTo>
                  <a:cubicBezTo>
                    <a:pt x="106" y="212"/>
                    <a:pt x="100" y="197"/>
                    <a:pt x="89" y="186"/>
                  </a:cubicBezTo>
                  <a:cubicBezTo>
                    <a:pt x="86" y="177"/>
                    <a:pt x="82" y="171"/>
                    <a:pt x="82" y="171"/>
                  </a:cubicBezTo>
                  <a:cubicBezTo>
                    <a:pt x="87" y="150"/>
                    <a:pt x="87" y="85"/>
                    <a:pt x="105" y="63"/>
                  </a:cubicBezTo>
                  <a:cubicBezTo>
                    <a:pt x="124" y="40"/>
                    <a:pt x="263" y="68"/>
                    <a:pt x="263" y="68"/>
                  </a:cubicBezTo>
                  <a:cubicBezTo>
                    <a:pt x="263" y="23"/>
                    <a:pt x="263" y="23"/>
                    <a:pt x="263" y="23"/>
                  </a:cubicBezTo>
                  <a:cubicBezTo>
                    <a:pt x="263" y="23"/>
                    <a:pt x="119" y="0"/>
                    <a:pt x="81" y="18"/>
                  </a:cubicBezTo>
                  <a:cubicBezTo>
                    <a:pt x="43" y="36"/>
                    <a:pt x="31" y="170"/>
                    <a:pt x="31" y="170"/>
                  </a:cubicBezTo>
                  <a:cubicBezTo>
                    <a:pt x="29" y="173"/>
                    <a:pt x="27" y="176"/>
                    <a:pt x="25" y="181"/>
                  </a:cubicBezTo>
                  <a:cubicBezTo>
                    <a:pt x="14" y="188"/>
                    <a:pt x="6" y="200"/>
                    <a:pt x="4" y="214"/>
                  </a:cubicBezTo>
                  <a:close/>
                </a:path>
              </a:pathLst>
            </a:custGeom>
            <a:solidFill>
              <a:srgbClr val="353539"/>
            </a:solidFill>
            <a:ln w="9525">
              <a:noFill/>
              <a:round/>
              <a:headEnd/>
              <a:tailEnd/>
            </a:ln>
          </p:spPr>
          <p:txBody>
            <a:bodyPr anchor="ctr"/>
            <a:lstStyle/>
            <a:p>
              <a:pPr algn="ctr"/>
              <a:endParaRPr/>
            </a:p>
          </p:txBody>
        </p:sp>
        <p:sp>
          <p:nvSpPr>
            <p:cNvPr id="204" name="î$ḷîḑè">
              <a:extLst>
                <a:ext uri="{FF2B5EF4-FFF2-40B4-BE49-F238E27FC236}">
                  <a16:creationId xmlns:a16="http://schemas.microsoft.com/office/drawing/2014/main" id="{01532ED8-8135-41B7-9170-83588D42B1A5}"/>
                </a:ext>
              </a:extLst>
            </p:cNvPr>
            <p:cNvSpPr/>
            <p:nvPr/>
          </p:nvSpPr>
          <p:spPr bwMode="auto">
            <a:xfrm>
              <a:off x="8081794" y="3955916"/>
              <a:ext cx="1701437" cy="662520"/>
            </a:xfrm>
            <a:custGeom>
              <a:avLst/>
              <a:gdLst/>
              <a:ahLst/>
              <a:cxnLst>
                <a:cxn ang="0">
                  <a:pos x="52" y="172"/>
                </a:cxn>
                <a:cxn ang="0">
                  <a:pos x="66" y="169"/>
                </a:cxn>
                <a:cxn ang="0">
                  <a:pos x="405" y="106"/>
                </a:cxn>
                <a:cxn ang="0">
                  <a:pos x="413" y="104"/>
                </a:cxn>
                <a:cxn ang="0">
                  <a:pos x="425" y="102"/>
                </a:cxn>
                <a:cxn ang="0">
                  <a:pos x="447" y="52"/>
                </a:cxn>
                <a:cxn ang="0">
                  <a:pos x="446" y="42"/>
                </a:cxn>
                <a:cxn ang="0">
                  <a:pos x="406" y="4"/>
                </a:cxn>
                <a:cxn ang="0">
                  <a:pos x="28" y="75"/>
                </a:cxn>
                <a:cxn ang="0">
                  <a:pos x="5" y="124"/>
                </a:cxn>
                <a:cxn ang="0">
                  <a:pos x="7" y="135"/>
                </a:cxn>
                <a:cxn ang="0">
                  <a:pos x="46" y="173"/>
                </a:cxn>
                <a:cxn ang="0">
                  <a:pos x="52" y="172"/>
                </a:cxn>
              </a:cxnLst>
              <a:rect l="0" t="0" r="r" b="b"/>
              <a:pathLst>
                <a:path w="452" h="176">
                  <a:moveTo>
                    <a:pt x="52" y="172"/>
                  </a:moveTo>
                  <a:cubicBezTo>
                    <a:pt x="66" y="169"/>
                    <a:pt x="66" y="169"/>
                    <a:pt x="66" y="169"/>
                  </a:cubicBezTo>
                  <a:cubicBezTo>
                    <a:pt x="405" y="106"/>
                    <a:pt x="405" y="106"/>
                    <a:pt x="405" y="106"/>
                  </a:cubicBezTo>
                  <a:cubicBezTo>
                    <a:pt x="413" y="104"/>
                    <a:pt x="413" y="104"/>
                    <a:pt x="413" y="104"/>
                  </a:cubicBezTo>
                  <a:cubicBezTo>
                    <a:pt x="425" y="102"/>
                    <a:pt x="425" y="102"/>
                    <a:pt x="425" y="102"/>
                  </a:cubicBezTo>
                  <a:cubicBezTo>
                    <a:pt x="442" y="99"/>
                    <a:pt x="452" y="76"/>
                    <a:pt x="447" y="52"/>
                  </a:cubicBezTo>
                  <a:cubicBezTo>
                    <a:pt x="446" y="42"/>
                    <a:pt x="446" y="42"/>
                    <a:pt x="446" y="42"/>
                  </a:cubicBezTo>
                  <a:cubicBezTo>
                    <a:pt x="441" y="17"/>
                    <a:pt x="423" y="0"/>
                    <a:pt x="406" y="4"/>
                  </a:cubicBezTo>
                  <a:cubicBezTo>
                    <a:pt x="28" y="75"/>
                    <a:pt x="28" y="75"/>
                    <a:pt x="28" y="75"/>
                  </a:cubicBezTo>
                  <a:cubicBezTo>
                    <a:pt x="11" y="78"/>
                    <a:pt x="0" y="100"/>
                    <a:pt x="5" y="124"/>
                  </a:cubicBezTo>
                  <a:cubicBezTo>
                    <a:pt x="7" y="135"/>
                    <a:pt x="7" y="135"/>
                    <a:pt x="7" y="135"/>
                  </a:cubicBezTo>
                  <a:cubicBezTo>
                    <a:pt x="12" y="159"/>
                    <a:pt x="29" y="176"/>
                    <a:pt x="46" y="173"/>
                  </a:cubicBezTo>
                  <a:lnTo>
                    <a:pt x="52" y="172"/>
                  </a:lnTo>
                  <a:close/>
                </a:path>
              </a:pathLst>
            </a:custGeom>
            <a:solidFill>
              <a:srgbClr val="353539"/>
            </a:solidFill>
            <a:ln w="9525">
              <a:noFill/>
              <a:round/>
              <a:headEnd/>
              <a:tailEnd/>
            </a:ln>
          </p:spPr>
          <p:txBody>
            <a:bodyPr anchor="ctr"/>
            <a:lstStyle/>
            <a:p>
              <a:pPr algn="ctr"/>
              <a:endParaRPr/>
            </a:p>
          </p:txBody>
        </p:sp>
        <p:sp>
          <p:nvSpPr>
            <p:cNvPr id="205" name="íṩlïdé">
              <a:extLst>
                <a:ext uri="{FF2B5EF4-FFF2-40B4-BE49-F238E27FC236}">
                  <a16:creationId xmlns:a16="http://schemas.microsoft.com/office/drawing/2014/main" id="{5CD5A2C9-8181-461F-B569-1941036505E0}"/>
                </a:ext>
              </a:extLst>
            </p:cNvPr>
            <p:cNvSpPr/>
            <p:nvPr/>
          </p:nvSpPr>
          <p:spPr bwMode="auto">
            <a:xfrm>
              <a:off x="8619896" y="4765226"/>
              <a:ext cx="839533" cy="226073"/>
            </a:xfrm>
            <a:custGeom>
              <a:avLst/>
              <a:gdLst/>
              <a:ahLst/>
              <a:cxnLst>
                <a:cxn ang="0">
                  <a:pos x="222" y="0"/>
                </a:cxn>
                <a:cxn ang="0">
                  <a:pos x="0" y="42"/>
                </a:cxn>
                <a:cxn ang="0">
                  <a:pos x="1" y="47"/>
                </a:cxn>
                <a:cxn ang="0">
                  <a:pos x="5" y="60"/>
                </a:cxn>
                <a:cxn ang="0">
                  <a:pos x="223" y="5"/>
                </a:cxn>
                <a:cxn ang="0">
                  <a:pos x="222" y="0"/>
                </a:cxn>
              </a:cxnLst>
              <a:rect l="0" t="0" r="r" b="b"/>
              <a:pathLst>
                <a:path w="223" h="60">
                  <a:moveTo>
                    <a:pt x="222" y="0"/>
                  </a:moveTo>
                  <a:cubicBezTo>
                    <a:pt x="0" y="42"/>
                    <a:pt x="0" y="42"/>
                    <a:pt x="0" y="42"/>
                  </a:cubicBezTo>
                  <a:cubicBezTo>
                    <a:pt x="0" y="44"/>
                    <a:pt x="1" y="46"/>
                    <a:pt x="1" y="47"/>
                  </a:cubicBezTo>
                  <a:cubicBezTo>
                    <a:pt x="2" y="52"/>
                    <a:pt x="3" y="56"/>
                    <a:pt x="5" y="60"/>
                  </a:cubicBezTo>
                  <a:cubicBezTo>
                    <a:pt x="223" y="5"/>
                    <a:pt x="223" y="5"/>
                    <a:pt x="223" y="5"/>
                  </a:cubicBezTo>
                  <a:cubicBezTo>
                    <a:pt x="223" y="3"/>
                    <a:pt x="222" y="1"/>
                    <a:pt x="222" y="0"/>
                  </a:cubicBezTo>
                  <a:close/>
                </a:path>
              </a:pathLst>
            </a:custGeom>
            <a:solidFill>
              <a:srgbClr val="23221D"/>
            </a:solidFill>
            <a:ln w="9525">
              <a:noFill/>
              <a:round/>
              <a:headEnd/>
              <a:tailEnd/>
            </a:ln>
          </p:spPr>
          <p:txBody>
            <a:bodyPr anchor="ctr"/>
            <a:lstStyle/>
            <a:p>
              <a:pPr algn="ctr"/>
              <a:endParaRPr/>
            </a:p>
          </p:txBody>
        </p:sp>
        <p:sp>
          <p:nvSpPr>
            <p:cNvPr id="206" name="ïṩlidè">
              <a:extLst>
                <a:ext uri="{FF2B5EF4-FFF2-40B4-BE49-F238E27FC236}">
                  <a16:creationId xmlns:a16="http://schemas.microsoft.com/office/drawing/2014/main" id="{8163B370-7D2B-4D22-8D65-4A9C44B12D18}"/>
                </a:ext>
              </a:extLst>
            </p:cNvPr>
            <p:cNvSpPr/>
            <p:nvPr/>
          </p:nvSpPr>
          <p:spPr bwMode="auto">
            <a:xfrm>
              <a:off x="8638735" y="4784066"/>
              <a:ext cx="850915" cy="515730"/>
            </a:xfrm>
            <a:custGeom>
              <a:avLst/>
              <a:gdLst/>
              <a:ahLst/>
              <a:cxnLst>
                <a:cxn ang="0">
                  <a:pos x="218" y="0"/>
                </a:cxn>
                <a:cxn ang="0">
                  <a:pos x="0" y="55"/>
                </a:cxn>
                <a:cxn ang="0">
                  <a:pos x="127" y="127"/>
                </a:cxn>
                <a:cxn ang="0">
                  <a:pos x="218" y="1"/>
                </a:cxn>
                <a:cxn ang="0">
                  <a:pos x="218" y="0"/>
                </a:cxn>
              </a:cxnLst>
              <a:rect l="0" t="0" r="r" b="b"/>
              <a:pathLst>
                <a:path w="226" h="137">
                  <a:moveTo>
                    <a:pt x="218" y="0"/>
                  </a:moveTo>
                  <a:cubicBezTo>
                    <a:pt x="0" y="55"/>
                    <a:pt x="0" y="55"/>
                    <a:pt x="0" y="55"/>
                  </a:cubicBezTo>
                  <a:cubicBezTo>
                    <a:pt x="19" y="106"/>
                    <a:pt x="72" y="137"/>
                    <a:pt x="127" y="127"/>
                  </a:cubicBezTo>
                  <a:cubicBezTo>
                    <a:pt x="186" y="116"/>
                    <a:pt x="226" y="60"/>
                    <a:pt x="218" y="1"/>
                  </a:cubicBezTo>
                  <a:cubicBezTo>
                    <a:pt x="218" y="0"/>
                    <a:pt x="218" y="0"/>
                    <a:pt x="218" y="0"/>
                  </a:cubicBezTo>
                  <a:close/>
                </a:path>
              </a:pathLst>
            </a:custGeom>
            <a:solidFill>
              <a:srgbClr val="353539"/>
            </a:solidFill>
            <a:ln w="9525">
              <a:noFill/>
              <a:round/>
              <a:headEnd/>
              <a:tailEnd/>
            </a:ln>
          </p:spPr>
          <p:txBody>
            <a:bodyPr anchor="ctr"/>
            <a:lstStyle/>
            <a:p>
              <a:pPr algn="ctr"/>
              <a:endParaRPr/>
            </a:p>
          </p:txBody>
        </p:sp>
        <p:sp>
          <p:nvSpPr>
            <p:cNvPr id="207" name="îṧľïdé">
              <a:extLst>
                <a:ext uri="{FF2B5EF4-FFF2-40B4-BE49-F238E27FC236}">
                  <a16:creationId xmlns:a16="http://schemas.microsoft.com/office/drawing/2014/main" id="{606BFF47-33D5-4DF6-B2BD-059CD4F22D9C}"/>
                </a:ext>
              </a:extLst>
            </p:cNvPr>
            <p:cNvSpPr/>
            <p:nvPr/>
          </p:nvSpPr>
          <p:spPr bwMode="auto">
            <a:xfrm>
              <a:off x="7889475" y="4362533"/>
              <a:ext cx="1878449" cy="677435"/>
            </a:xfrm>
            <a:custGeom>
              <a:avLst/>
              <a:gdLst/>
              <a:ahLst/>
              <a:cxnLst>
                <a:cxn ang="0">
                  <a:pos x="494" y="47"/>
                </a:cxn>
                <a:cxn ang="0">
                  <a:pos x="492" y="36"/>
                </a:cxn>
                <a:cxn ang="0">
                  <a:pos x="470" y="0"/>
                </a:cxn>
                <a:cxn ang="0">
                  <a:pos x="96" y="92"/>
                </a:cxn>
                <a:cxn ang="0">
                  <a:pos x="97" y="110"/>
                </a:cxn>
                <a:cxn ang="0">
                  <a:pos x="87" y="112"/>
                </a:cxn>
                <a:cxn ang="0">
                  <a:pos x="40" y="83"/>
                </a:cxn>
                <a:cxn ang="0">
                  <a:pos x="4" y="136"/>
                </a:cxn>
                <a:cxn ang="0">
                  <a:pos x="54" y="176"/>
                </a:cxn>
                <a:cxn ang="0">
                  <a:pos x="90" y="134"/>
                </a:cxn>
                <a:cxn ang="0">
                  <a:pos x="103" y="132"/>
                </a:cxn>
                <a:cxn ang="0">
                  <a:pos x="135" y="160"/>
                </a:cxn>
                <a:cxn ang="0">
                  <a:pos x="176" y="152"/>
                </a:cxn>
                <a:cxn ang="0">
                  <a:pos x="194" y="149"/>
                </a:cxn>
                <a:cxn ang="0">
                  <a:pos x="416" y="107"/>
                </a:cxn>
                <a:cxn ang="0">
                  <a:pos x="424" y="105"/>
                </a:cxn>
                <a:cxn ang="0">
                  <a:pos x="474" y="96"/>
                </a:cxn>
                <a:cxn ang="0">
                  <a:pos x="494" y="47"/>
                </a:cxn>
                <a:cxn ang="0">
                  <a:pos x="51" y="157"/>
                </a:cxn>
                <a:cxn ang="0">
                  <a:pos x="22" y="134"/>
                </a:cxn>
                <a:cxn ang="0">
                  <a:pos x="43" y="103"/>
                </a:cxn>
                <a:cxn ang="0">
                  <a:pos x="72" y="126"/>
                </a:cxn>
                <a:cxn ang="0">
                  <a:pos x="51" y="157"/>
                </a:cxn>
              </a:cxnLst>
              <a:rect l="0" t="0" r="r" b="b"/>
              <a:pathLst>
                <a:path w="499" h="180">
                  <a:moveTo>
                    <a:pt x="494" y="47"/>
                  </a:moveTo>
                  <a:cubicBezTo>
                    <a:pt x="492" y="36"/>
                    <a:pt x="492" y="36"/>
                    <a:pt x="492" y="36"/>
                  </a:cubicBezTo>
                  <a:cubicBezTo>
                    <a:pt x="489" y="20"/>
                    <a:pt x="480" y="6"/>
                    <a:pt x="470" y="0"/>
                  </a:cubicBezTo>
                  <a:cubicBezTo>
                    <a:pt x="96" y="92"/>
                    <a:pt x="96" y="92"/>
                    <a:pt x="96" y="92"/>
                  </a:cubicBezTo>
                  <a:cubicBezTo>
                    <a:pt x="96" y="97"/>
                    <a:pt x="96" y="104"/>
                    <a:pt x="97" y="110"/>
                  </a:cubicBezTo>
                  <a:cubicBezTo>
                    <a:pt x="87" y="112"/>
                    <a:pt x="87" y="112"/>
                    <a:pt x="87" y="112"/>
                  </a:cubicBezTo>
                  <a:cubicBezTo>
                    <a:pt x="79" y="92"/>
                    <a:pt x="60" y="80"/>
                    <a:pt x="40" y="83"/>
                  </a:cubicBezTo>
                  <a:cubicBezTo>
                    <a:pt x="16" y="87"/>
                    <a:pt x="0" y="111"/>
                    <a:pt x="4" y="136"/>
                  </a:cubicBezTo>
                  <a:cubicBezTo>
                    <a:pt x="8" y="162"/>
                    <a:pt x="31" y="180"/>
                    <a:pt x="54" y="176"/>
                  </a:cubicBezTo>
                  <a:cubicBezTo>
                    <a:pt x="74" y="173"/>
                    <a:pt x="89" y="155"/>
                    <a:pt x="90" y="134"/>
                  </a:cubicBezTo>
                  <a:cubicBezTo>
                    <a:pt x="103" y="132"/>
                    <a:pt x="103" y="132"/>
                    <a:pt x="103" y="132"/>
                  </a:cubicBezTo>
                  <a:cubicBezTo>
                    <a:pt x="109" y="150"/>
                    <a:pt x="123" y="162"/>
                    <a:pt x="135" y="160"/>
                  </a:cubicBezTo>
                  <a:cubicBezTo>
                    <a:pt x="176" y="152"/>
                    <a:pt x="176" y="152"/>
                    <a:pt x="176" y="152"/>
                  </a:cubicBezTo>
                  <a:cubicBezTo>
                    <a:pt x="194" y="149"/>
                    <a:pt x="194" y="149"/>
                    <a:pt x="194" y="149"/>
                  </a:cubicBezTo>
                  <a:cubicBezTo>
                    <a:pt x="416" y="107"/>
                    <a:pt x="416" y="107"/>
                    <a:pt x="416" y="107"/>
                  </a:cubicBezTo>
                  <a:cubicBezTo>
                    <a:pt x="424" y="105"/>
                    <a:pt x="424" y="105"/>
                    <a:pt x="424" y="105"/>
                  </a:cubicBezTo>
                  <a:cubicBezTo>
                    <a:pt x="474" y="96"/>
                    <a:pt x="474" y="96"/>
                    <a:pt x="474" y="96"/>
                  </a:cubicBezTo>
                  <a:cubicBezTo>
                    <a:pt x="490" y="93"/>
                    <a:pt x="499" y="71"/>
                    <a:pt x="494" y="47"/>
                  </a:cubicBezTo>
                  <a:close/>
                  <a:moveTo>
                    <a:pt x="51" y="157"/>
                  </a:moveTo>
                  <a:cubicBezTo>
                    <a:pt x="38" y="159"/>
                    <a:pt x="25" y="148"/>
                    <a:pt x="22" y="134"/>
                  </a:cubicBezTo>
                  <a:cubicBezTo>
                    <a:pt x="20" y="119"/>
                    <a:pt x="29" y="105"/>
                    <a:pt x="43" y="103"/>
                  </a:cubicBezTo>
                  <a:cubicBezTo>
                    <a:pt x="57" y="101"/>
                    <a:pt x="70" y="111"/>
                    <a:pt x="72" y="126"/>
                  </a:cubicBezTo>
                  <a:cubicBezTo>
                    <a:pt x="74" y="141"/>
                    <a:pt x="65" y="154"/>
                    <a:pt x="51" y="157"/>
                  </a:cubicBezTo>
                  <a:close/>
                </a:path>
              </a:pathLst>
            </a:custGeom>
            <a:solidFill>
              <a:srgbClr val="353539"/>
            </a:solidFill>
            <a:ln w="9525">
              <a:noFill/>
              <a:round/>
              <a:headEnd/>
              <a:tailEnd/>
            </a:ln>
          </p:spPr>
          <p:txBody>
            <a:bodyPr anchor="ctr"/>
            <a:lstStyle/>
            <a:p>
              <a:pPr algn="ctr"/>
              <a:endParaRPr/>
            </a:p>
          </p:txBody>
        </p:sp>
        <p:sp>
          <p:nvSpPr>
            <p:cNvPr id="208" name="îṣlíḓe">
              <a:extLst>
                <a:ext uri="{FF2B5EF4-FFF2-40B4-BE49-F238E27FC236}">
                  <a16:creationId xmlns:a16="http://schemas.microsoft.com/office/drawing/2014/main" id="{8677D76A-628E-48A6-B47C-01DE8F8B87D1}"/>
                </a:ext>
              </a:extLst>
            </p:cNvPr>
            <p:cNvSpPr/>
            <p:nvPr/>
          </p:nvSpPr>
          <p:spPr bwMode="auto">
            <a:xfrm>
              <a:off x="8250957" y="4351151"/>
              <a:ext cx="1407856" cy="357557"/>
            </a:xfrm>
            <a:custGeom>
              <a:avLst/>
              <a:gdLst/>
              <a:ahLst/>
              <a:cxnLst>
                <a:cxn ang="0">
                  <a:pos x="371" y="2"/>
                </a:cxn>
                <a:cxn ang="0">
                  <a:pos x="360" y="1"/>
                </a:cxn>
                <a:cxn ang="0">
                  <a:pos x="21" y="64"/>
                </a:cxn>
                <a:cxn ang="0">
                  <a:pos x="11" y="70"/>
                </a:cxn>
                <a:cxn ang="0">
                  <a:pos x="0" y="95"/>
                </a:cxn>
                <a:cxn ang="0">
                  <a:pos x="374" y="3"/>
                </a:cxn>
                <a:cxn ang="0">
                  <a:pos x="371" y="2"/>
                </a:cxn>
              </a:cxnLst>
              <a:rect l="0" t="0" r="r" b="b"/>
              <a:pathLst>
                <a:path w="374" h="95">
                  <a:moveTo>
                    <a:pt x="371" y="2"/>
                  </a:moveTo>
                  <a:cubicBezTo>
                    <a:pt x="368" y="0"/>
                    <a:pt x="364" y="0"/>
                    <a:pt x="360" y="1"/>
                  </a:cubicBezTo>
                  <a:cubicBezTo>
                    <a:pt x="21" y="64"/>
                    <a:pt x="21" y="64"/>
                    <a:pt x="21" y="64"/>
                  </a:cubicBezTo>
                  <a:cubicBezTo>
                    <a:pt x="17" y="65"/>
                    <a:pt x="14" y="67"/>
                    <a:pt x="11" y="70"/>
                  </a:cubicBezTo>
                  <a:cubicBezTo>
                    <a:pt x="5" y="75"/>
                    <a:pt x="2" y="84"/>
                    <a:pt x="0" y="95"/>
                  </a:cubicBezTo>
                  <a:cubicBezTo>
                    <a:pt x="374" y="3"/>
                    <a:pt x="374" y="3"/>
                    <a:pt x="374" y="3"/>
                  </a:cubicBezTo>
                  <a:cubicBezTo>
                    <a:pt x="373" y="3"/>
                    <a:pt x="372" y="2"/>
                    <a:pt x="371" y="2"/>
                  </a:cubicBezTo>
                  <a:close/>
                </a:path>
              </a:pathLst>
            </a:custGeom>
            <a:solidFill>
              <a:srgbClr val="23221D"/>
            </a:solidFill>
            <a:ln w="9525">
              <a:noFill/>
              <a:round/>
              <a:headEnd/>
              <a:tailEnd/>
            </a:ln>
          </p:spPr>
          <p:txBody>
            <a:bodyPr anchor="ctr"/>
            <a:lstStyle/>
            <a:p>
              <a:pPr algn="ctr"/>
              <a:endParaRPr/>
            </a:p>
          </p:txBody>
        </p:sp>
        <p:sp>
          <p:nvSpPr>
            <p:cNvPr id="209" name="ïṡļíďê">
              <a:extLst>
                <a:ext uri="{FF2B5EF4-FFF2-40B4-BE49-F238E27FC236}">
                  <a16:creationId xmlns:a16="http://schemas.microsoft.com/office/drawing/2014/main" id="{A971DB2D-E693-494A-95B1-EF999A1808DD}"/>
                </a:ext>
              </a:extLst>
            </p:cNvPr>
            <p:cNvSpPr/>
            <p:nvPr/>
          </p:nvSpPr>
          <p:spPr bwMode="auto">
            <a:xfrm>
              <a:off x="8224660" y="3952383"/>
              <a:ext cx="1328965" cy="274742"/>
            </a:xfrm>
            <a:custGeom>
              <a:avLst/>
              <a:gdLst/>
              <a:ahLst/>
              <a:cxnLst>
                <a:cxn ang="0">
                  <a:pos x="29" y="604"/>
                </a:cxn>
                <a:cxn ang="0">
                  <a:pos x="48" y="700"/>
                </a:cxn>
                <a:cxn ang="0">
                  <a:pos x="3386" y="67"/>
                </a:cxn>
                <a:cxn ang="0">
                  <a:pos x="3376" y="0"/>
                </a:cxn>
                <a:cxn ang="0">
                  <a:pos x="0" y="431"/>
                </a:cxn>
                <a:cxn ang="0">
                  <a:pos x="29" y="604"/>
                </a:cxn>
              </a:cxnLst>
              <a:rect l="0" t="0" r="r" b="b"/>
              <a:pathLst>
                <a:path w="3386" h="700">
                  <a:moveTo>
                    <a:pt x="29" y="604"/>
                  </a:moveTo>
                  <a:lnTo>
                    <a:pt x="48" y="700"/>
                  </a:lnTo>
                  <a:lnTo>
                    <a:pt x="3386" y="67"/>
                  </a:lnTo>
                  <a:lnTo>
                    <a:pt x="3376" y="0"/>
                  </a:lnTo>
                  <a:lnTo>
                    <a:pt x="0" y="431"/>
                  </a:lnTo>
                  <a:lnTo>
                    <a:pt x="29" y="604"/>
                  </a:lnTo>
                  <a:close/>
                </a:path>
              </a:pathLst>
            </a:custGeom>
            <a:solidFill>
              <a:srgbClr val="D8B33A"/>
            </a:solidFill>
            <a:ln w="9525">
              <a:noFill/>
              <a:round/>
              <a:headEnd/>
              <a:tailEnd/>
            </a:ln>
          </p:spPr>
          <p:txBody>
            <a:bodyPr anchor="ctr"/>
            <a:lstStyle/>
            <a:p>
              <a:pPr algn="ctr"/>
              <a:endParaRPr/>
            </a:p>
          </p:txBody>
        </p:sp>
        <p:sp>
          <p:nvSpPr>
            <p:cNvPr id="210" name="ïŝ1ïďe">
              <a:extLst>
                <a:ext uri="{FF2B5EF4-FFF2-40B4-BE49-F238E27FC236}">
                  <a16:creationId xmlns:a16="http://schemas.microsoft.com/office/drawing/2014/main" id="{2AD9BFB0-DC4A-4847-B503-A57A7A641F3D}"/>
                </a:ext>
              </a:extLst>
            </p:cNvPr>
            <p:cNvSpPr/>
            <p:nvPr/>
          </p:nvSpPr>
          <p:spPr bwMode="auto">
            <a:xfrm>
              <a:off x="7403967" y="1595883"/>
              <a:ext cx="2476994" cy="2525662"/>
            </a:xfrm>
            <a:custGeom>
              <a:avLst/>
              <a:gdLst/>
              <a:ahLst/>
              <a:cxnLst>
                <a:cxn ang="0">
                  <a:pos x="556" y="552"/>
                </a:cxn>
                <a:cxn ang="0">
                  <a:pos x="639" y="278"/>
                </a:cxn>
                <a:cxn ang="0">
                  <a:pos x="278" y="31"/>
                </a:cxn>
                <a:cxn ang="0">
                  <a:pos x="31" y="392"/>
                </a:cxn>
                <a:cxn ang="0">
                  <a:pos x="208" y="617"/>
                </a:cxn>
                <a:cxn ang="0">
                  <a:pos x="218" y="671"/>
                </a:cxn>
                <a:cxn ang="0">
                  <a:pos x="570" y="626"/>
                </a:cxn>
                <a:cxn ang="0">
                  <a:pos x="569" y="623"/>
                </a:cxn>
                <a:cxn ang="0">
                  <a:pos x="556" y="552"/>
                </a:cxn>
              </a:cxnLst>
              <a:rect l="0" t="0" r="r" b="b"/>
              <a:pathLst>
                <a:path w="658" h="671">
                  <a:moveTo>
                    <a:pt x="556" y="552"/>
                  </a:moveTo>
                  <a:cubicBezTo>
                    <a:pt x="624" y="482"/>
                    <a:pt x="658" y="381"/>
                    <a:pt x="639" y="278"/>
                  </a:cubicBezTo>
                  <a:cubicBezTo>
                    <a:pt x="608" y="111"/>
                    <a:pt x="446" y="0"/>
                    <a:pt x="278" y="31"/>
                  </a:cubicBezTo>
                  <a:cubicBezTo>
                    <a:pt x="110" y="63"/>
                    <a:pt x="0" y="224"/>
                    <a:pt x="31" y="392"/>
                  </a:cubicBezTo>
                  <a:cubicBezTo>
                    <a:pt x="50" y="495"/>
                    <a:pt x="119" y="577"/>
                    <a:pt x="208" y="617"/>
                  </a:cubicBezTo>
                  <a:cubicBezTo>
                    <a:pt x="218" y="671"/>
                    <a:pt x="218" y="671"/>
                    <a:pt x="218" y="671"/>
                  </a:cubicBezTo>
                  <a:cubicBezTo>
                    <a:pt x="570" y="626"/>
                    <a:pt x="570" y="626"/>
                    <a:pt x="570" y="626"/>
                  </a:cubicBezTo>
                  <a:cubicBezTo>
                    <a:pt x="569" y="623"/>
                    <a:pt x="569" y="623"/>
                    <a:pt x="569" y="623"/>
                  </a:cubicBezTo>
                  <a:lnTo>
                    <a:pt x="556" y="552"/>
                  </a:lnTo>
                  <a:close/>
                </a:path>
              </a:pathLst>
            </a:custGeom>
            <a:solidFill>
              <a:srgbClr val="FEE361"/>
            </a:solidFill>
            <a:ln w="9525">
              <a:noFill/>
              <a:round/>
              <a:headEnd/>
              <a:tailEnd/>
            </a:ln>
          </p:spPr>
          <p:txBody>
            <a:bodyPr anchor="ctr"/>
            <a:lstStyle/>
            <a:p>
              <a:pPr algn="ctr"/>
              <a:endParaRPr/>
            </a:p>
          </p:txBody>
        </p:sp>
        <p:sp>
          <p:nvSpPr>
            <p:cNvPr id="211" name="îṣḷîḑê">
              <a:extLst>
                <a:ext uri="{FF2B5EF4-FFF2-40B4-BE49-F238E27FC236}">
                  <a16:creationId xmlns:a16="http://schemas.microsoft.com/office/drawing/2014/main" id="{E9989BC9-0C79-48F9-9D9E-F6896FA7A16F}"/>
                </a:ext>
              </a:extLst>
            </p:cNvPr>
            <p:cNvSpPr/>
            <p:nvPr/>
          </p:nvSpPr>
          <p:spPr bwMode="auto">
            <a:xfrm>
              <a:off x="8830662" y="1818032"/>
              <a:ext cx="207234" cy="177012"/>
            </a:xfrm>
            <a:custGeom>
              <a:avLst/>
              <a:gdLst/>
              <a:ahLst/>
              <a:cxnLst>
                <a:cxn ang="0">
                  <a:pos x="2" y="29"/>
                </a:cxn>
                <a:cxn ang="0">
                  <a:pos x="31" y="45"/>
                </a:cxn>
                <a:cxn ang="0">
                  <a:pos x="53" y="19"/>
                </a:cxn>
                <a:cxn ang="0">
                  <a:pos x="23" y="3"/>
                </a:cxn>
                <a:cxn ang="0">
                  <a:pos x="2" y="29"/>
                </a:cxn>
              </a:cxnLst>
              <a:rect l="0" t="0" r="r" b="b"/>
              <a:pathLst>
                <a:path w="55" h="47">
                  <a:moveTo>
                    <a:pt x="2" y="29"/>
                  </a:moveTo>
                  <a:cubicBezTo>
                    <a:pt x="4" y="40"/>
                    <a:pt x="17" y="47"/>
                    <a:pt x="31" y="45"/>
                  </a:cubicBezTo>
                  <a:cubicBezTo>
                    <a:pt x="45" y="42"/>
                    <a:pt x="55" y="31"/>
                    <a:pt x="53" y="19"/>
                  </a:cubicBezTo>
                  <a:cubicBezTo>
                    <a:pt x="50" y="8"/>
                    <a:pt x="37" y="0"/>
                    <a:pt x="23" y="3"/>
                  </a:cubicBezTo>
                  <a:cubicBezTo>
                    <a:pt x="9" y="6"/>
                    <a:pt x="0" y="17"/>
                    <a:pt x="2" y="29"/>
                  </a:cubicBezTo>
                  <a:close/>
                </a:path>
              </a:pathLst>
            </a:custGeom>
            <a:solidFill>
              <a:srgbClr val="FFF7D4"/>
            </a:solidFill>
            <a:ln w="9525">
              <a:noFill/>
              <a:round/>
              <a:headEnd/>
              <a:tailEnd/>
            </a:ln>
          </p:spPr>
          <p:txBody>
            <a:bodyPr anchor="ctr"/>
            <a:lstStyle/>
            <a:p>
              <a:pPr algn="ctr"/>
              <a:endParaRPr/>
            </a:p>
          </p:txBody>
        </p:sp>
        <p:sp>
          <p:nvSpPr>
            <p:cNvPr id="212" name="îsḷïḓè">
              <a:extLst>
                <a:ext uri="{FF2B5EF4-FFF2-40B4-BE49-F238E27FC236}">
                  <a16:creationId xmlns:a16="http://schemas.microsoft.com/office/drawing/2014/main" id="{C2B96CEB-CB6B-4AED-B0E5-E6982DA10E86}"/>
                </a:ext>
              </a:extLst>
            </p:cNvPr>
            <p:cNvSpPr/>
            <p:nvPr/>
          </p:nvSpPr>
          <p:spPr bwMode="auto">
            <a:xfrm>
              <a:off x="9112861" y="1912229"/>
              <a:ext cx="606395" cy="899583"/>
            </a:xfrm>
            <a:custGeom>
              <a:avLst/>
              <a:gdLst/>
              <a:ahLst/>
              <a:cxnLst>
                <a:cxn ang="0">
                  <a:pos x="36" y="19"/>
                </a:cxn>
                <a:cxn ang="0">
                  <a:pos x="157" y="210"/>
                </a:cxn>
                <a:cxn ang="0">
                  <a:pos x="133" y="204"/>
                </a:cxn>
                <a:cxn ang="0">
                  <a:pos x="19" y="32"/>
                </a:cxn>
                <a:cxn ang="0">
                  <a:pos x="36" y="19"/>
                </a:cxn>
              </a:cxnLst>
              <a:rect l="0" t="0" r="r" b="b"/>
              <a:pathLst>
                <a:path w="161" h="239">
                  <a:moveTo>
                    <a:pt x="36" y="19"/>
                  </a:moveTo>
                  <a:cubicBezTo>
                    <a:pt x="36" y="19"/>
                    <a:pt x="132" y="84"/>
                    <a:pt x="157" y="210"/>
                  </a:cubicBezTo>
                  <a:cubicBezTo>
                    <a:pt x="161" y="233"/>
                    <a:pt x="144" y="239"/>
                    <a:pt x="133" y="204"/>
                  </a:cubicBezTo>
                  <a:cubicBezTo>
                    <a:pt x="102" y="108"/>
                    <a:pt x="71" y="78"/>
                    <a:pt x="19" y="32"/>
                  </a:cubicBezTo>
                  <a:cubicBezTo>
                    <a:pt x="0" y="14"/>
                    <a:pt x="18" y="0"/>
                    <a:pt x="36" y="19"/>
                  </a:cubicBezTo>
                  <a:close/>
                </a:path>
              </a:pathLst>
            </a:custGeom>
            <a:solidFill>
              <a:srgbClr val="FFF7D4"/>
            </a:solidFill>
            <a:ln w="9525">
              <a:noFill/>
              <a:round/>
              <a:headEnd/>
              <a:tailEnd/>
            </a:ln>
          </p:spPr>
          <p:txBody>
            <a:bodyPr anchor="ctr"/>
            <a:lstStyle/>
            <a:p>
              <a:pPr algn="ctr"/>
              <a:endParaRPr/>
            </a:p>
          </p:txBody>
        </p:sp>
        <p:sp>
          <p:nvSpPr>
            <p:cNvPr id="213" name="ïṧ1iḓê">
              <a:extLst>
                <a:ext uri="{FF2B5EF4-FFF2-40B4-BE49-F238E27FC236}">
                  <a16:creationId xmlns:a16="http://schemas.microsoft.com/office/drawing/2014/main" id="{615DBC05-18EE-4405-ACAC-BE01D6F51714}"/>
                </a:ext>
              </a:extLst>
            </p:cNvPr>
            <p:cNvSpPr/>
            <p:nvPr/>
          </p:nvSpPr>
          <p:spPr bwMode="auto">
            <a:xfrm>
              <a:off x="8292561" y="2653639"/>
              <a:ext cx="978473" cy="1509510"/>
            </a:xfrm>
            <a:custGeom>
              <a:avLst/>
              <a:gdLst/>
              <a:ahLst/>
              <a:cxnLst>
                <a:cxn ang="0">
                  <a:pos x="777" y="3846"/>
                </a:cxn>
                <a:cxn ang="0">
                  <a:pos x="0" y="364"/>
                </a:cxn>
                <a:cxn ang="0">
                  <a:pos x="623" y="892"/>
                </a:cxn>
                <a:cxn ang="0">
                  <a:pos x="844" y="0"/>
                </a:cxn>
                <a:cxn ang="0">
                  <a:pos x="1333" y="690"/>
                </a:cxn>
                <a:cxn ang="0">
                  <a:pos x="1707" y="19"/>
                </a:cxn>
                <a:cxn ang="0">
                  <a:pos x="2493" y="3520"/>
                </a:cxn>
                <a:cxn ang="0">
                  <a:pos x="2359" y="3548"/>
                </a:cxn>
                <a:cxn ang="0">
                  <a:pos x="1649" y="412"/>
                </a:cxn>
                <a:cxn ang="0">
                  <a:pos x="1342" y="959"/>
                </a:cxn>
                <a:cxn ang="0">
                  <a:pos x="911" y="345"/>
                </a:cxn>
                <a:cxn ang="0">
                  <a:pos x="709" y="1151"/>
                </a:cxn>
                <a:cxn ang="0">
                  <a:pos x="239" y="748"/>
                </a:cxn>
                <a:cxn ang="0">
                  <a:pos x="911" y="3817"/>
                </a:cxn>
                <a:cxn ang="0">
                  <a:pos x="777" y="3846"/>
                </a:cxn>
              </a:cxnLst>
              <a:rect l="0" t="0" r="r" b="b"/>
              <a:pathLst>
                <a:path w="2493" h="3846">
                  <a:moveTo>
                    <a:pt x="777" y="3846"/>
                  </a:moveTo>
                  <a:lnTo>
                    <a:pt x="0" y="364"/>
                  </a:lnTo>
                  <a:lnTo>
                    <a:pt x="623" y="892"/>
                  </a:lnTo>
                  <a:lnTo>
                    <a:pt x="844" y="0"/>
                  </a:lnTo>
                  <a:lnTo>
                    <a:pt x="1333" y="690"/>
                  </a:lnTo>
                  <a:lnTo>
                    <a:pt x="1707" y="19"/>
                  </a:lnTo>
                  <a:lnTo>
                    <a:pt x="2493" y="3520"/>
                  </a:lnTo>
                  <a:lnTo>
                    <a:pt x="2359" y="3548"/>
                  </a:lnTo>
                  <a:lnTo>
                    <a:pt x="1649" y="412"/>
                  </a:lnTo>
                  <a:lnTo>
                    <a:pt x="1342" y="959"/>
                  </a:lnTo>
                  <a:lnTo>
                    <a:pt x="911" y="345"/>
                  </a:lnTo>
                  <a:lnTo>
                    <a:pt x="709" y="1151"/>
                  </a:lnTo>
                  <a:lnTo>
                    <a:pt x="239" y="748"/>
                  </a:lnTo>
                  <a:lnTo>
                    <a:pt x="911" y="3817"/>
                  </a:lnTo>
                  <a:lnTo>
                    <a:pt x="777" y="3846"/>
                  </a:lnTo>
                  <a:close/>
                </a:path>
              </a:pathLst>
            </a:custGeom>
            <a:solidFill>
              <a:srgbClr val="353539"/>
            </a:solidFill>
            <a:ln w="9525">
              <a:noFill/>
              <a:round/>
              <a:headEnd/>
              <a:tailEnd/>
            </a:ln>
          </p:spPr>
          <p:txBody>
            <a:bodyPr anchor="ctr"/>
            <a:lstStyle/>
            <a:p>
              <a:pPr algn="ctr"/>
              <a:endParaRPr/>
            </a:p>
          </p:txBody>
        </p:sp>
      </p:grpSp>
    </p:spTree>
    <p:custDataLst>
      <p:tags r:id="rId1"/>
    </p:custDataLst>
    <p:extLst>
      <p:ext uri="{BB962C8B-B14F-4D97-AF65-F5344CB8AC3E}">
        <p14:creationId xmlns:p14="http://schemas.microsoft.com/office/powerpoint/2010/main" val="238017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106687" y="3203039"/>
            <a:ext cx="3546362" cy="895350"/>
          </a:xfrm>
        </p:spPr>
        <p:txBody>
          <a:bodyPr>
            <a:normAutofit/>
          </a:bodyPr>
          <a:lstStyle/>
          <a:p>
            <a:r>
              <a:rPr lang="zh-CN" altLang="en-US" sz="3600" dirty="0"/>
              <a:t>高阶函数</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639609" y="320928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5</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40296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rm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sz="2800" b="0" dirty="0">
                    <a:latin typeface="+mn-lt"/>
                    <a:ea typeface="+mn-ea"/>
                    <a:sym typeface="+mn-lt"/>
                  </a:rPr>
                  <a:t>lambda</a:t>
                </a:r>
                <a:r>
                  <a:rPr lang="zh-CN" altLang="en-US" sz="2800" b="0" dirty="0">
                    <a:latin typeface="+mn-lt"/>
                    <a:ea typeface="+mn-ea"/>
                    <a:sym typeface="+mn-lt"/>
                  </a:rPr>
                  <a:t>表达式</a:t>
                </a:r>
                <a:endParaRPr lang="en-US" altLang="zh-CN" sz="2800" b="0" dirty="0">
                  <a:latin typeface="+mn-lt"/>
                  <a:ea typeface="+mn-ea"/>
                  <a:sym typeface="+mn-lt"/>
                </a:endParaRPr>
              </a:p>
              <a:p>
                <a:pPr marL="342900" indent="-342900">
                  <a:lnSpc>
                    <a:spcPct val="150000"/>
                  </a:lnSpc>
                  <a:buFont typeface="+mj-lt"/>
                  <a:buAutoNum type="arabicPeriod"/>
                </a:pPr>
                <a:r>
                  <a:rPr lang="zh-CN" altLang="en-US" sz="2800" b="0" dirty="0">
                    <a:latin typeface="+mn-lt"/>
                    <a:ea typeface="+mn-ea"/>
                    <a:sym typeface="+mn-lt"/>
                  </a:rPr>
                  <a:t>方法引用</a:t>
                </a:r>
                <a:endParaRPr lang="en-US" altLang="zh-CN" sz="2800" b="0" dirty="0">
                  <a:latin typeface="+mn-lt"/>
                  <a:ea typeface="+mn-ea"/>
                  <a:sym typeface="+mn-lt"/>
                </a:endParaRPr>
              </a:p>
              <a:p>
                <a:pPr marL="342900" indent="-342900">
                  <a:lnSpc>
                    <a:spcPct val="150000"/>
                  </a:lnSpc>
                  <a:buFont typeface="+mj-lt"/>
                  <a:buAutoNum type="arabicPeriod"/>
                </a:pPr>
                <a:r>
                  <a:rPr lang="zh-CN" altLang="en-US" sz="2800" b="0" dirty="0">
                    <a:latin typeface="+mn-lt"/>
                    <a:ea typeface="+mn-ea"/>
                    <a:sym typeface="+mn-lt"/>
                  </a:rPr>
                  <a:t>函数类型</a:t>
                </a:r>
                <a:endParaRPr lang="en-US" altLang="zh-CN" sz="2800" b="0" dirty="0">
                  <a:latin typeface="+mn-lt"/>
                  <a:ea typeface="+mn-ea"/>
                  <a:sym typeface="+mn-lt"/>
                </a:endParaRPr>
              </a:p>
              <a:p>
                <a:pPr marL="342900" indent="-342900">
                  <a:lnSpc>
                    <a:spcPct val="150000"/>
                  </a:lnSpc>
                  <a:buFont typeface="+mj-lt"/>
                  <a:buAutoNum type="arabicPeriod"/>
                </a:pPr>
                <a:r>
                  <a:rPr lang="zh-CN" altLang="en-US" sz="2800" b="0" dirty="0">
                    <a:latin typeface="+mn-lt"/>
                    <a:ea typeface="+mn-ea"/>
                    <a:sym typeface="+mn-lt"/>
                  </a:rPr>
                  <a:t>闭包</a:t>
                </a:r>
                <a:endParaRPr lang="en-US" altLang="zh-CN" sz="2800" b="0" dirty="0">
                  <a:latin typeface="+mn-lt"/>
                  <a:ea typeface="+mn-ea"/>
                  <a:sym typeface="+mn-lt"/>
                </a:endParaRPr>
              </a:p>
              <a:p>
                <a:pPr marL="342900" indent="-342900">
                  <a:lnSpc>
                    <a:spcPct val="150000"/>
                  </a:lnSpc>
                  <a:buFont typeface="+mj-lt"/>
                  <a:buAutoNum type="arabicPeriod"/>
                </a:pPr>
                <a:r>
                  <a:rPr lang="zh-CN" altLang="en-US" sz="2800" b="0" dirty="0">
                    <a:latin typeface="+mn-lt"/>
                    <a:ea typeface="+mn-ea"/>
                    <a:sym typeface="+mn-lt"/>
                  </a:rPr>
                  <a:t>高阶函数</a:t>
                </a:r>
                <a:endParaRPr lang="en-US" altLang="zh-CN" sz="2800" b="0" dirty="0">
                  <a:latin typeface="+mn-lt"/>
                  <a:ea typeface="+mn-ea"/>
                  <a:sym typeface="+mn-lt"/>
                </a:endParaRPr>
              </a:p>
              <a:p>
                <a:pPr marL="342900" indent="-342900">
                  <a:lnSpc>
                    <a:spcPct val="150000"/>
                  </a:lnSpc>
                  <a:buFont typeface="+mj-lt"/>
                  <a:buAutoNum type="arabicPeriod"/>
                </a:pPr>
                <a:r>
                  <a:rPr lang="zh-CN" altLang="en-US" sz="2800" b="0" dirty="0">
                    <a:latin typeface="+mn-lt"/>
                    <a:ea typeface="+mn-ea"/>
                    <a:sym typeface="+mn-lt"/>
                  </a:rPr>
                  <a:t>流</a:t>
                </a:r>
                <a:endParaRPr lang="en-US" altLang="zh-CN" sz="2800" b="0" dirty="0">
                  <a:latin typeface="+mn-lt"/>
                  <a:ea typeface="+mn-ea"/>
                  <a:sym typeface="+mn-lt"/>
                </a:endParaRP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zh-CN" altLang="en-US" sz="2800" b="1" dirty="0">
                    <a:solidFill>
                      <a:schemeClr val="accent1"/>
                    </a:solidFill>
                    <a:cs typeface="+mn-ea"/>
                    <a:sym typeface="+mn-lt"/>
                  </a:rPr>
                  <a:t>目录</a:t>
                </a:r>
                <a:endParaRPr lang="tr-TR" sz="2800" b="1" dirty="0">
                  <a:solidFill>
                    <a:schemeClr val="accent1"/>
                  </a:solidFill>
                  <a:cs typeface="+mn-ea"/>
                  <a:sym typeface="+mn-lt"/>
                </a:endParaRP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dirty="0">
                <a:cs typeface="+mn-ea"/>
                <a:sym typeface="+mn-lt"/>
              </a:endParaRPr>
            </a:p>
          </p:txBody>
        </p:sp>
      </p:grpSp>
    </p:spTree>
    <p:custDataLst>
      <p:tags r:id="rId1"/>
    </p:custDataLst>
    <p:extLst>
      <p:ext uri="{BB962C8B-B14F-4D97-AF65-F5344CB8AC3E}">
        <p14:creationId xmlns:p14="http://schemas.microsoft.com/office/powerpoint/2010/main" val="23676383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5.</a:t>
            </a:r>
            <a:r>
              <a:rPr lang="zh-CN" altLang="en-US" dirty="0"/>
              <a:t> </a:t>
            </a:r>
            <a:r>
              <a:rPr lang="zh-CN" altLang="en-US" dirty="0">
                <a:latin typeface="+mn-lt"/>
                <a:ea typeface="+mn-ea"/>
                <a:cs typeface="+mn-ea"/>
                <a:sym typeface="+mn-lt"/>
              </a:rPr>
              <a:t>高阶函数</a:t>
            </a:r>
            <a:r>
              <a:rPr lang="en-US" altLang="zh-CN" dirty="0">
                <a:latin typeface="+mn-lt"/>
                <a:ea typeface="+mn-ea"/>
                <a:cs typeface="+mn-ea"/>
                <a:sym typeface="+mn-lt"/>
              </a:rPr>
              <a:t> </a:t>
            </a:r>
            <a:r>
              <a:rPr lang="en-US" altLang="zh-CN" baseline="30000" dirty="0">
                <a:latin typeface="+mn-lt"/>
                <a:ea typeface="+mn-ea"/>
                <a:cs typeface="+mn-ea"/>
                <a:sym typeface="+mn-lt"/>
              </a:rPr>
              <a:t>[1]</a:t>
            </a:r>
            <a:endParaRPr lang="zh-CN" altLang="en-US" dirty="0"/>
          </a:p>
        </p:txBody>
      </p:sp>
      <p:sp>
        <p:nvSpPr>
          <p:cNvPr id="3" name="页脚占位符 2"/>
          <p:cNvSpPr>
            <a:spLocks noGrp="1"/>
          </p:cNvSpPr>
          <p:nvPr>
            <p:ph type="ftr" sz="quarter" idx="11"/>
          </p:nvPr>
        </p:nvSpPr>
        <p:spPr/>
        <p:txBody>
          <a:bodyPr/>
          <a:lstStyle/>
          <a:p>
            <a:r>
              <a:rPr lang="zh-CN" altLang="en-US"/>
              <a:t>请在插入菜单</a:t>
            </a:r>
            <a:r>
              <a:rPr lang="en-US" altLang="zh-CN"/>
              <a:t>—</a:t>
            </a:r>
            <a:r>
              <a:rPr lang="zh-CN" altLang="en-US"/>
              <a:t>页眉和</a:t>
            </a:r>
            <a:r>
              <a:rPr lang="zh-CN" altLang="en-US" sz="100"/>
              <a:t> </a:t>
            </a:r>
            <a:r>
              <a:rPr lang="zh-CN" altLang="en-US"/>
              <a:t>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0</a:t>
            </a:fld>
            <a:endParaRPr lang="zh-CN" altLang="en-US"/>
          </a:p>
        </p:txBody>
      </p:sp>
      <p:sp>
        <p:nvSpPr>
          <p:cNvPr id="106" name="文本框 105">
            <a:extLst>
              <a:ext uri="{FF2B5EF4-FFF2-40B4-BE49-F238E27FC236}">
                <a16:creationId xmlns:a16="http://schemas.microsoft.com/office/drawing/2014/main" id="{46B2379C-AF83-42D2-8D61-CE87B4DB0530}"/>
              </a:ext>
            </a:extLst>
          </p:cNvPr>
          <p:cNvSpPr txBox="1"/>
          <p:nvPr/>
        </p:nvSpPr>
        <p:spPr>
          <a:xfrm>
            <a:off x="6729068" y="1820824"/>
            <a:ext cx="3318899" cy="873957"/>
          </a:xfrm>
          <a:prstGeom prst="rect">
            <a:avLst/>
          </a:prstGeom>
          <a:noFill/>
        </p:spPr>
        <p:txBody>
          <a:bodyPr wrap="square" rtlCol="0">
            <a:spAutoFit/>
          </a:bodyPr>
          <a:lstStyle/>
          <a:p>
            <a:pPr>
              <a:lnSpc>
                <a:spcPct val="150000"/>
              </a:lnSpc>
            </a:pPr>
            <a:r>
              <a:rPr lang="zh-CN" altLang="en-US" b="1" dirty="0"/>
              <a:t>解释：</a:t>
            </a:r>
            <a:r>
              <a:rPr lang="zh-CN" altLang="en-US" dirty="0">
                <a:cs typeface="+mn-ea"/>
                <a:sym typeface="+mn-lt"/>
              </a:rPr>
              <a:t>高阶函数是一个产生或消费函数的函数</a:t>
            </a:r>
            <a:endParaRPr lang="en-US" altLang="zh-CN" dirty="0">
              <a:cs typeface="+mn-ea"/>
              <a:sym typeface="+mn-lt"/>
            </a:endParaRPr>
          </a:p>
        </p:txBody>
      </p:sp>
      <p:pic>
        <p:nvPicPr>
          <p:cNvPr id="184" name="图形 183" descr="指向右边的反手食指">
            <a:extLst>
              <a:ext uri="{FF2B5EF4-FFF2-40B4-BE49-F238E27FC236}">
                <a16:creationId xmlns:a16="http://schemas.microsoft.com/office/drawing/2014/main" id="{6DB1F4DF-F546-4BEA-9450-BE07A5B9922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14668" y="1780381"/>
            <a:ext cx="914400" cy="914400"/>
          </a:xfrm>
          <a:prstGeom prst="rect">
            <a:avLst/>
          </a:prstGeom>
        </p:spPr>
      </p:pic>
      <p:grpSp>
        <p:nvGrpSpPr>
          <p:cNvPr id="60" name="15009ccf-4d77-4add-ae32-62f30a3dff9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20998D98-ED9B-4E84-B70F-B8690DEAC538}"/>
              </a:ext>
            </a:extLst>
          </p:cNvPr>
          <p:cNvGrpSpPr>
            <a:grpSpLocks noChangeAspect="1"/>
          </p:cNvGrpSpPr>
          <p:nvPr>
            <p:custDataLst>
              <p:tags r:id="rId2"/>
            </p:custDataLst>
          </p:nvPr>
        </p:nvGrpSpPr>
        <p:grpSpPr>
          <a:xfrm>
            <a:off x="2285857" y="1585912"/>
            <a:ext cx="3678906" cy="4097339"/>
            <a:chOff x="4256547" y="1380331"/>
            <a:chExt cx="3678906" cy="4097339"/>
          </a:xfrm>
        </p:grpSpPr>
        <p:sp>
          <p:nvSpPr>
            <p:cNvPr id="61" name="işḷidé">
              <a:extLst>
                <a:ext uri="{FF2B5EF4-FFF2-40B4-BE49-F238E27FC236}">
                  <a16:creationId xmlns:a16="http://schemas.microsoft.com/office/drawing/2014/main" id="{19CB148E-C992-4776-AAEE-05E9053E9940}"/>
                </a:ext>
              </a:extLst>
            </p:cNvPr>
            <p:cNvSpPr/>
            <p:nvPr/>
          </p:nvSpPr>
          <p:spPr bwMode="auto">
            <a:xfrm>
              <a:off x="5544838" y="2904085"/>
              <a:ext cx="154476" cy="164973"/>
            </a:xfrm>
            <a:custGeom>
              <a:avLst/>
              <a:gdLst>
                <a:gd name="T0" fmla="*/ 32 w 32"/>
                <a:gd name="T1" fmla="*/ 23 h 34"/>
                <a:gd name="T2" fmla="*/ 13 w 32"/>
                <a:gd name="T3" fmla="*/ 4 h 34"/>
                <a:gd name="T4" fmla="*/ 2 w 32"/>
                <a:gd name="T5" fmla="*/ 9 h 34"/>
                <a:gd name="T6" fmla="*/ 28 w 32"/>
                <a:gd name="T7" fmla="*/ 34 h 34"/>
                <a:gd name="T8" fmla="*/ 32 w 32"/>
                <a:gd name="T9" fmla="*/ 23 h 34"/>
              </a:gdLst>
              <a:ahLst/>
              <a:cxnLst>
                <a:cxn ang="0">
                  <a:pos x="T0" y="T1"/>
                </a:cxn>
                <a:cxn ang="0">
                  <a:pos x="T2" y="T3"/>
                </a:cxn>
                <a:cxn ang="0">
                  <a:pos x="T4" y="T5"/>
                </a:cxn>
                <a:cxn ang="0">
                  <a:pos x="T6" y="T7"/>
                </a:cxn>
                <a:cxn ang="0">
                  <a:pos x="T8" y="T9"/>
                </a:cxn>
              </a:cxnLst>
              <a:rect l="0" t="0" r="r" b="b"/>
              <a:pathLst>
                <a:path w="32" h="34">
                  <a:moveTo>
                    <a:pt x="32" y="23"/>
                  </a:moveTo>
                  <a:cubicBezTo>
                    <a:pt x="32" y="23"/>
                    <a:pt x="20" y="7"/>
                    <a:pt x="13" y="4"/>
                  </a:cubicBezTo>
                  <a:cubicBezTo>
                    <a:pt x="6" y="1"/>
                    <a:pt x="0" y="0"/>
                    <a:pt x="2" y="9"/>
                  </a:cubicBezTo>
                  <a:cubicBezTo>
                    <a:pt x="4" y="19"/>
                    <a:pt x="28" y="34"/>
                    <a:pt x="28" y="34"/>
                  </a:cubicBezTo>
                  <a:lnTo>
                    <a:pt x="32" y="23"/>
                  </a:lnTo>
                  <a:close/>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ṩļídè">
              <a:extLst>
                <a:ext uri="{FF2B5EF4-FFF2-40B4-BE49-F238E27FC236}">
                  <a16:creationId xmlns:a16="http://schemas.microsoft.com/office/drawing/2014/main" id="{E699A39D-2BD6-40BD-A678-F11A7F4C5F73}"/>
                </a:ext>
              </a:extLst>
            </p:cNvPr>
            <p:cNvSpPr/>
            <p:nvPr/>
          </p:nvSpPr>
          <p:spPr bwMode="auto">
            <a:xfrm>
              <a:off x="6188235" y="2830597"/>
              <a:ext cx="158974" cy="184471"/>
            </a:xfrm>
            <a:custGeom>
              <a:avLst/>
              <a:gdLst>
                <a:gd name="T0" fmla="*/ 33 w 33"/>
                <a:gd name="T1" fmla="*/ 0 h 38"/>
                <a:gd name="T2" fmla="*/ 27 w 33"/>
                <a:gd name="T3" fmla="*/ 38 h 38"/>
                <a:gd name="T4" fmla="*/ 0 w 33"/>
                <a:gd name="T5" fmla="*/ 35 h 38"/>
                <a:gd name="T6" fmla="*/ 9 w 33"/>
                <a:gd name="T7" fmla="*/ 6 h 38"/>
                <a:gd name="T8" fmla="*/ 33 w 33"/>
                <a:gd name="T9" fmla="*/ 0 h 38"/>
              </a:gdLst>
              <a:ahLst/>
              <a:cxnLst>
                <a:cxn ang="0">
                  <a:pos x="T0" y="T1"/>
                </a:cxn>
                <a:cxn ang="0">
                  <a:pos x="T2" y="T3"/>
                </a:cxn>
                <a:cxn ang="0">
                  <a:pos x="T4" y="T5"/>
                </a:cxn>
                <a:cxn ang="0">
                  <a:pos x="T6" y="T7"/>
                </a:cxn>
                <a:cxn ang="0">
                  <a:pos x="T8" y="T9"/>
                </a:cxn>
              </a:cxnLst>
              <a:rect l="0" t="0" r="r" b="b"/>
              <a:pathLst>
                <a:path w="33" h="38">
                  <a:moveTo>
                    <a:pt x="33" y="0"/>
                  </a:moveTo>
                  <a:cubicBezTo>
                    <a:pt x="33" y="0"/>
                    <a:pt x="20" y="21"/>
                    <a:pt x="27" y="38"/>
                  </a:cubicBezTo>
                  <a:cubicBezTo>
                    <a:pt x="0" y="35"/>
                    <a:pt x="0" y="35"/>
                    <a:pt x="0" y="35"/>
                  </a:cubicBezTo>
                  <a:cubicBezTo>
                    <a:pt x="0" y="35"/>
                    <a:pt x="11" y="11"/>
                    <a:pt x="9" y="6"/>
                  </a:cubicBezTo>
                  <a:cubicBezTo>
                    <a:pt x="7" y="1"/>
                    <a:pt x="33" y="0"/>
                    <a:pt x="33" y="0"/>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íṣḻíḋè">
              <a:extLst>
                <a:ext uri="{FF2B5EF4-FFF2-40B4-BE49-F238E27FC236}">
                  <a16:creationId xmlns:a16="http://schemas.microsoft.com/office/drawing/2014/main" id="{C82CC253-00E8-4CDE-BED1-7F0B9D2F8723}"/>
                </a:ext>
              </a:extLst>
            </p:cNvPr>
            <p:cNvSpPr/>
            <p:nvPr/>
          </p:nvSpPr>
          <p:spPr bwMode="auto">
            <a:xfrm>
              <a:off x="6212231" y="2899586"/>
              <a:ext cx="106483" cy="71988"/>
            </a:xfrm>
            <a:custGeom>
              <a:avLst/>
              <a:gdLst>
                <a:gd name="T0" fmla="*/ 1 w 22"/>
                <a:gd name="T1" fmla="*/ 8 h 15"/>
                <a:gd name="T2" fmla="*/ 0 w 22"/>
                <a:gd name="T3" fmla="*/ 11 h 15"/>
                <a:gd name="T4" fmla="*/ 0 w 22"/>
                <a:gd name="T5" fmla="*/ 11 h 15"/>
                <a:gd name="T6" fmla="*/ 1 w 22"/>
                <a:gd name="T7" fmla="*/ 8 h 15"/>
                <a:gd name="T8" fmla="*/ 1 w 22"/>
                <a:gd name="T9" fmla="*/ 8 h 15"/>
                <a:gd name="T10" fmla="*/ 22 w 22"/>
                <a:gd name="T11" fmla="*/ 0 h 15"/>
                <a:gd name="T12" fmla="*/ 22 w 22"/>
                <a:gd name="T13" fmla="*/ 0 h 15"/>
                <a:gd name="T14" fmla="*/ 20 w 22"/>
                <a:gd name="T15" fmla="*/ 15 h 15"/>
                <a:gd name="T16" fmla="*/ 20 w 22"/>
                <a:gd name="T17" fmla="*/ 15 h 15"/>
                <a:gd name="T18" fmla="*/ 22 w 2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5">
                  <a:moveTo>
                    <a:pt x="1" y="8"/>
                  </a:moveTo>
                  <a:cubicBezTo>
                    <a:pt x="0" y="9"/>
                    <a:pt x="0" y="10"/>
                    <a:pt x="0" y="11"/>
                  </a:cubicBezTo>
                  <a:cubicBezTo>
                    <a:pt x="0" y="11"/>
                    <a:pt x="0" y="11"/>
                    <a:pt x="0" y="11"/>
                  </a:cubicBezTo>
                  <a:cubicBezTo>
                    <a:pt x="0" y="10"/>
                    <a:pt x="0" y="9"/>
                    <a:pt x="1" y="8"/>
                  </a:cubicBezTo>
                  <a:cubicBezTo>
                    <a:pt x="1" y="8"/>
                    <a:pt x="1" y="8"/>
                    <a:pt x="1" y="8"/>
                  </a:cubicBezTo>
                  <a:moveTo>
                    <a:pt x="22" y="0"/>
                  </a:moveTo>
                  <a:cubicBezTo>
                    <a:pt x="22" y="0"/>
                    <a:pt x="22" y="0"/>
                    <a:pt x="22" y="0"/>
                  </a:cubicBezTo>
                  <a:cubicBezTo>
                    <a:pt x="21" y="5"/>
                    <a:pt x="20" y="10"/>
                    <a:pt x="20" y="15"/>
                  </a:cubicBezTo>
                  <a:cubicBezTo>
                    <a:pt x="20" y="15"/>
                    <a:pt x="20" y="15"/>
                    <a:pt x="20" y="15"/>
                  </a:cubicBezTo>
                  <a:cubicBezTo>
                    <a:pt x="20" y="10"/>
                    <a:pt x="21" y="5"/>
                    <a:pt x="22" y="0"/>
                  </a:cubicBezTo>
                </a:path>
              </a:pathLst>
            </a:custGeom>
            <a:solidFill>
              <a:srgbClr val="82D5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ḻíḓé">
              <a:extLst>
                <a:ext uri="{FF2B5EF4-FFF2-40B4-BE49-F238E27FC236}">
                  <a16:creationId xmlns:a16="http://schemas.microsoft.com/office/drawing/2014/main" id="{320ADAF0-E6A8-4768-8578-6B0B4485AE59}"/>
                </a:ext>
              </a:extLst>
            </p:cNvPr>
            <p:cNvSpPr/>
            <p:nvPr/>
          </p:nvSpPr>
          <p:spPr bwMode="auto">
            <a:xfrm>
              <a:off x="6212231" y="2899586"/>
              <a:ext cx="106483" cy="71988"/>
            </a:xfrm>
            <a:custGeom>
              <a:avLst/>
              <a:gdLst>
                <a:gd name="T0" fmla="*/ 22 w 22"/>
                <a:gd name="T1" fmla="*/ 0 h 15"/>
                <a:gd name="T2" fmla="*/ 4 w 22"/>
                <a:gd name="T3" fmla="*/ 8 h 15"/>
                <a:gd name="T4" fmla="*/ 1 w 22"/>
                <a:gd name="T5" fmla="*/ 8 h 15"/>
                <a:gd name="T6" fmla="*/ 1 w 22"/>
                <a:gd name="T7" fmla="*/ 8 h 15"/>
                <a:gd name="T8" fmla="*/ 1 w 22"/>
                <a:gd name="T9" fmla="*/ 8 h 15"/>
                <a:gd name="T10" fmla="*/ 1 w 22"/>
                <a:gd name="T11" fmla="*/ 8 h 15"/>
                <a:gd name="T12" fmla="*/ 0 w 22"/>
                <a:gd name="T13" fmla="*/ 11 h 15"/>
                <a:gd name="T14" fmla="*/ 1 w 22"/>
                <a:gd name="T15" fmla="*/ 11 h 15"/>
                <a:gd name="T16" fmla="*/ 20 w 22"/>
                <a:gd name="T17" fmla="*/ 15 h 15"/>
                <a:gd name="T18" fmla="*/ 22 w 22"/>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5">
                  <a:moveTo>
                    <a:pt x="22" y="0"/>
                  </a:moveTo>
                  <a:cubicBezTo>
                    <a:pt x="17" y="5"/>
                    <a:pt x="10" y="7"/>
                    <a:pt x="4" y="8"/>
                  </a:cubicBezTo>
                  <a:cubicBezTo>
                    <a:pt x="3" y="8"/>
                    <a:pt x="2" y="8"/>
                    <a:pt x="1" y="8"/>
                  </a:cubicBezTo>
                  <a:cubicBezTo>
                    <a:pt x="1" y="8"/>
                    <a:pt x="1" y="8"/>
                    <a:pt x="1" y="8"/>
                  </a:cubicBezTo>
                  <a:cubicBezTo>
                    <a:pt x="1" y="8"/>
                    <a:pt x="1" y="8"/>
                    <a:pt x="1" y="8"/>
                  </a:cubicBezTo>
                  <a:cubicBezTo>
                    <a:pt x="1" y="8"/>
                    <a:pt x="1" y="8"/>
                    <a:pt x="1" y="8"/>
                  </a:cubicBezTo>
                  <a:cubicBezTo>
                    <a:pt x="0" y="9"/>
                    <a:pt x="0" y="10"/>
                    <a:pt x="0" y="11"/>
                  </a:cubicBezTo>
                  <a:cubicBezTo>
                    <a:pt x="0" y="11"/>
                    <a:pt x="0" y="11"/>
                    <a:pt x="1" y="11"/>
                  </a:cubicBezTo>
                  <a:cubicBezTo>
                    <a:pt x="5" y="11"/>
                    <a:pt x="14" y="11"/>
                    <a:pt x="20" y="15"/>
                  </a:cubicBezTo>
                  <a:cubicBezTo>
                    <a:pt x="20" y="10"/>
                    <a:pt x="21" y="5"/>
                    <a:pt x="22" y="0"/>
                  </a:cubicBezTo>
                </a:path>
              </a:pathLst>
            </a:custGeom>
            <a:solidFill>
              <a:srgbClr val="F890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íşļíḑe">
              <a:extLst>
                <a:ext uri="{FF2B5EF4-FFF2-40B4-BE49-F238E27FC236}">
                  <a16:creationId xmlns:a16="http://schemas.microsoft.com/office/drawing/2014/main" id="{23CCF910-FAFB-464D-BDCF-D9D0FA72CA4A}"/>
                </a:ext>
              </a:extLst>
            </p:cNvPr>
            <p:cNvSpPr/>
            <p:nvPr/>
          </p:nvSpPr>
          <p:spPr bwMode="auto">
            <a:xfrm>
              <a:off x="6090750" y="2613132"/>
              <a:ext cx="319449" cy="343445"/>
            </a:xfrm>
            <a:custGeom>
              <a:avLst/>
              <a:gdLst>
                <a:gd name="T0" fmla="*/ 54 w 66"/>
                <a:gd name="T1" fmla="*/ 52 h 71"/>
                <a:gd name="T2" fmla="*/ 12 w 66"/>
                <a:gd name="T3" fmla="*/ 62 h 71"/>
                <a:gd name="T4" fmla="*/ 11 w 66"/>
                <a:gd name="T5" fmla="*/ 19 h 71"/>
                <a:gd name="T6" fmla="*/ 54 w 66"/>
                <a:gd name="T7" fmla="*/ 9 h 71"/>
                <a:gd name="T8" fmla="*/ 54 w 66"/>
                <a:gd name="T9" fmla="*/ 52 h 71"/>
              </a:gdLst>
              <a:ahLst/>
              <a:cxnLst>
                <a:cxn ang="0">
                  <a:pos x="T0" y="T1"/>
                </a:cxn>
                <a:cxn ang="0">
                  <a:pos x="T2" y="T3"/>
                </a:cxn>
                <a:cxn ang="0">
                  <a:pos x="T4" y="T5"/>
                </a:cxn>
                <a:cxn ang="0">
                  <a:pos x="T6" y="T7"/>
                </a:cxn>
                <a:cxn ang="0">
                  <a:pos x="T8" y="T9"/>
                </a:cxn>
              </a:cxnLst>
              <a:rect l="0" t="0" r="r" b="b"/>
              <a:pathLst>
                <a:path w="66" h="71">
                  <a:moveTo>
                    <a:pt x="54" y="52"/>
                  </a:moveTo>
                  <a:cubicBezTo>
                    <a:pt x="42" y="67"/>
                    <a:pt x="23" y="71"/>
                    <a:pt x="12" y="62"/>
                  </a:cubicBezTo>
                  <a:cubicBezTo>
                    <a:pt x="0" y="53"/>
                    <a:pt x="0" y="33"/>
                    <a:pt x="11" y="19"/>
                  </a:cubicBezTo>
                  <a:cubicBezTo>
                    <a:pt x="23" y="4"/>
                    <a:pt x="42" y="0"/>
                    <a:pt x="54" y="9"/>
                  </a:cubicBezTo>
                  <a:cubicBezTo>
                    <a:pt x="65" y="18"/>
                    <a:pt x="66" y="38"/>
                    <a:pt x="54" y="52"/>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šḻiďê">
              <a:extLst>
                <a:ext uri="{FF2B5EF4-FFF2-40B4-BE49-F238E27FC236}">
                  <a16:creationId xmlns:a16="http://schemas.microsoft.com/office/drawing/2014/main" id="{81EA3FAA-B5E4-4BE6-B79A-1DB0D46BE9B8}"/>
                </a:ext>
              </a:extLst>
            </p:cNvPr>
            <p:cNvSpPr/>
            <p:nvPr/>
          </p:nvSpPr>
          <p:spPr bwMode="auto">
            <a:xfrm>
              <a:off x="6318713" y="2865091"/>
              <a:ext cx="38994" cy="34495"/>
            </a:xfrm>
            <a:custGeom>
              <a:avLst/>
              <a:gdLst>
                <a:gd name="T0" fmla="*/ 7 w 8"/>
                <a:gd name="T1" fmla="*/ 1 h 7"/>
                <a:gd name="T2" fmla="*/ 0 w 8"/>
                <a:gd name="T3" fmla="*/ 7 h 7"/>
                <a:gd name="T4" fmla="*/ 0 w 8"/>
                <a:gd name="T5" fmla="*/ 7 h 7"/>
                <a:gd name="T6" fmla="*/ 7 w 8"/>
                <a:gd name="T7" fmla="*/ 1 h 7"/>
                <a:gd name="T8" fmla="*/ 7 w 8"/>
                <a:gd name="T9" fmla="*/ 0 h 7"/>
                <a:gd name="T10" fmla="*/ 7 w 8"/>
                <a:gd name="T11" fmla="*/ 0 h 7"/>
                <a:gd name="T12" fmla="*/ 7 w 8"/>
                <a:gd name="T13" fmla="*/ 0 h 7"/>
                <a:gd name="T14" fmla="*/ 7 w 8"/>
                <a:gd name="T15" fmla="*/ 0 h 7"/>
                <a:gd name="T16" fmla="*/ 7 w 8"/>
                <a:gd name="T17" fmla="*/ 0 h 7"/>
                <a:gd name="T18" fmla="*/ 7 w 8"/>
                <a:gd name="T19" fmla="*/ 0 h 7"/>
                <a:gd name="T20" fmla="*/ 7 w 8"/>
                <a:gd name="T21" fmla="*/ 0 h 7"/>
                <a:gd name="T22" fmla="*/ 7 w 8"/>
                <a:gd name="T23" fmla="*/ 0 h 7"/>
                <a:gd name="T24" fmla="*/ 7 w 8"/>
                <a:gd name="T25" fmla="*/ 0 h 7"/>
                <a:gd name="T26" fmla="*/ 7 w 8"/>
                <a:gd name="T27" fmla="*/ 0 h 7"/>
                <a:gd name="T28" fmla="*/ 7 w 8"/>
                <a:gd name="T29" fmla="*/ 0 h 7"/>
                <a:gd name="T30" fmla="*/ 7 w 8"/>
                <a:gd name="T31" fmla="*/ 0 h 7"/>
                <a:gd name="T32" fmla="*/ 7 w 8"/>
                <a:gd name="T33" fmla="*/ 0 h 7"/>
                <a:gd name="T34" fmla="*/ 7 w 8"/>
                <a:gd name="T35" fmla="*/ 0 h 7"/>
                <a:gd name="T36" fmla="*/ 7 w 8"/>
                <a:gd name="T37" fmla="*/ 0 h 7"/>
                <a:gd name="T38" fmla="*/ 7 w 8"/>
                <a:gd name="T39" fmla="*/ 0 h 7"/>
                <a:gd name="T40" fmla="*/ 7 w 8"/>
                <a:gd name="T41" fmla="*/ 0 h 7"/>
                <a:gd name="T42" fmla="*/ 7 w 8"/>
                <a:gd name="T43" fmla="*/ 0 h 7"/>
                <a:gd name="T44" fmla="*/ 7 w 8"/>
                <a:gd name="T45" fmla="*/ 0 h 7"/>
                <a:gd name="T46" fmla="*/ 7 w 8"/>
                <a:gd name="T47" fmla="*/ 0 h 7"/>
                <a:gd name="T48" fmla="*/ 7 w 8"/>
                <a:gd name="T49" fmla="*/ 0 h 7"/>
                <a:gd name="T50" fmla="*/ 7 w 8"/>
                <a:gd name="T51" fmla="*/ 0 h 7"/>
                <a:gd name="T52" fmla="*/ 7 w 8"/>
                <a:gd name="T53" fmla="*/ 0 h 7"/>
                <a:gd name="T54" fmla="*/ 7 w 8"/>
                <a:gd name="T55" fmla="*/ 0 h 7"/>
                <a:gd name="T56" fmla="*/ 7 w 8"/>
                <a:gd name="T57" fmla="*/ 0 h 7"/>
                <a:gd name="T58" fmla="*/ 7 w 8"/>
                <a:gd name="T59" fmla="*/ 0 h 7"/>
                <a:gd name="T60" fmla="*/ 7 w 8"/>
                <a:gd name="T61" fmla="*/ 0 h 7"/>
                <a:gd name="T62" fmla="*/ 8 w 8"/>
                <a:gd name="T63" fmla="*/ 0 h 7"/>
                <a:gd name="T64" fmla="*/ 8 w 8"/>
                <a:gd name="T65" fmla="*/ 0 h 7"/>
                <a:gd name="T66" fmla="*/ 8 w 8"/>
                <a:gd name="T6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7">
                  <a:moveTo>
                    <a:pt x="7" y="1"/>
                  </a:moveTo>
                  <a:cubicBezTo>
                    <a:pt x="5" y="3"/>
                    <a:pt x="2" y="5"/>
                    <a:pt x="0" y="7"/>
                  </a:cubicBezTo>
                  <a:cubicBezTo>
                    <a:pt x="0" y="7"/>
                    <a:pt x="0" y="7"/>
                    <a:pt x="0" y="7"/>
                  </a:cubicBezTo>
                  <a:cubicBezTo>
                    <a:pt x="2" y="5"/>
                    <a:pt x="5" y="3"/>
                    <a:pt x="7" y="1"/>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8" y="0"/>
                  </a:moveTo>
                  <a:cubicBezTo>
                    <a:pt x="8" y="0"/>
                    <a:pt x="8" y="0"/>
                    <a:pt x="8" y="0"/>
                  </a:cubicBezTo>
                  <a:cubicBezTo>
                    <a:pt x="8" y="0"/>
                    <a:pt x="8" y="0"/>
                    <a:pt x="8" y="0"/>
                  </a:cubicBezTo>
                </a:path>
              </a:pathLst>
            </a:custGeom>
            <a:solidFill>
              <a:srgbClr val="82E1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ṩľïḍe">
              <a:extLst>
                <a:ext uri="{FF2B5EF4-FFF2-40B4-BE49-F238E27FC236}">
                  <a16:creationId xmlns:a16="http://schemas.microsoft.com/office/drawing/2014/main" id="{41B105FC-4536-41C2-879E-66E397BE0346}"/>
                </a:ext>
              </a:extLst>
            </p:cNvPr>
            <p:cNvSpPr/>
            <p:nvPr/>
          </p:nvSpPr>
          <p:spPr bwMode="auto">
            <a:xfrm>
              <a:off x="6318713" y="2899586"/>
              <a:ext cx="1500" cy="1500"/>
            </a:xfrm>
            <a:prstGeom prst="ellipse">
              <a:avLst/>
            </a:prstGeom>
            <a:solidFill>
              <a:srgbClr val="81C8E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1íḍe">
              <a:extLst>
                <a:ext uri="{FF2B5EF4-FFF2-40B4-BE49-F238E27FC236}">
                  <a16:creationId xmlns:a16="http://schemas.microsoft.com/office/drawing/2014/main" id="{CEF97562-3D12-42E4-AFFF-9B71D8F82771}"/>
                </a:ext>
              </a:extLst>
            </p:cNvPr>
            <p:cNvSpPr/>
            <p:nvPr/>
          </p:nvSpPr>
          <p:spPr bwMode="auto">
            <a:xfrm>
              <a:off x="6231727" y="2899586"/>
              <a:ext cx="86986" cy="37494"/>
            </a:xfrm>
            <a:custGeom>
              <a:avLst/>
              <a:gdLst>
                <a:gd name="T0" fmla="*/ 18 w 18"/>
                <a:gd name="T1" fmla="*/ 0 h 8"/>
                <a:gd name="T2" fmla="*/ 0 w 18"/>
                <a:gd name="T3" fmla="*/ 8 h 8"/>
                <a:gd name="T4" fmla="*/ 18 w 18"/>
                <a:gd name="T5" fmla="*/ 0 h 8"/>
                <a:gd name="T6" fmla="*/ 18 w 18"/>
                <a:gd name="T7" fmla="*/ 0 h 8"/>
              </a:gdLst>
              <a:ahLst/>
              <a:cxnLst>
                <a:cxn ang="0">
                  <a:pos x="T0" y="T1"/>
                </a:cxn>
                <a:cxn ang="0">
                  <a:pos x="T2" y="T3"/>
                </a:cxn>
                <a:cxn ang="0">
                  <a:pos x="T4" y="T5"/>
                </a:cxn>
                <a:cxn ang="0">
                  <a:pos x="T6" y="T7"/>
                </a:cxn>
              </a:cxnLst>
              <a:rect l="0" t="0" r="r" b="b"/>
              <a:pathLst>
                <a:path w="18" h="8">
                  <a:moveTo>
                    <a:pt x="18" y="0"/>
                  </a:moveTo>
                  <a:cubicBezTo>
                    <a:pt x="13" y="5"/>
                    <a:pt x="6" y="7"/>
                    <a:pt x="0" y="8"/>
                  </a:cubicBezTo>
                  <a:cubicBezTo>
                    <a:pt x="6" y="7"/>
                    <a:pt x="13" y="5"/>
                    <a:pt x="18" y="0"/>
                  </a:cubicBezTo>
                  <a:cubicBezTo>
                    <a:pt x="18" y="0"/>
                    <a:pt x="18" y="0"/>
                    <a:pt x="18" y="0"/>
                  </a:cubicBezTo>
                </a:path>
              </a:pathLst>
            </a:custGeom>
            <a:solidFill>
              <a:srgbClr val="F787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ṩļîdé">
              <a:extLst>
                <a:ext uri="{FF2B5EF4-FFF2-40B4-BE49-F238E27FC236}">
                  <a16:creationId xmlns:a16="http://schemas.microsoft.com/office/drawing/2014/main" id="{31E26D2E-95E8-4CBA-AFFE-2C94A269BA6D}"/>
                </a:ext>
              </a:extLst>
            </p:cNvPr>
            <p:cNvSpPr/>
            <p:nvPr/>
          </p:nvSpPr>
          <p:spPr bwMode="auto">
            <a:xfrm>
              <a:off x="6140243" y="2908585"/>
              <a:ext cx="76488" cy="28496"/>
            </a:xfrm>
            <a:custGeom>
              <a:avLst/>
              <a:gdLst>
                <a:gd name="T0" fmla="*/ 14 w 16"/>
                <a:gd name="T1" fmla="*/ 6 h 6"/>
                <a:gd name="T2" fmla="*/ 16 w 16"/>
                <a:gd name="T3" fmla="*/ 6 h 6"/>
                <a:gd name="T4" fmla="*/ 16 w 16"/>
                <a:gd name="T5" fmla="*/ 6 h 6"/>
                <a:gd name="T6" fmla="*/ 14 w 16"/>
                <a:gd name="T7" fmla="*/ 6 h 6"/>
                <a:gd name="T8" fmla="*/ 13 w 16"/>
                <a:gd name="T9" fmla="*/ 6 h 6"/>
                <a:gd name="T10" fmla="*/ 14 w 16"/>
                <a:gd name="T11" fmla="*/ 6 h 6"/>
                <a:gd name="T12" fmla="*/ 13 w 16"/>
                <a:gd name="T13" fmla="*/ 6 h 6"/>
                <a:gd name="T14" fmla="*/ 13 w 16"/>
                <a:gd name="T15" fmla="*/ 6 h 6"/>
                <a:gd name="T16" fmla="*/ 13 w 16"/>
                <a:gd name="T17" fmla="*/ 6 h 6"/>
                <a:gd name="T18" fmla="*/ 13 w 16"/>
                <a:gd name="T19" fmla="*/ 6 h 6"/>
                <a:gd name="T20" fmla="*/ 11 w 16"/>
                <a:gd name="T21" fmla="*/ 5 h 6"/>
                <a:gd name="T22" fmla="*/ 11 w 16"/>
                <a:gd name="T23" fmla="*/ 5 h 6"/>
                <a:gd name="T24" fmla="*/ 11 w 16"/>
                <a:gd name="T25" fmla="*/ 5 h 6"/>
                <a:gd name="T26" fmla="*/ 11 w 16"/>
                <a:gd name="T27" fmla="*/ 5 h 6"/>
                <a:gd name="T28" fmla="*/ 11 w 16"/>
                <a:gd name="T29" fmla="*/ 5 h 6"/>
                <a:gd name="T30" fmla="*/ 11 w 16"/>
                <a:gd name="T31" fmla="*/ 5 h 6"/>
                <a:gd name="T32" fmla="*/ 0 w 16"/>
                <a:gd name="T33" fmla="*/ 0 h 6"/>
                <a:gd name="T34" fmla="*/ 2 w 16"/>
                <a:gd name="T35" fmla="*/ 1 h 6"/>
                <a:gd name="T36" fmla="*/ 11 w 16"/>
                <a:gd name="T37" fmla="*/ 5 h 6"/>
                <a:gd name="T38" fmla="*/ 2 w 16"/>
                <a:gd name="T39" fmla="*/ 1 h 6"/>
                <a:gd name="T40" fmla="*/ 0 w 16"/>
                <a:gd name="T41" fmla="*/ 0 h 6"/>
                <a:gd name="T42" fmla="*/ 0 w 16"/>
                <a:gd name="T43" fmla="*/ 0 h 6"/>
                <a:gd name="T44" fmla="*/ 0 w 16"/>
                <a:gd name="T45" fmla="*/ 0 h 6"/>
                <a:gd name="T46" fmla="*/ 0 w 16"/>
                <a:gd name="T4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6">
                  <a:moveTo>
                    <a:pt x="14" y="6"/>
                  </a:moveTo>
                  <a:cubicBezTo>
                    <a:pt x="14" y="6"/>
                    <a:pt x="15" y="6"/>
                    <a:pt x="16" y="6"/>
                  </a:cubicBezTo>
                  <a:cubicBezTo>
                    <a:pt x="16" y="6"/>
                    <a:pt x="16" y="6"/>
                    <a:pt x="16" y="6"/>
                  </a:cubicBezTo>
                  <a:cubicBezTo>
                    <a:pt x="15" y="6"/>
                    <a:pt x="14" y="6"/>
                    <a:pt x="14" y="6"/>
                  </a:cubicBezTo>
                  <a:moveTo>
                    <a:pt x="13" y="6"/>
                  </a:moveTo>
                  <a:cubicBezTo>
                    <a:pt x="14" y="6"/>
                    <a:pt x="14" y="6"/>
                    <a:pt x="14" y="6"/>
                  </a:cubicBezTo>
                  <a:cubicBezTo>
                    <a:pt x="14" y="6"/>
                    <a:pt x="14" y="6"/>
                    <a:pt x="13" y="6"/>
                  </a:cubicBezTo>
                  <a:moveTo>
                    <a:pt x="13" y="6"/>
                  </a:moveTo>
                  <a:cubicBezTo>
                    <a:pt x="13" y="6"/>
                    <a:pt x="13" y="6"/>
                    <a:pt x="13" y="6"/>
                  </a:cubicBezTo>
                  <a:cubicBezTo>
                    <a:pt x="13" y="6"/>
                    <a:pt x="13" y="6"/>
                    <a:pt x="13" y="6"/>
                  </a:cubicBezTo>
                  <a:moveTo>
                    <a:pt x="11" y="5"/>
                  </a:moveTo>
                  <a:cubicBezTo>
                    <a:pt x="11" y="5"/>
                    <a:pt x="11" y="5"/>
                    <a:pt x="11" y="5"/>
                  </a:cubicBezTo>
                  <a:cubicBezTo>
                    <a:pt x="11" y="5"/>
                    <a:pt x="11" y="5"/>
                    <a:pt x="11" y="5"/>
                  </a:cubicBezTo>
                  <a:moveTo>
                    <a:pt x="11" y="5"/>
                  </a:moveTo>
                  <a:cubicBezTo>
                    <a:pt x="11" y="5"/>
                    <a:pt x="11" y="5"/>
                    <a:pt x="11" y="5"/>
                  </a:cubicBezTo>
                  <a:cubicBezTo>
                    <a:pt x="11" y="5"/>
                    <a:pt x="11" y="5"/>
                    <a:pt x="11" y="5"/>
                  </a:cubicBezTo>
                  <a:moveTo>
                    <a:pt x="0" y="0"/>
                  </a:moveTo>
                  <a:cubicBezTo>
                    <a:pt x="1" y="0"/>
                    <a:pt x="1" y="1"/>
                    <a:pt x="2" y="1"/>
                  </a:cubicBezTo>
                  <a:cubicBezTo>
                    <a:pt x="4" y="3"/>
                    <a:pt x="7" y="5"/>
                    <a:pt x="11" y="5"/>
                  </a:cubicBezTo>
                  <a:cubicBezTo>
                    <a:pt x="7" y="5"/>
                    <a:pt x="4" y="3"/>
                    <a:pt x="2" y="1"/>
                  </a:cubicBezTo>
                  <a:cubicBezTo>
                    <a:pt x="1" y="1"/>
                    <a:pt x="1" y="0"/>
                    <a:pt x="0" y="0"/>
                  </a:cubicBezTo>
                  <a:moveTo>
                    <a:pt x="0" y="0"/>
                  </a:moveTo>
                  <a:cubicBezTo>
                    <a:pt x="0" y="0"/>
                    <a:pt x="0" y="0"/>
                    <a:pt x="0" y="0"/>
                  </a:cubicBezTo>
                  <a:cubicBezTo>
                    <a:pt x="0" y="0"/>
                    <a:pt x="0" y="0"/>
                    <a:pt x="0" y="0"/>
                  </a:cubicBezTo>
                </a:path>
              </a:pathLst>
            </a:custGeom>
            <a:solidFill>
              <a:srgbClr val="82E1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iṧ1iďe">
              <a:extLst>
                <a:ext uri="{FF2B5EF4-FFF2-40B4-BE49-F238E27FC236}">
                  <a16:creationId xmlns:a16="http://schemas.microsoft.com/office/drawing/2014/main" id="{B0F919FB-D636-4A6F-8FCE-1B4CF9607B5C}"/>
                </a:ext>
              </a:extLst>
            </p:cNvPr>
            <p:cNvSpPr/>
            <p:nvPr/>
          </p:nvSpPr>
          <p:spPr bwMode="auto">
            <a:xfrm>
              <a:off x="6216730" y="2937079"/>
              <a:ext cx="1500" cy="1500"/>
            </a:xfrm>
            <a:prstGeom prst="ellipse">
              <a:avLst/>
            </a:prstGeom>
            <a:solidFill>
              <a:srgbClr val="81C8E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ṧḻîḓe">
              <a:extLst>
                <a:ext uri="{FF2B5EF4-FFF2-40B4-BE49-F238E27FC236}">
                  <a16:creationId xmlns:a16="http://schemas.microsoft.com/office/drawing/2014/main" id="{749AE3FF-873A-48E7-BEBD-977CD5968B5E}"/>
                </a:ext>
              </a:extLst>
            </p:cNvPr>
            <p:cNvSpPr/>
            <p:nvPr/>
          </p:nvSpPr>
          <p:spPr bwMode="auto">
            <a:xfrm>
              <a:off x="6216730" y="2937079"/>
              <a:ext cx="1500" cy="1500"/>
            </a:xfrm>
            <a:prstGeom prst="ellipse">
              <a:avLst/>
            </a:prstGeom>
            <a:solidFill>
              <a:srgbClr val="F787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í$ḷiďê">
              <a:extLst>
                <a:ext uri="{FF2B5EF4-FFF2-40B4-BE49-F238E27FC236}">
                  <a16:creationId xmlns:a16="http://schemas.microsoft.com/office/drawing/2014/main" id="{1262DDA2-279B-4E70-8C7B-1EC2B2508D37}"/>
                </a:ext>
              </a:extLst>
            </p:cNvPr>
            <p:cNvSpPr/>
            <p:nvPr/>
          </p:nvSpPr>
          <p:spPr bwMode="auto">
            <a:xfrm>
              <a:off x="6110247" y="2680621"/>
              <a:ext cx="295453" cy="256459"/>
            </a:xfrm>
            <a:custGeom>
              <a:avLst/>
              <a:gdLst>
                <a:gd name="T0" fmla="*/ 55 w 61"/>
                <a:gd name="T1" fmla="*/ 0 h 53"/>
                <a:gd name="T2" fmla="*/ 48 w 61"/>
                <a:gd name="T3" fmla="*/ 33 h 53"/>
                <a:gd name="T4" fmla="*/ 20 w 61"/>
                <a:gd name="T5" fmla="*/ 48 h 53"/>
                <a:gd name="T6" fmla="*/ 5 w 61"/>
                <a:gd name="T7" fmla="*/ 43 h 53"/>
                <a:gd name="T8" fmla="*/ 0 w 61"/>
                <a:gd name="T9" fmla="*/ 38 h 53"/>
                <a:gd name="T10" fmla="*/ 6 w 61"/>
                <a:gd name="T11" fmla="*/ 47 h 53"/>
                <a:gd name="T12" fmla="*/ 6 w 61"/>
                <a:gd name="T13" fmla="*/ 47 h 53"/>
                <a:gd name="T14" fmla="*/ 6 w 61"/>
                <a:gd name="T15" fmla="*/ 47 h 53"/>
                <a:gd name="T16" fmla="*/ 8 w 61"/>
                <a:gd name="T17" fmla="*/ 48 h 53"/>
                <a:gd name="T18" fmla="*/ 17 w 61"/>
                <a:gd name="T19" fmla="*/ 52 h 53"/>
                <a:gd name="T20" fmla="*/ 17 w 61"/>
                <a:gd name="T21" fmla="*/ 52 h 53"/>
                <a:gd name="T22" fmla="*/ 17 w 61"/>
                <a:gd name="T23" fmla="*/ 52 h 53"/>
                <a:gd name="T24" fmla="*/ 17 w 61"/>
                <a:gd name="T25" fmla="*/ 52 h 53"/>
                <a:gd name="T26" fmla="*/ 17 w 61"/>
                <a:gd name="T27" fmla="*/ 52 h 53"/>
                <a:gd name="T28" fmla="*/ 19 w 61"/>
                <a:gd name="T29" fmla="*/ 53 h 53"/>
                <a:gd name="T30" fmla="*/ 19 w 61"/>
                <a:gd name="T31" fmla="*/ 53 h 53"/>
                <a:gd name="T32" fmla="*/ 19 w 61"/>
                <a:gd name="T33" fmla="*/ 53 h 53"/>
                <a:gd name="T34" fmla="*/ 20 w 61"/>
                <a:gd name="T35" fmla="*/ 53 h 53"/>
                <a:gd name="T36" fmla="*/ 20 w 61"/>
                <a:gd name="T37" fmla="*/ 53 h 53"/>
                <a:gd name="T38" fmla="*/ 22 w 61"/>
                <a:gd name="T39" fmla="*/ 53 h 53"/>
                <a:gd name="T40" fmla="*/ 22 w 61"/>
                <a:gd name="T41" fmla="*/ 53 h 53"/>
                <a:gd name="T42" fmla="*/ 22 w 61"/>
                <a:gd name="T43" fmla="*/ 53 h 53"/>
                <a:gd name="T44" fmla="*/ 25 w 61"/>
                <a:gd name="T45" fmla="*/ 53 h 53"/>
                <a:gd name="T46" fmla="*/ 43 w 61"/>
                <a:gd name="T47" fmla="*/ 45 h 53"/>
                <a:gd name="T48" fmla="*/ 43 w 61"/>
                <a:gd name="T49" fmla="*/ 45 h 53"/>
                <a:gd name="T50" fmla="*/ 50 w 61"/>
                <a:gd name="T51" fmla="*/ 39 h 53"/>
                <a:gd name="T52" fmla="*/ 50 w 61"/>
                <a:gd name="T53" fmla="*/ 38 h 53"/>
                <a:gd name="T54" fmla="*/ 50 w 61"/>
                <a:gd name="T55" fmla="*/ 38 h 53"/>
                <a:gd name="T56" fmla="*/ 50 w 61"/>
                <a:gd name="T57" fmla="*/ 38 h 53"/>
                <a:gd name="T58" fmla="*/ 50 w 61"/>
                <a:gd name="T59" fmla="*/ 38 h 53"/>
                <a:gd name="T60" fmla="*/ 50 w 61"/>
                <a:gd name="T61" fmla="*/ 38 h 53"/>
                <a:gd name="T62" fmla="*/ 50 w 61"/>
                <a:gd name="T63" fmla="*/ 38 h 53"/>
                <a:gd name="T64" fmla="*/ 50 w 61"/>
                <a:gd name="T65" fmla="*/ 38 h 53"/>
                <a:gd name="T66" fmla="*/ 50 w 61"/>
                <a:gd name="T67" fmla="*/ 38 h 53"/>
                <a:gd name="T68" fmla="*/ 50 w 61"/>
                <a:gd name="T69" fmla="*/ 38 h 53"/>
                <a:gd name="T70" fmla="*/ 50 w 61"/>
                <a:gd name="T71" fmla="*/ 38 h 53"/>
                <a:gd name="T72" fmla="*/ 50 w 61"/>
                <a:gd name="T73" fmla="*/ 38 h 53"/>
                <a:gd name="T74" fmla="*/ 50 w 61"/>
                <a:gd name="T75" fmla="*/ 38 h 53"/>
                <a:gd name="T76" fmla="*/ 50 w 61"/>
                <a:gd name="T77" fmla="*/ 38 h 53"/>
                <a:gd name="T78" fmla="*/ 50 w 61"/>
                <a:gd name="T79" fmla="*/ 38 h 53"/>
                <a:gd name="T80" fmla="*/ 50 w 61"/>
                <a:gd name="T81" fmla="*/ 38 h 53"/>
                <a:gd name="T82" fmla="*/ 50 w 61"/>
                <a:gd name="T83" fmla="*/ 38 h 53"/>
                <a:gd name="T84" fmla="*/ 50 w 61"/>
                <a:gd name="T85" fmla="*/ 38 h 53"/>
                <a:gd name="T86" fmla="*/ 50 w 61"/>
                <a:gd name="T87" fmla="*/ 38 h 53"/>
                <a:gd name="T88" fmla="*/ 50 w 61"/>
                <a:gd name="T89" fmla="*/ 38 h 53"/>
                <a:gd name="T90" fmla="*/ 51 w 61"/>
                <a:gd name="T91" fmla="*/ 38 h 53"/>
                <a:gd name="T92" fmla="*/ 51 w 61"/>
                <a:gd name="T93" fmla="*/ 38 h 53"/>
                <a:gd name="T94" fmla="*/ 55 w 61"/>
                <a:gd name="T9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1" h="53">
                  <a:moveTo>
                    <a:pt x="55" y="0"/>
                  </a:moveTo>
                  <a:cubicBezTo>
                    <a:pt x="58" y="10"/>
                    <a:pt x="56" y="23"/>
                    <a:pt x="48" y="33"/>
                  </a:cubicBezTo>
                  <a:cubicBezTo>
                    <a:pt x="40" y="43"/>
                    <a:pt x="30" y="48"/>
                    <a:pt x="20" y="48"/>
                  </a:cubicBezTo>
                  <a:cubicBezTo>
                    <a:pt x="15" y="48"/>
                    <a:pt x="10" y="47"/>
                    <a:pt x="5" y="43"/>
                  </a:cubicBezTo>
                  <a:cubicBezTo>
                    <a:pt x="3" y="42"/>
                    <a:pt x="2" y="40"/>
                    <a:pt x="0" y="38"/>
                  </a:cubicBezTo>
                  <a:cubicBezTo>
                    <a:pt x="1" y="41"/>
                    <a:pt x="3" y="44"/>
                    <a:pt x="6" y="47"/>
                  </a:cubicBezTo>
                  <a:cubicBezTo>
                    <a:pt x="6" y="47"/>
                    <a:pt x="6" y="47"/>
                    <a:pt x="6" y="47"/>
                  </a:cubicBezTo>
                  <a:cubicBezTo>
                    <a:pt x="6" y="47"/>
                    <a:pt x="6" y="47"/>
                    <a:pt x="6" y="47"/>
                  </a:cubicBezTo>
                  <a:cubicBezTo>
                    <a:pt x="7" y="47"/>
                    <a:pt x="7" y="48"/>
                    <a:pt x="8" y="48"/>
                  </a:cubicBezTo>
                  <a:cubicBezTo>
                    <a:pt x="10" y="50"/>
                    <a:pt x="13" y="52"/>
                    <a:pt x="17" y="52"/>
                  </a:cubicBezTo>
                  <a:cubicBezTo>
                    <a:pt x="17" y="52"/>
                    <a:pt x="17" y="52"/>
                    <a:pt x="17" y="52"/>
                  </a:cubicBezTo>
                  <a:cubicBezTo>
                    <a:pt x="17" y="52"/>
                    <a:pt x="17" y="52"/>
                    <a:pt x="17" y="52"/>
                  </a:cubicBezTo>
                  <a:cubicBezTo>
                    <a:pt x="17" y="52"/>
                    <a:pt x="17" y="52"/>
                    <a:pt x="17" y="52"/>
                  </a:cubicBezTo>
                  <a:cubicBezTo>
                    <a:pt x="17" y="52"/>
                    <a:pt x="17" y="52"/>
                    <a:pt x="17" y="52"/>
                  </a:cubicBezTo>
                  <a:cubicBezTo>
                    <a:pt x="18" y="53"/>
                    <a:pt x="19" y="53"/>
                    <a:pt x="19" y="53"/>
                  </a:cubicBezTo>
                  <a:cubicBezTo>
                    <a:pt x="19" y="53"/>
                    <a:pt x="19" y="53"/>
                    <a:pt x="19" y="53"/>
                  </a:cubicBezTo>
                  <a:cubicBezTo>
                    <a:pt x="19" y="53"/>
                    <a:pt x="19" y="53"/>
                    <a:pt x="19" y="53"/>
                  </a:cubicBezTo>
                  <a:cubicBezTo>
                    <a:pt x="20" y="53"/>
                    <a:pt x="20" y="53"/>
                    <a:pt x="20" y="53"/>
                  </a:cubicBezTo>
                  <a:cubicBezTo>
                    <a:pt x="20" y="53"/>
                    <a:pt x="20" y="53"/>
                    <a:pt x="20" y="53"/>
                  </a:cubicBezTo>
                  <a:cubicBezTo>
                    <a:pt x="20" y="53"/>
                    <a:pt x="21" y="53"/>
                    <a:pt x="22" y="53"/>
                  </a:cubicBezTo>
                  <a:cubicBezTo>
                    <a:pt x="22" y="53"/>
                    <a:pt x="22" y="53"/>
                    <a:pt x="22" y="53"/>
                  </a:cubicBezTo>
                  <a:cubicBezTo>
                    <a:pt x="22" y="53"/>
                    <a:pt x="22" y="53"/>
                    <a:pt x="22" y="53"/>
                  </a:cubicBezTo>
                  <a:cubicBezTo>
                    <a:pt x="23" y="53"/>
                    <a:pt x="24" y="53"/>
                    <a:pt x="25" y="53"/>
                  </a:cubicBezTo>
                  <a:cubicBezTo>
                    <a:pt x="31" y="52"/>
                    <a:pt x="38" y="50"/>
                    <a:pt x="43" y="45"/>
                  </a:cubicBezTo>
                  <a:cubicBezTo>
                    <a:pt x="43" y="45"/>
                    <a:pt x="43" y="45"/>
                    <a:pt x="43" y="45"/>
                  </a:cubicBezTo>
                  <a:cubicBezTo>
                    <a:pt x="45" y="43"/>
                    <a:pt x="48" y="41"/>
                    <a:pt x="50" y="39"/>
                  </a:cubicBezTo>
                  <a:cubicBezTo>
                    <a:pt x="50" y="39"/>
                    <a:pt x="50" y="39"/>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1" y="38"/>
                  </a:cubicBezTo>
                  <a:cubicBezTo>
                    <a:pt x="51" y="38"/>
                    <a:pt x="51" y="38"/>
                    <a:pt x="51" y="38"/>
                  </a:cubicBezTo>
                  <a:cubicBezTo>
                    <a:pt x="60" y="25"/>
                    <a:pt x="61" y="10"/>
                    <a:pt x="55" y="0"/>
                  </a:cubicBezTo>
                </a:path>
              </a:pathLst>
            </a:custGeom>
            <a:solidFill>
              <a:srgbClr val="F998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işḷïďé">
              <a:extLst>
                <a:ext uri="{FF2B5EF4-FFF2-40B4-BE49-F238E27FC236}">
                  <a16:creationId xmlns:a16="http://schemas.microsoft.com/office/drawing/2014/main" id="{044BC46E-04D6-482A-A6F7-1224DCF89D3A}"/>
                </a:ext>
              </a:extLst>
            </p:cNvPr>
            <p:cNvSpPr/>
            <p:nvPr/>
          </p:nvSpPr>
          <p:spPr bwMode="auto">
            <a:xfrm>
              <a:off x="6125245" y="3349513"/>
              <a:ext cx="295453" cy="676391"/>
            </a:xfrm>
            <a:custGeom>
              <a:avLst/>
              <a:gdLst>
                <a:gd name="T0" fmla="*/ 44 w 61"/>
                <a:gd name="T1" fmla="*/ 5 h 140"/>
                <a:gd name="T2" fmla="*/ 54 w 61"/>
                <a:gd name="T3" fmla="*/ 51 h 140"/>
                <a:gd name="T4" fmla="*/ 59 w 61"/>
                <a:gd name="T5" fmla="*/ 122 h 140"/>
                <a:gd name="T6" fmla="*/ 38 w 61"/>
                <a:gd name="T7" fmla="*/ 132 h 140"/>
                <a:gd name="T8" fmla="*/ 2 w 61"/>
                <a:gd name="T9" fmla="*/ 16 h 140"/>
                <a:gd name="T10" fmla="*/ 44 w 61"/>
                <a:gd name="T11" fmla="*/ 5 h 140"/>
              </a:gdLst>
              <a:ahLst/>
              <a:cxnLst>
                <a:cxn ang="0">
                  <a:pos x="T0" y="T1"/>
                </a:cxn>
                <a:cxn ang="0">
                  <a:pos x="T2" y="T3"/>
                </a:cxn>
                <a:cxn ang="0">
                  <a:pos x="T4" y="T5"/>
                </a:cxn>
                <a:cxn ang="0">
                  <a:pos x="T6" y="T7"/>
                </a:cxn>
                <a:cxn ang="0">
                  <a:pos x="T8" y="T9"/>
                </a:cxn>
                <a:cxn ang="0">
                  <a:pos x="T10" y="T11"/>
                </a:cxn>
              </a:cxnLst>
              <a:rect l="0" t="0" r="r" b="b"/>
              <a:pathLst>
                <a:path w="61" h="140">
                  <a:moveTo>
                    <a:pt x="44" y="5"/>
                  </a:moveTo>
                  <a:cubicBezTo>
                    <a:pt x="44" y="5"/>
                    <a:pt x="51" y="24"/>
                    <a:pt x="54" y="51"/>
                  </a:cubicBezTo>
                  <a:cubicBezTo>
                    <a:pt x="56" y="65"/>
                    <a:pt x="61" y="100"/>
                    <a:pt x="59" y="122"/>
                  </a:cubicBezTo>
                  <a:cubicBezTo>
                    <a:pt x="57" y="139"/>
                    <a:pt x="47" y="140"/>
                    <a:pt x="38" y="132"/>
                  </a:cubicBezTo>
                  <a:cubicBezTo>
                    <a:pt x="18" y="115"/>
                    <a:pt x="0" y="32"/>
                    <a:pt x="2" y="16"/>
                  </a:cubicBezTo>
                  <a:cubicBezTo>
                    <a:pt x="5" y="0"/>
                    <a:pt x="44" y="5"/>
                    <a:pt x="44" y="5"/>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îṧļíďe">
              <a:extLst>
                <a:ext uri="{FF2B5EF4-FFF2-40B4-BE49-F238E27FC236}">
                  <a16:creationId xmlns:a16="http://schemas.microsoft.com/office/drawing/2014/main" id="{8794E849-4BDE-4F3D-94D6-B2922CD25F10}"/>
                </a:ext>
              </a:extLst>
            </p:cNvPr>
            <p:cNvSpPr/>
            <p:nvPr/>
          </p:nvSpPr>
          <p:spPr bwMode="auto">
            <a:xfrm>
              <a:off x="6347209" y="4436837"/>
              <a:ext cx="203967" cy="179971"/>
            </a:xfrm>
            <a:custGeom>
              <a:avLst/>
              <a:gdLst>
                <a:gd name="T0" fmla="*/ 35 w 42"/>
                <a:gd name="T1" fmla="*/ 0 h 37"/>
                <a:gd name="T2" fmla="*/ 41 w 42"/>
                <a:gd name="T3" fmla="*/ 15 h 37"/>
                <a:gd name="T4" fmla="*/ 37 w 42"/>
                <a:gd name="T5" fmla="*/ 23 h 37"/>
                <a:gd name="T6" fmla="*/ 7 w 42"/>
                <a:gd name="T7" fmla="*/ 35 h 37"/>
                <a:gd name="T8" fmla="*/ 3 w 42"/>
                <a:gd name="T9" fmla="*/ 29 h 37"/>
                <a:gd name="T10" fmla="*/ 13 w 42"/>
                <a:gd name="T11" fmla="*/ 22 h 37"/>
                <a:gd name="T12" fmla="*/ 25 w 42"/>
                <a:gd name="T13" fmla="*/ 2 h 37"/>
                <a:gd name="T14" fmla="*/ 35 w 42"/>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37">
                  <a:moveTo>
                    <a:pt x="35" y="0"/>
                  </a:moveTo>
                  <a:cubicBezTo>
                    <a:pt x="35" y="0"/>
                    <a:pt x="40" y="10"/>
                    <a:pt x="41" y="15"/>
                  </a:cubicBezTo>
                  <a:cubicBezTo>
                    <a:pt x="42" y="18"/>
                    <a:pt x="40" y="22"/>
                    <a:pt x="37" y="23"/>
                  </a:cubicBezTo>
                  <a:cubicBezTo>
                    <a:pt x="7" y="35"/>
                    <a:pt x="7" y="35"/>
                    <a:pt x="7" y="35"/>
                  </a:cubicBezTo>
                  <a:cubicBezTo>
                    <a:pt x="3" y="37"/>
                    <a:pt x="0" y="32"/>
                    <a:pt x="3" y="29"/>
                  </a:cubicBezTo>
                  <a:cubicBezTo>
                    <a:pt x="4" y="27"/>
                    <a:pt x="8" y="25"/>
                    <a:pt x="13" y="22"/>
                  </a:cubicBezTo>
                  <a:cubicBezTo>
                    <a:pt x="31" y="13"/>
                    <a:pt x="25" y="2"/>
                    <a:pt x="25" y="2"/>
                  </a:cubicBezTo>
                  <a:lnTo>
                    <a:pt x="35" y="0"/>
                  </a:lnTo>
                  <a:close/>
                </a:path>
              </a:pathLst>
            </a:custGeom>
            <a:solidFill>
              <a:srgbClr val="C754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Sḷíde">
              <a:extLst>
                <a:ext uri="{FF2B5EF4-FFF2-40B4-BE49-F238E27FC236}">
                  <a16:creationId xmlns:a16="http://schemas.microsoft.com/office/drawing/2014/main" id="{DBAEE1A6-3F7A-4B26-AD4C-BE952B99E5D5}"/>
                </a:ext>
              </a:extLst>
            </p:cNvPr>
            <p:cNvSpPr/>
            <p:nvPr/>
          </p:nvSpPr>
          <p:spPr bwMode="auto">
            <a:xfrm>
              <a:off x="6285719" y="3880428"/>
              <a:ext cx="241461" cy="599903"/>
            </a:xfrm>
            <a:custGeom>
              <a:avLst/>
              <a:gdLst>
                <a:gd name="T0" fmla="*/ 17 w 50"/>
                <a:gd name="T1" fmla="*/ 4 h 124"/>
                <a:gd name="T2" fmla="*/ 36 w 50"/>
                <a:gd name="T3" fmla="*/ 27 h 124"/>
                <a:gd name="T4" fmla="*/ 50 w 50"/>
                <a:gd name="T5" fmla="*/ 121 h 124"/>
                <a:gd name="T6" fmla="*/ 39 w 50"/>
                <a:gd name="T7" fmla="*/ 124 h 124"/>
                <a:gd name="T8" fmla="*/ 11 w 50"/>
                <a:gd name="T9" fmla="*/ 44 h 124"/>
                <a:gd name="T10" fmla="*/ 1 w 50"/>
                <a:gd name="T11" fmla="*/ 11 h 124"/>
                <a:gd name="T12" fmla="*/ 0 w 50"/>
                <a:gd name="T13" fmla="*/ 0 h 124"/>
                <a:gd name="T14" fmla="*/ 17 w 50"/>
                <a:gd name="T15" fmla="*/ 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124">
                  <a:moveTo>
                    <a:pt x="17" y="4"/>
                  </a:moveTo>
                  <a:cubicBezTo>
                    <a:pt x="17" y="4"/>
                    <a:pt x="31" y="8"/>
                    <a:pt x="36" y="27"/>
                  </a:cubicBezTo>
                  <a:cubicBezTo>
                    <a:pt x="41" y="46"/>
                    <a:pt x="50" y="121"/>
                    <a:pt x="50" y="121"/>
                  </a:cubicBezTo>
                  <a:cubicBezTo>
                    <a:pt x="39" y="124"/>
                    <a:pt x="39" y="124"/>
                    <a:pt x="39" y="124"/>
                  </a:cubicBezTo>
                  <a:cubicBezTo>
                    <a:pt x="11" y="44"/>
                    <a:pt x="11" y="44"/>
                    <a:pt x="11" y="44"/>
                  </a:cubicBezTo>
                  <a:cubicBezTo>
                    <a:pt x="7" y="34"/>
                    <a:pt x="1" y="22"/>
                    <a:pt x="1" y="11"/>
                  </a:cubicBezTo>
                  <a:cubicBezTo>
                    <a:pt x="0" y="0"/>
                    <a:pt x="0" y="0"/>
                    <a:pt x="0" y="0"/>
                  </a:cubicBezTo>
                  <a:lnTo>
                    <a:pt x="17" y="4"/>
                  </a:lnTo>
                  <a:close/>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sļíḓé">
              <a:extLst>
                <a:ext uri="{FF2B5EF4-FFF2-40B4-BE49-F238E27FC236}">
                  <a16:creationId xmlns:a16="http://schemas.microsoft.com/office/drawing/2014/main" id="{74B73086-DF37-47C1-82C8-6E8E9918715E}"/>
                </a:ext>
              </a:extLst>
            </p:cNvPr>
            <p:cNvSpPr/>
            <p:nvPr/>
          </p:nvSpPr>
          <p:spPr bwMode="auto">
            <a:xfrm>
              <a:off x="6116246" y="3349513"/>
              <a:ext cx="293953" cy="439429"/>
            </a:xfrm>
            <a:custGeom>
              <a:avLst/>
              <a:gdLst>
                <a:gd name="T0" fmla="*/ 61 w 61"/>
                <a:gd name="T1" fmla="*/ 79 h 91"/>
                <a:gd name="T2" fmla="*/ 49 w 61"/>
                <a:gd name="T3" fmla="*/ 5 h 91"/>
                <a:gd name="T4" fmla="*/ 2 w 61"/>
                <a:gd name="T5" fmla="*/ 16 h 91"/>
                <a:gd name="T6" fmla="*/ 19 w 61"/>
                <a:gd name="T7" fmla="*/ 91 h 91"/>
                <a:gd name="T8" fmla="*/ 61 w 61"/>
                <a:gd name="T9" fmla="*/ 79 h 91"/>
              </a:gdLst>
              <a:ahLst/>
              <a:cxnLst>
                <a:cxn ang="0">
                  <a:pos x="T0" y="T1"/>
                </a:cxn>
                <a:cxn ang="0">
                  <a:pos x="T2" y="T3"/>
                </a:cxn>
                <a:cxn ang="0">
                  <a:pos x="T4" y="T5"/>
                </a:cxn>
                <a:cxn ang="0">
                  <a:pos x="T6" y="T7"/>
                </a:cxn>
                <a:cxn ang="0">
                  <a:pos x="T8" y="T9"/>
                </a:cxn>
              </a:cxnLst>
              <a:rect l="0" t="0" r="r" b="b"/>
              <a:pathLst>
                <a:path w="61" h="91">
                  <a:moveTo>
                    <a:pt x="61" y="79"/>
                  </a:moveTo>
                  <a:cubicBezTo>
                    <a:pt x="61" y="26"/>
                    <a:pt x="49" y="5"/>
                    <a:pt x="49" y="5"/>
                  </a:cubicBezTo>
                  <a:cubicBezTo>
                    <a:pt x="49" y="5"/>
                    <a:pt x="5" y="0"/>
                    <a:pt x="2" y="16"/>
                  </a:cubicBezTo>
                  <a:cubicBezTo>
                    <a:pt x="0" y="26"/>
                    <a:pt x="9" y="61"/>
                    <a:pt x="19" y="91"/>
                  </a:cubicBezTo>
                  <a:cubicBezTo>
                    <a:pt x="27" y="87"/>
                    <a:pt x="40" y="80"/>
                    <a:pt x="61" y="79"/>
                  </a:cubicBezTo>
                </a:path>
              </a:pathLst>
            </a:custGeom>
            <a:solidFill>
              <a:srgbClr val="227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ṧľïde">
              <a:extLst>
                <a:ext uri="{FF2B5EF4-FFF2-40B4-BE49-F238E27FC236}">
                  <a16:creationId xmlns:a16="http://schemas.microsoft.com/office/drawing/2014/main" id="{9C841A94-090A-4B6B-95B1-C75DF4E3D8D7}"/>
                </a:ext>
              </a:extLst>
            </p:cNvPr>
            <p:cNvSpPr/>
            <p:nvPr/>
          </p:nvSpPr>
          <p:spPr bwMode="auto">
            <a:xfrm>
              <a:off x="6279720" y="2637128"/>
              <a:ext cx="184471" cy="286454"/>
            </a:xfrm>
            <a:custGeom>
              <a:avLst/>
              <a:gdLst>
                <a:gd name="T0" fmla="*/ 0 w 38"/>
                <a:gd name="T1" fmla="*/ 18 h 59"/>
                <a:gd name="T2" fmla="*/ 9 w 38"/>
                <a:gd name="T3" fmla="*/ 42 h 59"/>
                <a:gd name="T4" fmla="*/ 7 w 38"/>
                <a:gd name="T5" fmla="*/ 59 h 59"/>
                <a:gd name="T6" fmla="*/ 31 w 38"/>
                <a:gd name="T7" fmla="*/ 19 h 59"/>
                <a:gd name="T8" fmla="*/ 0 w 38"/>
                <a:gd name="T9" fmla="*/ 18 h 59"/>
              </a:gdLst>
              <a:ahLst/>
              <a:cxnLst>
                <a:cxn ang="0">
                  <a:pos x="T0" y="T1"/>
                </a:cxn>
                <a:cxn ang="0">
                  <a:pos x="T2" y="T3"/>
                </a:cxn>
                <a:cxn ang="0">
                  <a:pos x="T4" y="T5"/>
                </a:cxn>
                <a:cxn ang="0">
                  <a:pos x="T6" y="T7"/>
                </a:cxn>
                <a:cxn ang="0">
                  <a:pos x="T8" y="T9"/>
                </a:cxn>
              </a:cxnLst>
              <a:rect l="0" t="0" r="r" b="b"/>
              <a:pathLst>
                <a:path w="38" h="59">
                  <a:moveTo>
                    <a:pt x="0" y="18"/>
                  </a:moveTo>
                  <a:cubicBezTo>
                    <a:pt x="0" y="18"/>
                    <a:pt x="16" y="23"/>
                    <a:pt x="9" y="42"/>
                  </a:cubicBezTo>
                  <a:cubicBezTo>
                    <a:pt x="5" y="52"/>
                    <a:pt x="7" y="59"/>
                    <a:pt x="7" y="59"/>
                  </a:cubicBezTo>
                  <a:cubicBezTo>
                    <a:pt x="7" y="59"/>
                    <a:pt x="38" y="53"/>
                    <a:pt x="31" y="19"/>
                  </a:cubicBezTo>
                  <a:cubicBezTo>
                    <a:pt x="28" y="0"/>
                    <a:pt x="0" y="18"/>
                    <a:pt x="0" y="18"/>
                  </a:cubicBezTo>
                  <a:close/>
                </a:path>
              </a:pathLst>
            </a:custGeom>
            <a:solidFill>
              <a:srgbClr val="393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íṡľïḑe">
              <a:extLst>
                <a:ext uri="{FF2B5EF4-FFF2-40B4-BE49-F238E27FC236}">
                  <a16:creationId xmlns:a16="http://schemas.microsoft.com/office/drawing/2014/main" id="{F66592F0-0632-40C3-908C-AACEE9D495A2}"/>
                </a:ext>
              </a:extLst>
            </p:cNvPr>
            <p:cNvSpPr/>
            <p:nvPr/>
          </p:nvSpPr>
          <p:spPr bwMode="auto">
            <a:xfrm>
              <a:off x="5901781" y="4292860"/>
              <a:ext cx="203967" cy="125980"/>
            </a:xfrm>
            <a:custGeom>
              <a:avLst/>
              <a:gdLst>
                <a:gd name="T0" fmla="*/ 38 w 42"/>
                <a:gd name="T1" fmla="*/ 6 h 26"/>
                <a:gd name="T2" fmla="*/ 41 w 42"/>
                <a:gd name="T3" fmla="*/ 16 h 26"/>
                <a:gd name="T4" fmla="*/ 35 w 42"/>
                <a:gd name="T5" fmla="*/ 22 h 26"/>
                <a:gd name="T6" fmla="*/ 5 w 42"/>
                <a:gd name="T7" fmla="*/ 25 h 26"/>
                <a:gd name="T8" fmla="*/ 3 w 42"/>
                <a:gd name="T9" fmla="*/ 19 h 26"/>
                <a:gd name="T10" fmla="*/ 14 w 42"/>
                <a:gd name="T11" fmla="*/ 15 h 26"/>
                <a:gd name="T12" fmla="*/ 31 w 42"/>
                <a:gd name="T13" fmla="*/ 0 h 26"/>
                <a:gd name="T14" fmla="*/ 38 w 42"/>
                <a:gd name="T15" fmla="*/ 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38" y="6"/>
                  </a:moveTo>
                  <a:cubicBezTo>
                    <a:pt x="38" y="6"/>
                    <a:pt x="42" y="11"/>
                    <a:pt x="41" y="16"/>
                  </a:cubicBezTo>
                  <a:cubicBezTo>
                    <a:pt x="41" y="19"/>
                    <a:pt x="39" y="22"/>
                    <a:pt x="35" y="22"/>
                  </a:cubicBezTo>
                  <a:cubicBezTo>
                    <a:pt x="5" y="25"/>
                    <a:pt x="5" y="25"/>
                    <a:pt x="5" y="25"/>
                  </a:cubicBezTo>
                  <a:cubicBezTo>
                    <a:pt x="1" y="26"/>
                    <a:pt x="0" y="21"/>
                    <a:pt x="3" y="19"/>
                  </a:cubicBezTo>
                  <a:cubicBezTo>
                    <a:pt x="5" y="17"/>
                    <a:pt x="8" y="16"/>
                    <a:pt x="14" y="15"/>
                  </a:cubicBezTo>
                  <a:cubicBezTo>
                    <a:pt x="33" y="11"/>
                    <a:pt x="31" y="0"/>
                    <a:pt x="31" y="0"/>
                  </a:cubicBezTo>
                  <a:lnTo>
                    <a:pt x="38" y="6"/>
                  </a:lnTo>
                  <a:close/>
                </a:path>
              </a:pathLst>
            </a:custGeom>
            <a:solidFill>
              <a:srgbClr val="C754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ḻíḓe">
              <a:extLst>
                <a:ext uri="{FF2B5EF4-FFF2-40B4-BE49-F238E27FC236}">
                  <a16:creationId xmlns:a16="http://schemas.microsoft.com/office/drawing/2014/main" id="{11160472-9A1B-4F90-A0CF-99446FF02C0F}"/>
                </a:ext>
              </a:extLst>
            </p:cNvPr>
            <p:cNvSpPr/>
            <p:nvPr/>
          </p:nvSpPr>
          <p:spPr bwMode="auto">
            <a:xfrm>
              <a:off x="5829792" y="3387007"/>
              <a:ext cx="464925" cy="556411"/>
            </a:xfrm>
            <a:custGeom>
              <a:avLst/>
              <a:gdLst>
                <a:gd name="T0" fmla="*/ 85 w 96"/>
                <a:gd name="T1" fmla="*/ 21 h 115"/>
                <a:gd name="T2" fmla="*/ 84 w 96"/>
                <a:gd name="T3" fmla="*/ 47 h 115"/>
                <a:gd name="T4" fmla="*/ 2 w 96"/>
                <a:gd name="T5" fmla="*/ 89 h 115"/>
                <a:gd name="T6" fmla="*/ 58 w 96"/>
                <a:gd name="T7" fmla="*/ 9 h 115"/>
                <a:gd name="T8" fmla="*/ 85 w 96"/>
                <a:gd name="T9" fmla="*/ 21 h 115"/>
              </a:gdLst>
              <a:ahLst/>
              <a:cxnLst>
                <a:cxn ang="0">
                  <a:pos x="T0" y="T1"/>
                </a:cxn>
                <a:cxn ang="0">
                  <a:pos x="T2" y="T3"/>
                </a:cxn>
                <a:cxn ang="0">
                  <a:pos x="T4" y="T5"/>
                </a:cxn>
                <a:cxn ang="0">
                  <a:pos x="T6" y="T7"/>
                </a:cxn>
                <a:cxn ang="0">
                  <a:pos x="T8" y="T9"/>
                </a:cxn>
              </a:cxnLst>
              <a:rect l="0" t="0" r="r" b="b"/>
              <a:pathLst>
                <a:path w="96" h="115">
                  <a:moveTo>
                    <a:pt x="85" y="21"/>
                  </a:moveTo>
                  <a:cubicBezTo>
                    <a:pt x="85" y="21"/>
                    <a:pt x="96" y="33"/>
                    <a:pt x="84" y="47"/>
                  </a:cubicBezTo>
                  <a:cubicBezTo>
                    <a:pt x="52" y="88"/>
                    <a:pt x="0" y="115"/>
                    <a:pt x="2" y="89"/>
                  </a:cubicBezTo>
                  <a:cubicBezTo>
                    <a:pt x="4" y="63"/>
                    <a:pt x="44" y="17"/>
                    <a:pt x="58" y="9"/>
                  </a:cubicBezTo>
                  <a:cubicBezTo>
                    <a:pt x="73" y="0"/>
                    <a:pt x="85" y="21"/>
                    <a:pt x="85" y="21"/>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ḻïdé">
              <a:extLst>
                <a:ext uri="{FF2B5EF4-FFF2-40B4-BE49-F238E27FC236}">
                  <a16:creationId xmlns:a16="http://schemas.microsoft.com/office/drawing/2014/main" id="{AAE1E47C-17A4-4046-9B5A-18D4D0B5B175}"/>
                </a:ext>
              </a:extLst>
            </p:cNvPr>
            <p:cNvSpPr/>
            <p:nvPr/>
          </p:nvSpPr>
          <p:spPr bwMode="auto">
            <a:xfrm>
              <a:off x="5834292" y="3803939"/>
              <a:ext cx="251959" cy="521916"/>
            </a:xfrm>
            <a:custGeom>
              <a:avLst/>
              <a:gdLst>
                <a:gd name="T0" fmla="*/ 25 w 52"/>
                <a:gd name="T1" fmla="*/ 3 h 108"/>
                <a:gd name="T2" fmla="*/ 39 w 52"/>
                <a:gd name="T3" fmla="*/ 25 h 108"/>
                <a:gd name="T4" fmla="*/ 52 w 52"/>
                <a:gd name="T5" fmla="*/ 106 h 108"/>
                <a:gd name="T6" fmla="*/ 43 w 52"/>
                <a:gd name="T7" fmla="*/ 108 h 108"/>
                <a:gd name="T8" fmla="*/ 12 w 52"/>
                <a:gd name="T9" fmla="*/ 42 h 108"/>
                <a:gd name="T10" fmla="*/ 0 w 52"/>
                <a:gd name="T11" fmla="*/ 10 h 108"/>
                <a:gd name="T12" fmla="*/ 1 w 52"/>
                <a:gd name="T13" fmla="*/ 0 h 108"/>
                <a:gd name="T14" fmla="*/ 25 w 52"/>
                <a:gd name="T15" fmla="*/ 3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08">
                  <a:moveTo>
                    <a:pt x="25" y="3"/>
                  </a:moveTo>
                  <a:cubicBezTo>
                    <a:pt x="25" y="3"/>
                    <a:pt x="33" y="8"/>
                    <a:pt x="39" y="25"/>
                  </a:cubicBezTo>
                  <a:cubicBezTo>
                    <a:pt x="45" y="43"/>
                    <a:pt x="52" y="106"/>
                    <a:pt x="52" y="106"/>
                  </a:cubicBezTo>
                  <a:cubicBezTo>
                    <a:pt x="43" y="108"/>
                    <a:pt x="43" y="108"/>
                    <a:pt x="43" y="108"/>
                  </a:cubicBezTo>
                  <a:cubicBezTo>
                    <a:pt x="12" y="42"/>
                    <a:pt x="12" y="42"/>
                    <a:pt x="12" y="42"/>
                  </a:cubicBezTo>
                  <a:cubicBezTo>
                    <a:pt x="8" y="32"/>
                    <a:pt x="1" y="21"/>
                    <a:pt x="0" y="10"/>
                  </a:cubicBezTo>
                  <a:cubicBezTo>
                    <a:pt x="1" y="0"/>
                    <a:pt x="1" y="0"/>
                    <a:pt x="1" y="0"/>
                  </a:cubicBezTo>
                  <a:lnTo>
                    <a:pt x="25" y="3"/>
                  </a:lnTo>
                  <a:close/>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s1îḋê">
              <a:extLst>
                <a:ext uri="{FF2B5EF4-FFF2-40B4-BE49-F238E27FC236}">
                  <a16:creationId xmlns:a16="http://schemas.microsoft.com/office/drawing/2014/main" id="{E5B0025D-4F3C-46EF-AA55-D0DA54ACF31A}"/>
                </a:ext>
              </a:extLst>
            </p:cNvPr>
            <p:cNvSpPr/>
            <p:nvPr/>
          </p:nvSpPr>
          <p:spPr bwMode="auto">
            <a:xfrm>
              <a:off x="5936276" y="3387007"/>
              <a:ext cx="358443" cy="373440"/>
            </a:xfrm>
            <a:custGeom>
              <a:avLst/>
              <a:gdLst>
                <a:gd name="T0" fmla="*/ 65 w 74"/>
                <a:gd name="T1" fmla="*/ 21 h 77"/>
                <a:gd name="T2" fmla="*/ 36 w 74"/>
                <a:gd name="T3" fmla="*/ 9 h 77"/>
                <a:gd name="T4" fmla="*/ 0 w 74"/>
                <a:gd name="T5" fmla="*/ 47 h 77"/>
                <a:gd name="T6" fmla="*/ 40 w 74"/>
                <a:gd name="T7" fmla="*/ 77 h 77"/>
                <a:gd name="T8" fmla="*/ 62 w 74"/>
                <a:gd name="T9" fmla="*/ 54 h 77"/>
                <a:gd name="T10" fmla="*/ 65 w 74"/>
                <a:gd name="T11" fmla="*/ 21 h 77"/>
              </a:gdLst>
              <a:ahLst/>
              <a:cxnLst>
                <a:cxn ang="0">
                  <a:pos x="T0" y="T1"/>
                </a:cxn>
                <a:cxn ang="0">
                  <a:pos x="T2" y="T3"/>
                </a:cxn>
                <a:cxn ang="0">
                  <a:pos x="T4" y="T5"/>
                </a:cxn>
                <a:cxn ang="0">
                  <a:pos x="T6" y="T7"/>
                </a:cxn>
                <a:cxn ang="0">
                  <a:pos x="T8" y="T9"/>
                </a:cxn>
                <a:cxn ang="0">
                  <a:pos x="T10" y="T11"/>
                </a:cxn>
              </a:cxnLst>
              <a:rect l="0" t="0" r="r" b="b"/>
              <a:pathLst>
                <a:path w="74" h="77">
                  <a:moveTo>
                    <a:pt x="65" y="21"/>
                  </a:moveTo>
                  <a:cubicBezTo>
                    <a:pt x="65" y="21"/>
                    <a:pt x="51" y="0"/>
                    <a:pt x="36" y="9"/>
                  </a:cubicBezTo>
                  <a:cubicBezTo>
                    <a:pt x="29" y="13"/>
                    <a:pt x="13" y="29"/>
                    <a:pt x="0" y="47"/>
                  </a:cubicBezTo>
                  <a:cubicBezTo>
                    <a:pt x="12" y="52"/>
                    <a:pt x="28" y="63"/>
                    <a:pt x="40" y="77"/>
                  </a:cubicBezTo>
                  <a:cubicBezTo>
                    <a:pt x="48" y="70"/>
                    <a:pt x="56" y="62"/>
                    <a:pt x="62" y="54"/>
                  </a:cubicBezTo>
                  <a:cubicBezTo>
                    <a:pt x="74" y="39"/>
                    <a:pt x="65" y="21"/>
                    <a:pt x="65" y="21"/>
                  </a:cubicBezTo>
                </a:path>
              </a:pathLst>
            </a:custGeom>
            <a:solidFill>
              <a:srgbClr val="227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iŝliḍe">
              <a:extLst>
                <a:ext uri="{FF2B5EF4-FFF2-40B4-BE49-F238E27FC236}">
                  <a16:creationId xmlns:a16="http://schemas.microsoft.com/office/drawing/2014/main" id="{19B36887-E0C0-4DED-9EDF-9EBA93811E2C}"/>
                </a:ext>
              </a:extLst>
            </p:cNvPr>
            <p:cNvSpPr/>
            <p:nvPr/>
          </p:nvSpPr>
          <p:spPr bwMode="auto">
            <a:xfrm>
              <a:off x="6033759" y="2971574"/>
              <a:ext cx="358443" cy="556411"/>
            </a:xfrm>
            <a:custGeom>
              <a:avLst/>
              <a:gdLst>
                <a:gd name="T0" fmla="*/ 32 w 74"/>
                <a:gd name="T1" fmla="*/ 0 h 115"/>
                <a:gd name="T2" fmla="*/ 59 w 74"/>
                <a:gd name="T3" fmla="*/ 4 h 115"/>
                <a:gd name="T4" fmla="*/ 68 w 74"/>
                <a:gd name="T5" fmla="*/ 7 h 115"/>
                <a:gd name="T6" fmla="*/ 72 w 74"/>
                <a:gd name="T7" fmla="*/ 103 h 115"/>
                <a:gd name="T8" fmla="*/ 0 w 74"/>
                <a:gd name="T9" fmla="*/ 100 h 115"/>
                <a:gd name="T10" fmla="*/ 32 w 74"/>
                <a:gd name="T11" fmla="*/ 0 h 115"/>
              </a:gdLst>
              <a:ahLst/>
              <a:cxnLst>
                <a:cxn ang="0">
                  <a:pos x="T0" y="T1"/>
                </a:cxn>
                <a:cxn ang="0">
                  <a:pos x="T2" y="T3"/>
                </a:cxn>
                <a:cxn ang="0">
                  <a:pos x="T4" y="T5"/>
                </a:cxn>
                <a:cxn ang="0">
                  <a:pos x="T6" y="T7"/>
                </a:cxn>
                <a:cxn ang="0">
                  <a:pos x="T8" y="T9"/>
                </a:cxn>
                <a:cxn ang="0">
                  <a:pos x="T10" y="T11"/>
                </a:cxn>
              </a:cxnLst>
              <a:rect l="0" t="0" r="r" b="b"/>
              <a:pathLst>
                <a:path w="74" h="115">
                  <a:moveTo>
                    <a:pt x="32" y="0"/>
                  </a:moveTo>
                  <a:cubicBezTo>
                    <a:pt x="32" y="0"/>
                    <a:pt x="36" y="7"/>
                    <a:pt x="59" y="4"/>
                  </a:cubicBezTo>
                  <a:cubicBezTo>
                    <a:pt x="59" y="4"/>
                    <a:pt x="63" y="2"/>
                    <a:pt x="68" y="7"/>
                  </a:cubicBezTo>
                  <a:cubicBezTo>
                    <a:pt x="72" y="11"/>
                    <a:pt x="74" y="92"/>
                    <a:pt x="72" y="103"/>
                  </a:cubicBezTo>
                  <a:cubicBezTo>
                    <a:pt x="72" y="103"/>
                    <a:pt x="24" y="115"/>
                    <a:pt x="0" y="100"/>
                  </a:cubicBezTo>
                  <a:cubicBezTo>
                    <a:pt x="0" y="100"/>
                    <a:pt x="15" y="0"/>
                    <a:pt x="32" y="0"/>
                  </a:cubicBezTo>
                </a:path>
              </a:pathLst>
            </a:custGeom>
            <a:solidFill>
              <a:srgbClr val="C754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ŝḷíďé">
              <a:extLst>
                <a:ext uri="{FF2B5EF4-FFF2-40B4-BE49-F238E27FC236}">
                  <a16:creationId xmlns:a16="http://schemas.microsoft.com/office/drawing/2014/main" id="{90B4821F-2468-4984-9528-6A6B187BB3F3}"/>
                </a:ext>
              </a:extLst>
            </p:cNvPr>
            <p:cNvSpPr/>
            <p:nvPr/>
          </p:nvSpPr>
          <p:spPr bwMode="auto">
            <a:xfrm>
              <a:off x="6579671" y="3484492"/>
              <a:ext cx="97485" cy="184471"/>
            </a:xfrm>
            <a:custGeom>
              <a:avLst/>
              <a:gdLst>
                <a:gd name="T0" fmla="*/ 12 w 20"/>
                <a:gd name="T1" fmla="*/ 3 h 38"/>
                <a:gd name="T2" fmla="*/ 16 w 20"/>
                <a:gd name="T3" fmla="*/ 25 h 38"/>
                <a:gd name="T4" fmla="*/ 8 w 20"/>
                <a:gd name="T5" fmla="*/ 30 h 38"/>
                <a:gd name="T6" fmla="*/ 0 w 20"/>
                <a:gd name="T7" fmla="*/ 3 h 38"/>
                <a:gd name="T8" fmla="*/ 12 w 20"/>
                <a:gd name="T9" fmla="*/ 3 h 38"/>
              </a:gdLst>
              <a:ahLst/>
              <a:cxnLst>
                <a:cxn ang="0">
                  <a:pos x="T0" y="T1"/>
                </a:cxn>
                <a:cxn ang="0">
                  <a:pos x="T2" y="T3"/>
                </a:cxn>
                <a:cxn ang="0">
                  <a:pos x="T4" y="T5"/>
                </a:cxn>
                <a:cxn ang="0">
                  <a:pos x="T6" y="T7"/>
                </a:cxn>
                <a:cxn ang="0">
                  <a:pos x="T8" y="T9"/>
                </a:cxn>
              </a:cxnLst>
              <a:rect l="0" t="0" r="r" b="b"/>
              <a:pathLst>
                <a:path w="20" h="38">
                  <a:moveTo>
                    <a:pt x="12" y="3"/>
                  </a:moveTo>
                  <a:cubicBezTo>
                    <a:pt x="19" y="15"/>
                    <a:pt x="11" y="14"/>
                    <a:pt x="16" y="25"/>
                  </a:cubicBezTo>
                  <a:cubicBezTo>
                    <a:pt x="20" y="35"/>
                    <a:pt x="12" y="38"/>
                    <a:pt x="8" y="30"/>
                  </a:cubicBezTo>
                  <a:cubicBezTo>
                    <a:pt x="1" y="19"/>
                    <a:pt x="0" y="3"/>
                    <a:pt x="0" y="3"/>
                  </a:cubicBezTo>
                  <a:cubicBezTo>
                    <a:pt x="0" y="3"/>
                    <a:pt x="11" y="0"/>
                    <a:pt x="12" y="3"/>
                  </a:cubicBezTo>
                  <a:close/>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îŝľîḍê">
              <a:extLst>
                <a:ext uri="{FF2B5EF4-FFF2-40B4-BE49-F238E27FC236}">
                  <a16:creationId xmlns:a16="http://schemas.microsoft.com/office/drawing/2014/main" id="{A5934DA9-4C5F-4A52-9704-6C05679BB491}"/>
                </a:ext>
              </a:extLst>
            </p:cNvPr>
            <p:cNvSpPr/>
            <p:nvPr/>
          </p:nvSpPr>
          <p:spPr bwMode="auto">
            <a:xfrm>
              <a:off x="6105748" y="2575638"/>
              <a:ext cx="323948" cy="230963"/>
            </a:xfrm>
            <a:custGeom>
              <a:avLst/>
              <a:gdLst>
                <a:gd name="T0" fmla="*/ 47 w 67"/>
                <a:gd name="T1" fmla="*/ 41 h 48"/>
                <a:gd name="T2" fmla="*/ 14 w 67"/>
                <a:gd name="T3" fmla="*/ 28 h 48"/>
                <a:gd name="T4" fmla="*/ 14 w 67"/>
                <a:gd name="T5" fmla="*/ 4 h 48"/>
                <a:gd name="T6" fmla="*/ 59 w 67"/>
                <a:gd name="T7" fmla="*/ 23 h 48"/>
                <a:gd name="T8" fmla="*/ 47 w 67"/>
                <a:gd name="T9" fmla="*/ 41 h 48"/>
              </a:gdLst>
              <a:ahLst/>
              <a:cxnLst>
                <a:cxn ang="0">
                  <a:pos x="T0" y="T1"/>
                </a:cxn>
                <a:cxn ang="0">
                  <a:pos x="T2" y="T3"/>
                </a:cxn>
                <a:cxn ang="0">
                  <a:pos x="T4" y="T5"/>
                </a:cxn>
                <a:cxn ang="0">
                  <a:pos x="T6" y="T7"/>
                </a:cxn>
                <a:cxn ang="0">
                  <a:pos x="T8" y="T9"/>
                </a:cxn>
              </a:cxnLst>
              <a:rect l="0" t="0" r="r" b="b"/>
              <a:pathLst>
                <a:path w="67" h="48">
                  <a:moveTo>
                    <a:pt x="47" y="41"/>
                  </a:moveTo>
                  <a:cubicBezTo>
                    <a:pt x="47" y="41"/>
                    <a:pt x="25" y="36"/>
                    <a:pt x="14" y="28"/>
                  </a:cubicBezTo>
                  <a:cubicBezTo>
                    <a:pt x="3" y="20"/>
                    <a:pt x="0" y="7"/>
                    <a:pt x="14" y="4"/>
                  </a:cubicBezTo>
                  <a:cubicBezTo>
                    <a:pt x="28" y="0"/>
                    <a:pt x="53" y="0"/>
                    <a:pt x="59" y="23"/>
                  </a:cubicBezTo>
                  <a:cubicBezTo>
                    <a:pt x="67" y="48"/>
                    <a:pt x="47" y="41"/>
                    <a:pt x="47" y="41"/>
                  </a:cubicBezTo>
                  <a:close/>
                </a:path>
              </a:pathLst>
            </a:custGeom>
            <a:solidFill>
              <a:srgbClr val="393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ṡľíḓe">
              <a:extLst>
                <a:ext uri="{FF2B5EF4-FFF2-40B4-BE49-F238E27FC236}">
                  <a16:creationId xmlns:a16="http://schemas.microsoft.com/office/drawing/2014/main" id="{1DA368E9-987A-4826-A011-D6CAEF4339A8}"/>
                </a:ext>
              </a:extLst>
            </p:cNvPr>
            <p:cNvSpPr/>
            <p:nvPr/>
          </p:nvSpPr>
          <p:spPr bwMode="auto">
            <a:xfrm>
              <a:off x="6314215" y="2739111"/>
              <a:ext cx="58491" cy="101984"/>
            </a:xfrm>
            <a:custGeom>
              <a:avLst/>
              <a:gdLst>
                <a:gd name="T0" fmla="*/ 0 w 12"/>
                <a:gd name="T1" fmla="*/ 10 h 21"/>
                <a:gd name="T2" fmla="*/ 9 w 12"/>
                <a:gd name="T3" fmla="*/ 8 h 21"/>
                <a:gd name="T4" fmla="*/ 0 w 12"/>
                <a:gd name="T5" fmla="*/ 18 h 21"/>
              </a:gdLst>
              <a:ahLst/>
              <a:cxnLst>
                <a:cxn ang="0">
                  <a:pos x="T0" y="T1"/>
                </a:cxn>
                <a:cxn ang="0">
                  <a:pos x="T2" y="T3"/>
                </a:cxn>
                <a:cxn ang="0">
                  <a:pos x="T4" y="T5"/>
                </a:cxn>
              </a:cxnLst>
              <a:rect l="0" t="0" r="r" b="b"/>
              <a:pathLst>
                <a:path w="12" h="21">
                  <a:moveTo>
                    <a:pt x="0" y="10"/>
                  </a:moveTo>
                  <a:cubicBezTo>
                    <a:pt x="0" y="10"/>
                    <a:pt x="6" y="0"/>
                    <a:pt x="9" y="8"/>
                  </a:cubicBezTo>
                  <a:cubicBezTo>
                    <a:pt x="12" y="16"/>
                    <a:pt x="1" y="21"/>
                    <a:pt x="0" y="18"/>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ṩḷïḍê">
              <a:extLst>
                <a:ext uri="{FF2B5EF4-FFF2-40B4-BE49-F238E27FC236}">
                  <a16:creationId xmlns:a16="http://schemas.microsoft.com/office/drawing/2014/main" id="{30A28770-0527-4911-9C4F-2CFDFB6280E0}"/>
                </a:ext>
              </a:extLst>
            </p:cNvPr>
            <p:cNvSpPr/>
            <p:nvPr/>
          </p:nvSpPr>
          <p:spPr bwMode="auto">
            <a:xfrm>
              <a:off x="6362207" y="2599634"/>
              <a:ext cx="136478" cy="182970"/>
            </a:xfrm>
            <a:custGeom>
              <a:avLst/>
              <a:gdLst>
                <a:gd name="T0" fmla="*/ 1 w 28"/>
                <a:gd name="T1" fmla="*/ 13 h 38"/>
                <a:gd name="T2" fmla="*/ 18 w 28"/>
                <a:gd name="T3" fmla="*/ 7 h 38"/>
                <a:gd name="T4" fmla="*/ 13 w 28"/>
                <a:gd name="T5" fmla="*/ 34 h 38"/>
                <a:gd name="T6" fmla="*/ 1 w 28"/>
                <a:gd name="T7" fmla="*/ 13 h 38"/>
              </a:gdLst>
              <a:ahLst/>
              <a:cxnLst>
                <a:cxn ang="0">
                  <a:pos x="T0" y="T1"/>
                </a:cxn>
                <a:cxn ang="0">
                  <a:pos x="T2" y="T3"/>
                </a:cxn>
                <a:cxn ang="0">
                  <a:pos x="T4" y="T5"/>
                </a:cxn>
                <a:cxn ang="0">
                  <a:pos x="T6" y="T7"/>
                </a:cxn>
              </a:cxnLst>
              <a:rect l="0" t="0" r="r" b="b"/>
              <a:pathLst>
                <a:path w="28" h="38">
                  <a:moveTo>
                    <a:pt x="1" y="13"/>
                  </a:moveTo>
                  <a:cubicBezTo>
                    <a:pt x="1" y="13"/>
                    <a:pt x="9" y="0"/>
                    <a:pt x="18" y="7"/>
                  </a:cubicBezTo>
                  <a:cubicBezTo>
                    <a:pt x="28" y="14"/>
                    <a:pt x="26" y="38"/>
                    <a:pt x="13" y="34"/>
                  </a:cubicBezTo>
                  <a:cubicBezTo>
                    <a:pt x="0" y="31"/>
                    <a:pt x="1" y="13"/>
                    <a:pt x="1" y="13"/>
                  </a:cubicBezTo>
                  <a:close/>
                </a:path>
              </a:pathLst>
            </a:custGeom>
            <a:solidFill>
              <a:srgbClr val="393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iŝlîḑê">
              <a:extLst>
                <a:ext uri="{FF2B5EF4-FFF2-40B4-BE49-F238E27FC236}">
                  <a16:creationId xmlns:a16="http://schemas.microsoft.com/office/drawing/2014/main" id="{E8352D0D-C632-4D25-B176-BC79399EEC2D}"/>
                </a:ext>
              </a:extLst>
            </p:cNvPr>
            <p:cNvSpPr/>
            <p:nvPr/>
          </p:nvSpPr>
          <p:spPr bwMode="auto">
            <a:xfrm>
              <a:off x="5640823" y="2980573"/>
              <a:ext cx="590905" cy="232463"/>
            </a:xfrm>
            <a:custGeom>
              <a:avLst/>
              <a:gdLst>
                <a:gd name="T0" fmla="*/ 394 w 394"/>
                <a:gd name="T1" fmla="*/ 117 h 155"/>
                <a:gd name="T2" fmla="*/ 184 w 394"/>
                <a:gd name="T3" fmla="*/ 155 h 155"/>
                <a:gd name="T4" fmla="*/ 0 w 394"/>
                <a:gd name="T5" fmla="*/ 52 h 155"/>
                <a:gd name="T6" fmla="*/ 32 w 394"/>
                <a:gd name="T7" fmla="*/ 4 h 155"/>
                <a:gd name="T8" fmla="*/ 191 w 394"/>
                <a:gd name="T9" fmla="*/ 81 h 155"/>
                <a:gd name="T10" fmla="*/ 362 w 394"/>
                <a:gd name="T11" fmla="*/ 0 h 155"/>
                <a:gd name="T12" fmla="*/ 394 w 394"/>
                <a:gd name="T13" fmla="*/ 117 h 155"/>
              </a:gdLst>
              <a:ahLst/>
              <a:cxnLst>
                <a:cxn ang="0">
                  <a:pos x="T0" y="T1"/>
                </a:cxn>
                <a:cxn ang="0">
                  <a:pos x="T2" y="T3"/>
                </a:cxn>
                <a:cxn ang="0">
                  <a:pos x="T4" y="T5"/>
                </a:cxn>
                <a:cxn ang="0">
                  <a:pos x="T6" y="T7"/>
                </a:cxn>
                <a:cxn ang="0">
                  <a:pos x="T8" y="T9"/>
                </a:cxn>
                <a:cxn ang="0">
                  <a:pos x="T10" y="T11"/>
                </a:cxn>
                <a:cxn ang="0">
                  <a:pos x="T12" y="T13"/>
                </a:cxn>
              </a:cxnLst>
              <a:rect l="0" t="0" r="r" b="b"/>
              <a:pathLst>
                <a:path w="394" h="155">
                  <a:moveTo>
                    <a:pt x="394" y="117"/>
                  </a:moveTo>
                  <a:lnTo>
                    <a:pt x="184" y="155"/>
                  </a:lnTo>
                  <a:lnTo>
                    <a:pt x="0" y="52"/>
                  </a:lnTo>
                  <a:lnTo>
                    <a:pt x="32" y="4"/>
                  </a:lnTo>
                  <a:lnTo>
                    <a:pt x="191" y="81"/>
                  </a:lnTo>
                  <a:lnTo>
                    <a:pt x="362" y="0"/>
                  </a:lnTo>
                  <a:lnTo>
                    <a:pt x="394" y="117"/>
                  </a:lnTo>
                  <a:close/>
                </a:path>
              </a:pathLst>
            </a:custGeom>
            <a:solidFill>
              <a:srgbClr val="C754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šḷîḋê">
              <a:extLst>
                <a:ext uri="{FF2B5EF4-FFF2-40B4-BE49-F238E27FC236}">
                  <a16:creationId xmlns:a16="http://schemas.microsoft.com/office/drawing/2014/main" id="{3169CD2D-E3A6-4518-ACCF-B3B8A299EF23}"/>
                </a:ext>
              </a:extLst>
            </p:cNvPr>
            <p:cNvSpPr/>
            <p:nvPr/>
          </p:nvSpPr>
          <p:spPr bwMode="auto">
            <a:xfrm>
              <a:off x="5640823" y="2980573"/>
              <a:ext cx="590905" cy="232463"/>
            </a:xfrm>
            <a:custGeom>
              <a:avLst/>
              <a:gdLst>
                <a:gd name="T0" fmla="*/ 394 w 394"/>
                <a:gd name="T1" fmla="*/ 117 h 155"/>
                <a:gd name="T2" fmla="*/ 184 w 394"/>
                <a:gd name="T3" fmla="*/ 155 h 155"/>
                <a:gd name="T4" fmla="*/ 0 w 394"/>
                <a:gd name="T5" fmla="*/ 52 h 155"/>
                <a:gd name="T6" fmla="*/ 32 w 394"/>
                <a:gd name="T7" fmla="*/ 4 h 155"/>
                <a:gd name="T8" fmla="*/ 191 w 394"/>
                <a:gd name="T9" fmla="*/ 81 h 155"/>
                <a:gd name="T10" fmla="*/ 362 w 394"/>
                <a:gd name="T11" fmla="*/ 0 h 155"/>
                <a:gd name="T12" fmla="*/ 394 w 394"/>
                <a:gd name="T13" fmla="*/ 117 h 155"/>
              </a:gdLst>
              <a:ahLst/>
              <a:cxnLst>
                <a:cxn ang="0">
                  <a:pos x="T0" y="T1"/>
                </a:cxn>
                <a:cxn ang="0">
                  <a:pos x="T2" y="T3"/>
                </a:cxn>
                <a:cxn ang="0">
                  <a:pos x="T4" y="T5"/>
                </a:cxn>
                <a:cxn ang="0">
                  <a:pos x="T6" y="T7"/>
                </a:cxn>
                <a:cxn ang="0">
                  <a:pos x="T8" y="T9"/>
                </a:cxn>
                <a:cxn ang="0">
                  <a:pos x="T10" y="T11"/>
                </a:cxn>
                <a:cxn ang="0">
                  <a:pos x="T12" y="T13"/>
                </a:cxn>
              </a:cxnLst>
              <a:rect l="0" t="0" r="r" b="b"/>
              <a:pathLst>
                <a:path w="394" h="155">
                  <a:moveTo>
                    <a:pt x="394" y="117"/>
                  </a:moveTo>
                  <a:lnTo>
                    <a:pt x="184" y="155"/>
                  </a:lnTo>
                  <a:lnTo>
                    <a:pt x="0" y="52"/>
                  </a:lnTo>
                  <a:lnTo>
                    <a:pt x="32" y="4"/>
                  </a:lnTo>
                  <a:lnTo>
                    <a:pt x="191" y="81"/>
                  </a:lnTo>
                  <a:lnTo>
                    <a:pt x="362" y="0"/>
                  </a:lnTo>
                  <a:lnTo>
                    <a:pt x="394" y="1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 name="íśḷíḋè">
              <a:extLst>
                <a:ext uri="{FF2B5EF4-FFF2-40B4-BE49-F238E27FC236}">
                  <a16:creationId xmlns:a16="http://schemas.microsoft.com/office/drawing/2014/main" id="{A0D55357-94D9-480F-B143-47F91C2CF86E}"/>
                </a:ext>
              </a:extLst>
            </p:cNvPr>
            <p:cNvSpPr/>
            <p:nvPr/>
          </p:nvSpPr>
          <p:spPr bwMode="auto">
            <a:xfrm>
              <a:off x="6053257" y="3180040"/>
              <a:ext cx="32995" cy="8999"/>
            </a:xfrm>
            <a:custGeom>
              <a:avLst/>
              <a:gdLst>
                <a:gd name="T0" fmla="*/ 7 w 7"/>
                <a:gd name="T1" fmla="*/ 0 h 2"/>
                <a:gd name="T2" fmla="*/ 0 w 7"/>
                <a:gd name="T3" fmla="*/ 2 h 2"/>
                <a:gd name="T4" fmla="*/ 7 w 7"/>
                <a:gd name="T5" fmla="*/ 1 h 2"/>
                <a:gd name="T6" fmla="*/ 7 w 7"/>
                <a:gd name="T7" fmla="*/ 0 h 2"/>
              </a:gdLst>
              <a:ahLst/>
              <a:cxnLst>
                <a:cxn ang="0">
                  <a:pos x="T0" y="T1"/>
                </a:cxn>
                <a:cxn ang="0">
                  <a:pos x="T2" y="T3"/>
                </a:cxn>
                <a:cxn ang="0">
                  <a:pos x="T4" y="T5"/>
                </a:cxn>
                <a:cxn ang="0">
                  <a:pos x="T6" y="T7"/>
                </a:cxn>
              </a:cxnLst>
              <a:rect l="0" t="0" r="r" b="b"/>
              <a:pathLst>
                <a:path w="7" h="2">
                  <a:moveTo>
                    <a:pt x="7" y="0"/>
                  </a:moveTo>
                  <a:cubicBezTo>
                    <a:pt x="0" y="2"/>
                    <a:pt x="0" y="2"/>
                    <a:pt x="0" y="2"/>
                  </a:cubicBezTo>
                  <a:cubicBezTo>
                    <a:pt x="7" y="1"/>
                    <a:pt x="7" y="1"/>
                    <a:pt x="7" y="1"/>
                  </a:cubicBezTo>
                  <a:cubicBezTo>
                    <a:pt x="7" y="1"/>
                    <a:pt x="7" y="0"/>
                    <a:pt x="7" y="0"/>
                  </a:cubicBezTo>
                </a:path>
              </a:pathLst>
            </a:custGeom>
            <a:solidFill>
              <a:srgbClr val="75A1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íŝḷiḑê">
              <a:extLst>
                <a:ext uri="{FF2B5EF4-FFF2-40B4-BE49-F238E27FC236}">
                  <a16:creationId xmlns:a16="http://schemas.microsoft.com/office/drawing/2014/main" id="{EAFD74AD-F1E0-4221-8A10-4055B82DC086}"/>
                </a:ext>
              </a:extLst>
            </p:cNvPr>
            <p:cNvSpPr/>
            <p:nvPr/>
          </p:nvSpPr>
          <p:spPr bwMode="auto">
            <a:xfrm>
              <a:off x="6086251" y="3180040"/>
              <a:ext cx="4500" cy="4500"/>
            </a:xfrm>
            <a:custGeom>
              <a:avLst/>
              <a:gdLst>
                <a:gd name="T0" fmla="*/ 1 w 1"/>
                <a:gd name="T1" fmla="*/ 0 h 1"/>
                <a:gd name="T2" fmla="*/ 0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0" y="0"/>
                    <a:pt x="0" y="1"/>
                    <a:pt x="0" y="1"/>
                  </a:cubicBezTo>
                  <a:cubicBezTo>
                    <a:pt x="1" y="1"/>
                    <a:pt x="1" y="1"/>
                    <a:pt x="1" y="1"/>
                  </a:cubicBezTo>
                  <a:cubicBezTo>
                    <a:pt x="1" y="0"/>
                    <a:pt x="1" y="0"/>
                    <a:pt x="1" y="0"/>
                  </a:cubicBezTo>
                </a:path>
              </a:pathLst>
            </a:custGeom>
            <a:solidFill>
              <a:srgbClr val="B139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ṧ1iḋê">
              <a:extLst>
                <a:ext uri="{FF2B5EF4-FFF2-40B4-BE49-F238E27FC236}">
                  <a16:creationId xmlns:a16="http://schemas.microsoft.com/office/drawing/2014/main" id="{1CE1CB54-5A7C-48D5-A004-A2834D48C84A}"/>
                </a:ext>
              </a:extLst>
            </p:cNvPr>
            <p:cNvSpPr/>
            <p:nvPr/>
          </p:nvSpPr>
          <p:spPr bwMode="auto">
            <a:xfrm>
              <a:off x="6053257" y="3030064"/>
              <a:ext cx="95984" cy="158974"/>
            </a:xfrm>
            <a:custGeom>
              <a:avLst/>
              <a:gdLst>
                <a:gd name="T0" fmla="*/ 64 w 64"/>
                <a:gd name="T1" fmla="*/ 0 h 106"/>
                <a:gd name="T2" fmla="*/ 0 w 64"/>
                <a:gd name="T3" fmla="*/ 106 h 106"/>
                <a:gd name="T4" fmla="*/ 0 w 64"/>
                <a:gd name="T5" fmla="*/ 106 h 106"/>
                <a:gd name="T6" fmla="*/ 22 w 64"/>
                <a:gd name="T7" fmla="*/ 100 h 106"/>
                <a:gd name="T8" fmla="*/ 25 w 64"/>
                <a:gd name="T9" fmla="*/ 100 h 106"/>
                <a:gd name="T10" fmla="*/ 64 w 64"/>
                <a:gd name="T11" fmla="*/ 0 h 106"/>
              </a:gdLst>
              <a:ahLst/>
              <a:cxnLst>
                <a:cxn ang="0">
                  <a:pos x="T0" y="T1"/>
                </a:cxn>
                <a:cxn ang="0">
                  <a:pos x="T2" y="T3"/>
                </a:cxn>
                <a:cxn ang="0">
                  <a:pos x="T4" y="T5"/>
                </a:cxn>
                <a:cxn ang="0">
                  <a:pos x="T6" y="T7"/>
                </a:cxn>
                <a:cxn ang="0">
                  <a:pos x="T8" y="T9"/>
                </a:cxn>
                <a:cxn ang="0">
                  <a:pos x="T10" y="T11"/>
                </a:cxn>
              </a:cxnLst>
              <a:rect l="0" t="0" r="r" b="b"/>
              <a:pathLst>
                <a:path w="64" h="106">
                  <a:moveTo>
                    <a:pt x="64" y="0"/>
                  </a:moveTo>
                  <a:lnTo>
                    <a:pt x="0" y="106"/>
                  </a:lnTo>
                  <a:lnTo>
                    <a:pt x="0" y="106"/>
                  </a:lnTo>
                  <a:lnTo>
                    <a:pt x="22" y="100"/>
                  </a:lnTo>
                  <a:lnTo>
                    <a:pt x="25" y="100"/>
                  </a:lnTo>
                  <a:lnTo>
                    <a:pt x="64" y="0"/>
                  </a:lnTo>
                  <a:close/>
                </a:path>
              </a:pathLst>
            </a:custGeom>
            <a:solidFill>
              <a:srgbClr val="B139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íṩľîdè">
              <a:extLst>
                <a:ext uri="{FF2B5EF4-FFF2-40B4-BE49-F238E27FC236}">
                  <a16:creationId xmlns:a16="http://schemas.microsoft.com/office/drawing/2014/main" id="{A4942752-D6A4-42E1-BF74-E2C4D4426574}"/>
                </a:ext>
              </a:extLst>
            </p:cNvPr>
            <p:cNvSpPr/>
            <p:nvPr/>
          </p:nvSpPr>
          <p:spPr bwMode="auto">
            <a:xfrm>
              <a:off x="6053257" y="3030064"/>
              <a:ext cx="95984" cy="158974"/>
            </a:xfrm>
            <a:custGeom>
              <a:avLst/>
              <a:gdLst>
                <a:gd name="T0" fmla="*/ 64 w 64"/>
                <a:gd name="T1" fmla="*/ 0 h 106"/>
                <a:gd name="T2" fmla="*/ 0 w 64"/>
                <a:gd name="T3" fmla="*/ 106 h 106"/>
                <a:gd name="T4" fmla="*/ 0 w 64"/>
                <a:gd name="T5" fmla="*/ 106 h 106"/>
                <a:gd name="T6" fmla="*/ 22 w 64"/>
                <a:gd name="T7" fmla="*/ 100 h 106"/>
                <a:gd name="T8" fmla="*/ 25 w 64"/>
                <a:gd name="T9" fmla="*/ 100 h 106"/>
                <a:gd name="T10" fmla="*/ 64 w 64"/>
                <a:gd name="T11" fmla="*/ 0 h 106"/>
              </a:gdLst>
              <a:ahLst/>
              <a:cxnLst>
                <a:cxn ang="0">
                  <a:pos x="T0" y="T1"/>
                </a:cxn>
                <a:cxn ang="0">
                  <a:pos x="T2" y="T3"/>
                </a:cxn>
                <a:cxn ang="0">
                  <a:pos x="T4" y="T5"/>
                </a:cxn>
                <a:cxn ang="0">
                  <a:pos x="T6" y="T7"/>
                </a:cxn>
                <a:cxn ang="0">
                  <a:pos x="T8" y="T9"/>
                </a:cxn>
                <a:cxn ang="0">
                  <a:pos x="T10" y="T11"/>
                </a:cxn>
              </a:cxnLst>
              <a:rect l="0" t="0" r="r" b="b"/>
              <a:pathLst>
                <a:path w="64" h="106">
                  <a:moveTo>
                    <a:pt x="64" y="0"/>
                  </a:moveTo>
                  <a:lnTo>
                    <a:pt x="0" y="106"/>
                  </a:lnTo>
                  <a:lnTo>
                    <a:pt x="0" y="106"/>
                  </a:lnTo>
                  <a:lnTo>
                    <a:pt x="22" y="100"/>
                  </a:lnTo>
                  <a:lnTo>
                    <a:pt x="25" y="100"/>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ş1îḓé">
              <a:extLst>
                <a:ext uri="{FF2B5EF4-FFF2-40B4-BE49-F238E27FC236}">
                  <a16:creationId xmlns:a16="http://schemas.microsoft.com/office/drawing/2014/main" id="{029BAE9D-EB48-4111-B0A6-11A8F87DAB58}"/>
                </a:ext>
              </a:extLst>
            </p:cNvPr>
            <p:cNvSpPr/>
            <p:nvPr/>
          </p:nvSpPr>
          <p:spPr bwMode="auto">
            <a:xfrm>
              <a:off x="6386203" y="3373509"/>
              <a:ext cx="0" cy="52492"/>
            </a:xfrm>
            <a:custGeom>
              <a:avLst/>
              <a:gdLst>
                <a:gd name="T0" fmla="*/ 0 h 11"/>
                <a:gd name="T1" fmla="*/ 10 h 11"/>
                <a:gd name="T2" fmla="*/ 11 h 11"/>
                <a:gd name="T3" fmla="*/ 0 h 11"/>
              </a:gdLst>
              <a:ahLst/>
              <a:cxnLst>
                <a:cxn ang="0">
                  <a:pos x="0" y="T0"/>
                </a:cxn>
                <a:cxn ang="0">
                  <a:pos x="0" y="T1"/>
                </a:cxn>
                <a:cxn ang="0">
                  <a:pos x="0" y="T2"/>
                </a:cxn>
                <a:cxn ang="0">
                  <a:pos x="0" y="T3"/>
                </a:cxn>
              </a:cxnLst>
              <a:rect l="0" t="0" r="r" b="b"/>
              <a:pathLst>
                <a:path h="11">
                  <a:moveTo>
                    <a:pt x="0" y="0"/>
                  </a:moveTo>
                  <a:cubicBezTo>
                    <a:pt x="0" y="4"/>
                    <a:pt x="0" y="7"/>
                    <a:pt x="0" y="10"/>
                  </a:cubicBezTo>
                  <a:cubicBezTo>
                    <a:pt x="0" y="11"/>
                    <a:pt x="0" y="11"/>
                    <a:pt x="0" y="11"/>
                  </a:cubicBezTo>
                  <a:cubicBezTo>
                    <a:pt x="0" y="0"/>
                    <a:pt x="0" y="0"/>
                    <a:pt x="0" y="0"/>
                  </a:cubicBezTo>
                </a:path>
              </a:pathLst>
            </a:custGeom>
            <a:solidFill>
              <a:srgbClr val="75A1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ṩlídè">
              <a:extLst>
                <a:ext uri="{FF2B5EF4-FFF2-40B4-BE49-F238E27FC236}">
                  <a16:creationId xmlns:a16="http://schemas.microsoft.com/office/drawing/2014/main" id="{1479E59F-5120-4663-BF98-03CF79B5EA6E}"/>
                </a:ext>
              </a:extLst>
            </p:cNvPr>
            <p:cNvSpPr/>
            <p:nvPr/>
          </p:nvSpPr>
          <p:spPr bwMode="auto">
            <a:xfrm>
              <a:off x="6329212" y="3199538"/>
              <a:ext cx="56991" cy="221964"/>
            </a:xfrm>
            <a:custGeom>
              <a:avLst/>
              <a:gdLst>
                <a:gd name="T0" fmla="*/ 0 w 12"/>
                <a:gd name="T1" fmla="*/ 0 h 46"/>
                <a:gd name="T2" fmla="*/ 12 w 12"/>
                <a:gd name="T3" fmla="*/ 46 h 46"/>
                <a:gd name="T4" fmla="*/ 12 w 12"/>
                <a:gd name="T5" fmla="*/ 36 h 46"/>
                <a:gd name="T6" fmla="*/ 12 w 12"/>
                <a:gd name="T7" fmla="*/ 11 h 46"/>
                <a:gd name="T8" fmla="*/ 0 w 12"/>
                <a:gd name="T9" fmla="*/ 0 h 46"/>
              </a:gdLst>
              <a:ahLst/>
              <a:cxnLst>
                <a:cxn ang="0">
                  <a:pos x="T0" y="T1"/>
                </a:cxn>
                <a:cxn ang="0">
                  <a:pos x="T2" y="T3"/>
                </a:cxn>
                <a:cxn ang="0">
                  <a:pos x="T4" y="T5"/>
                </a:cxn>
                <a:cxn ang="0">
                  <a:pos x="T6" y="T7"/>
                </a:cxn>
                <a:cxn ang="0">
                  <a:pos x="T8" y="T9"/>
                </a:cxn>
              </a:cxnLst>
              <a:rect l="0" t="0" r="r" b="b"/>
              <a:pathLst>
                <a:path w="12" h="46">
                  <a:moveTo>
                    <a:pt x="0" y="0"/>
                  </a:moveTo>
                  <a:cubicBezTo>
                    <a:pt x="12" y="46"/>
                    <a:pt x="12" y="46"/>
                    <a:pt x="12" y="46"/>
                  </a:cubicBezTo>
                  <a:cubicBezTo>
                    <a:pt x="12" y="43"/>
                    <a:pt x="12" y="40"/>
                    <a:pt x="12" y="36"/>
                  </a:cubicBezTo>
                  <a:cubicBezTo>
                    <a:pt x="12" y="11"/>
                    <a:pt x="12" y="11"/>
                    <a:pt x="12" y="11"/>
                  </a:cubicBezTo>
                  <a:cubicBezTo>
                    <a:pt x="0" y="0"/>
                    <a:pt x="0" y="0"/>
                    <a:pt x="0" y="0"/>
                  </a:cubicBezTo>
                </a:path>
              </a:pathLst>
            </a:custGeom>
            <a:solidFill>
              <a:srgbClr val="B139D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íṩlíḑé">
              <a:extLst>
                <a:ext uri="{FF2B5EF4-FFF2-40B4-BE49-F238E27FC236}">
                  <a16:creationId xmlns:a16="http://schemas.microsoft.com/office/drawing/2014/main" id="{F6AB2A15-7CD6-4906-BB66-858236DC5F91}"/>
                </a:ext>
              </a:extLst>
            </p:cNvPr>
            <p:cNvSpPr/>
            <p:nvPr/>
          </p:nvSpPr>
          <p:spPr bwMode="auto">
            <a:xfrm>
              <a:off x="6323213" y="2991071"/>
              <a:ext cx="338945" cy="560909"/>
            </a:xfrm>
            <a:custGeom>
              <a:avLst/>
              <a:gdLst>
                <a:gd name="T0" fmla="*/ 16 w 226"/>
                <a:gd name="T1" fmla="*/ 0 h 374"/>
                <a:gd name="T2" fmla="*/ 155 w 226"/>
                <a:gd name="T3" fmla="*/ 181 h 374"/>
                <a:gd name="T4" fmla="*/ 226 w 226"/>
                <a:gd name="T5" fmla="*/ 348 h 374"/>
                <a:gd name="T6" fmla="*/ 171 w 226"/>
                <a:gd name="T7" fmla="*/ 374 h 374"/>
                <a:gd name="T8" fmla="*/ 100 w 226"/>
                <a:gd name="T9" fmla="*/ 223 h 374"/>
                <a:gd name="T10" fmla="*/ 0 w 226"/>
                <a:gd name="T11" fmla="*/ 142 h 374"/>
                <a:gd name="T12" fmla="*/ 16 w 226"/>
                <a:gd name="T13" fmla="*/ 0 h 374"/>
              </a:gdLst>
              <a:ahLst/>
              <a:cxnLst>
                <a:cxn ang="0">
                  <a:pos x="T0" y="T1"/>
                </a:cxn>
                <a:cxn ang="0">
                  <a:pos x="T2" y="T3"/>
                </a:cxn>
                <a:cxn ang="0">
                  <a:pos x="T4" y="T5"/>
                </a:cxn>
                <a:cxn ang="0">
                  <a:pos x="T6" y="T7"/>
                </a:cxn>
                <a:cxn ang="0">
                  <a:pos x="T8" y="T9"/>
                </a:cxn>
                <a:cxn ang="0">
                  <a:pos x="T10" y="T11"/>
                </a:cxn>
                <a:cxn ang="0">
                  <a:pos x="T12" y="T13"/>
                </a:cxn>
              </a:cxnLst>
              <a:rect l="0" t="0" r="r" b="b"/>
              <a:pathLst>
                <a:path w="226" h="374">
                  <a:moveTo>
                    <a:pt x="16" y="0"/>
                  </a:moveTo>
                  <a:lnTo>
                    <a:pt x="155" y="181"/>
                  </a:lnTo>
                  <a:lnTo>
                    <a:pt x="226" y="348"/>
                  </a:lnTo>
                  <a:lnTo>
                    <a:pt x="171" y="374"/>
                  </a:lnTo>
                  <a:lnTo>
                    <a:pt x="100" y="223"/>
                  </a:lnTo>
                  <a:lnTo>
                    <a:pt x="0" y="142"/>
                  </a:lnTo>
                  <a:lnTo>
                    <a:pt x="16" y="0"/>
                  </a:lnTo>
                  <a:close/>
                </a:path>
              </a:pathLst>
            </a:custGeom>
            <a:solidFill>
              <a:srgbClr val="C754D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ís1ídê">
              <a:extLst>
                <a:ext uri="{FF2B5EF4-FFF2-40B4-BE49-F238E27FC236}">
                  <a16:creationId xmlns:a16="http://schemas.microsoft.com/office/drawing/2014/main" id="{3CB5F5B0-A023-41F8-A63D-26F2F01E91E2}"/>
                </a:ext>
              </a:extLst>
            </p:cNvPr>
            <p:cNvSpPr/>
            <p:nvPr/>
          </p:nvSpPr>
          <p:spPr bwMode="auto">
            <a:xfrm>
              <a:off x="6116246" y="3712455"/>
              <a:ext cx="67490" cy="47992"/>
            </a:xfrm>
            <a:custGeom>
              <a:avLst/>
              <a:gdLst>
                <a:gd name="T0" fmla="*/ 0 w 14"/>
                <a:gd name="T1" fmla="*/ 6 h 10"/>
                <a:gd name="T2" fmla="*/ 0 w 14"/>
                <a:gd name="T3" fmla="*/ 7 h 10"/>
                <a:gd name="T4" fmla="*/ 2 w 14"/>
                <a:gd name="T5" fmla="*/ 10 h 10"/>
                <a:gd name="T6" fmla="*/ 3 w 14"/>
                <a:gd name="T7" fmla="*/ 9 h 10"/>
                <a:gd name="T8" fmla="*/ 0 w 14"/>
                <a:gd name="T9" fmla="*/ 6 h 10"/>
                <a:gd name="T10" fmla="*/ 14 w 14"/>
                <a:gd name="T11" fmla="*/ 0 h 10"/>
                <a:gd name="T12" fmla="*/ 8 w 14"/>
                <a:gd name="T13" fmla="*/ 5 h 10"/>
                <a:gd name="T14" fmla="*/ 14 w 14"/>
                <a:gd name="T15" fmla="*/ 1 h 10"/>
                <a:gd name="T16" fmla="*/ 14 w 1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0">
                  <a:moveTo>
                    <a:pt x="0" y="6"/>
                  </a:moveTo>
                  <a:cubicBezTo>
                    <a:pt x="0" y="6"/>
                    <a:pt x="0" y="7"/>
                    <a:pt x="0" y="7"/>
                  </a:cubicBezTo>
                  <a:cubicBezTo>
                    <a:pt x="1" y="8"/>
                    <a:pt x="2" y="10"/>
                    <a:pt x="2" y="10"/>
                  </a:cubicBezTo>
                  <a:cubicBezTo>
                    <a:pt x="3" y="9"/>
                    <a:pt x="3" y="9"/>
                    <a:pt x="3" y="9"/>
                  </a:cubicBezTo>
                  <a:cubicBezTo>
                    <a:pt x="2" y="8"/>
                    <a:pt x="1" y="7"/>
                    <a:pt x="0" y="6"/>
                  </a:cubicBezTo>
                  <a:moveTo>
                    <a:pt x="14" y="0"/>
                  </a:moveTo>
                  <a:cubicBezTo>
                    <a:pt x="12" y="2"/>
                    <a:pt x="10" y="4"/>
                    <a:pt x="8" y="5"/>
                  </a:cubicBezTo>
                  <a:cubicBezTo>
                    <a:pt x="14" y="1"/>
                    <a:pt x="14" y="1"/>
                    <a:pt x="14" y="1"/>
                  </a:cubicBezTo>
                  <a:cubicBezTo>
                    <a:pt x="14" y="0"/>
                    <a:pt x="14" y="0"/>
                    <a:pt x="14" y="0"/>
                  </a:cubicBezTo>
                </a:path>
              </a:pathLst>
            </a:custGeom>
            <a:solidFill>
              <a:srgbClr val="4AB3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ṧļîḋê">
              <a:extLst>
                <a:ext uri="{FF2B5EF4-FFF2-40B4-BE49-F238E27FC236}">
                  <a16:creationId xmlns:a16="http://schemas.microsoft.com/office/drawing/2014/main" id="{BB050BF4-1E5D-46D3-9193-6DF25A0B947D}"/>
                </a:ext>
              </a:extLst>
            </p:cNvPr>
            <p:cNvSpPr/>
            <p:nvPr/>
          </p:nvSpPr>
          <p:spPr bwMode="auto">
            <a:xfrm>
              <a:off x="6101249" y="3730452"/>
              <a:ext cx="14998" cy="14998"/>
            </a:xfrm>
            <a:custGeom>
              <a:avLst/>
              <a:gdLst>
                <a:gd name="T0" fmla="*/ 0 w 3"/>
                <a:gd name="T1" fmla="*/ 0 h 3"/>
                <a:gd name="T2" fmla="*/ 3 w 3"/>
                <a:gd name="T3" fmla="*/ 3 h 3"/>
                <a:gd name="T4" fmla="*/ 3 w 3"/>
                <a:gd name="T5" fmla="*/ 2 h 3"/>
                <a:gd name="T6" fmla="*/ 0 w 3"/>
                <a:gd name="T7" fmla="*/ 0 h 3"/>
              </a:gdLst>
              <a:ahLst/>
              <a:cxnLst>
                <a:cxn ang="0">
                  <a:pos x="T0" y="T1"/>
                </a:cxn>
                <a:cxn ang="0">
                  <a:pos x="T2" y="T3"/>
                </a:cxn>
                <a:cxn ang="0">
                  <a:pos x="T4" y="T5"/>
                </a:cxn>
                <a:cxn ang="0">
                  <a:pos x="T6" y="T7"/>
                </a:cxn>
              </a:cxnLst>
              <a:rect l="0" t="0" r="r" b="b"/>
              <a:pathLst>
                <a:path w="3" h="3">
                  <a:moveTo>
                    <a:pt x="0" y="0"/>
                  </a:moveTo>
                  <a:cubicBezTo>
                    <a:pt x="1" y="1"/>
                    <a:pt x="2" y="2"/>
                    <a:pt x="3" y="3"/>
                  </a:cubicBezTo>
                  <a:cubicBezTo>
                    <a:pt x="3" y="3"/>
                    <a:pt x="3" y="2"/>
                    <a:pt x="3" y="2"/>
                  </a:cubicBezTo>
                  <a:cubicBezTo>
                    <a:pt x="2" y="1"/>
                    <a:pt x="1" y="1"/>
                    <a:pt x="0" y="0"/>
                  </a:cubicBezTo>
                </a:path>
              </a:pathLst>
            </a:custGeom>
            <a:solidFill>
              <a:srgbClr val="8D78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îṧlídè">
              <a:extLst>
                <a:ext uri="{FF2B5EF4-FFF2-40B4-BE49-F238E27FC236}">
                  <a16:creationId xmlns:a16="http://schemas.microsoft.com/office/drawing/2014/main" id="{BA79D7FB-BDCB-4409-88E4-B721EB1138D4}"/>
                </a:ext>
              </a:extLst>
            </p:cNvPr>
            <p:cNvSpPr/>
            <p:nvPr/>
          </p:nvSpPr>
          <p:spPr bwMode="auto">
            <a:xfrm>
              <a:off x="6077253" y="3542982"/>
              <a:ext cx="106483" cy="212966"/>
            </a:xfrm>
            <a:custGeom>
              <a:avLst/>
              <a:gdLst>
                <a:gd name="T0" fmla="*/ 15 w 22"/>
                <a:gd name="T1" fmla="*/ 0 h 44"/>
                <a:gd name="T2" fmla="*/ 2 w 22"/>
                <a:gd name="T3" fmla="*/ 34 h 44"/>
                <a:gd name="T4" fmla="*/ 5 w 22"/>
                <a:gd name="T5" fmla="*/ 39 h 44"/>
                <a:gd name="T6" fmla="*/ 8 w 22"/>
                <a:gd name="T7" fmla="*/ 41 h 44"/>
                <a:gd name="T8" fmla="*/ 11 w 22"/>
                <a:gd name="T9" fmla="*/ 44 h 44"/>
                <a:gd name="T10" fmla="*/ 16 w 22"/>
                <a:gd name="T11" fmla="*/ 40 h 44"/>
                <a:gd name="T12" fmla="*/ 22 w 22"/>
                <a:gd name="T13" fmla="*/ 35 h 44"/>
                <a:gd name="T14" fmla="*/ 15 w 22"/>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5" y="0"/>
                  </a:moveTo>
                  <a:cubicBezTo>
                    <a:pt x="15" y="0"/>
                    <a:pt x="0" y="34"/>
                    <a:pt x="2" y="34"/>
                  </a:cubicBezTo>
                  <a:cubicBezTo>
                    <a:pt x="2" y="35"/>
                    <a:pt x="4" y="37"/>
                    <a:pt x="5" y="39"/>
                  </a:cubicBezTo>
                  <a:cubicBezTo>
                    <a:pt x="6" y="40"/>
                    <a:pt x="7" y="40"/>
                    <a:pt x="8" y="41"/>
                  </a:cubicBezTo>
                  <a:cubicBezTo>
                    <a:pt x="9" y="42"/>
                    <a:pt x="10" y="43"/>
                    <a:pt x="11" y="44"/>
                  </a:cubicBezTo>
                  <a:cubicBezTo>
                    <a:pt x="16" y="40"/>
                    <a:pt x="16" y="40"/>
                    <a:pt x="16" y="40"/>
                  </a:cubicBezTo>
                  <a:cubicBezTo>
                    <a:pt x="18" y="39"/>
                    <a:pt x="20" y="37"/>
                    <a:pt x="22" y="35"/>
                  </a:cubicBezTo>
                  <a:cubicBezTo>
                    <a:pt x="15" y="0"/>
                    <a:pt x="15" y="0"/>
                    <a:pt x="15" y="0"/>
                  </a:cubicBezTo>
                </a:path>
              </a:pathLst>
            </a:custGeom>
            <a:solidFill>
              <a:srgbClr val="135D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iŝḻiďe">
              <a:extLst>
                <a:ext uri="{FF2B5EF4-FFF2-40B4-BE49-F238E27FC236}">
                  <a16:creationId xmlns:a16="http://schemas.microsoft.com/office/drawing/2014/main" id="{EFA8F35F-EADF-4B2B-8A56-541A522E5411}"/>
                </a:ext>
              </a:extLst>
            </p:cNvPr>
            <p:cNvSpPr/>
            <p:nvPr/>
          </p:nvSpPr>
          <p:spPr bwMode="auto">
            <a:xfrm>
              <a:off x="4958434" y="1423824"/>
              <a:ext cx="406435" cy="415433"/>
            </a:xfrm>
            <a:custGeom>
              <a:avLst/>
              <a:gdLst>
                <a:gd name="T0" fmla="*/ 0 w 271"/>
                <a:gd name="T1" fmla="*/ 155 h 277"/>
                <a:gd name="T2" fmla="*/ 155 w 271"/>
                <a:gd name="T3" fmla="*/ 0 h 277"/>
                <a:gd name="T4" fmla="*/ 271 w 271"/>
                <a:gd name="T5" fmla="*/ 277 h 277"/>
                <a:gd name="T6" fmla="*/ 0 w 271"/>
                <a:gd name="T7" fmla="*/ 155 h 277"/>
              </a:gdLst>
              <a:ahLst/>
              <a:cxnLst>
                <a:cxn ang="0">
                  <a:pos x="T0" y="T1"/>
                </a:cxn>
                <a:cxn ang="0">
                  <a:pos x="T2" y="T3"/>
                </a:cxn>
                <a:cxn ang="0">
                  <a:pos x="T4" y="T5"/>
                </a:cxn>
                <a:cxn ang="0">
                  <a:pos x="T6" y="T7"/>
                </a:cxn>
              </a:cxnLst>
              <a:rect l="0" t="0" r="r" b="b"/>
              <a:pathLst>
                <a:path w="271" h="277">
                  <a:moveTo>
                    <a:pt x="0" y="155"/>
                  </a:moveTo>
                  <a:lnTo>
                    <a:pt x="155" y="0"/>
                  </a:lnTo>
                  <a:lnTo>
                    <a:pt x="271" y="277"/>
                  </a:lnTo>
                  <a:lnTo>
                    <a:pt x="0" y="155"/>
                  </a:lnTo>
                  <a:close/>
                </a:path>
              </a:pathLst>
            </a:custGeom>
            <a:solidFill>
              <a:srgbClr val="FA708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îsḷîḓê">
              <a:extLst>
                <a:ext uri="{FF2B5EF4-FFF2-40B4-BE49-F238E27FC236}">
                  <a16:creationId xmlns:a16="http://schemas.microsoft.com/office/drawing/2014/main" id="{BE8C2718-3B49-487C-A9E6-EEB57FEEB40B}"/>
                </a:ext>
              </a:extLst>
            </p:cNvPr>
            <p:cNvSpPr/>
            <p:nvPr/>
          </p:nvSpPr>
          <p:spPr bwMode="auto">
            <a:xfrm>
              <a:off x="4575995" y="1380331"/>
              <a:ext cx="653894" cy="671891"/>
            </a:xfrm>
            <a:custGeom>
              <a:avLst/>
              <a:gdLst>
                <a:gd name="T0" fmla="*/ 130 w 135"/>
                <a:gd name="T1" fmla="*/ 2 h 139"/>
                <a:gd name="T2" fmla="*/ 1 w 135"/>
                <a:gd name="T3" fmla="*/ 134 h 139"/>
                <a:gd name="T4" fmla="*/ 1 w 135"/>
                <a:gd name="T5" fmla="*/ 138 h 139"/>
                <a:gd name="T6" fmla="*/ 6 w 135"/>
                <a:gd name="T7" fmla="*/ 138 h 139"/>
                <a:gd name="T8" fmla="*/ 134 w 135"/>
                <a:gd name="T9" fmla="*/ 6 h 139"/>
                <a:gd name="T10" fmla="*/ 134 w 135"/>
                <a:gd name="T11" fmla="*/ 2 h 139"/>
                <a:gd name="T12" fmla="*/ 130 w 135"/>
                <a:gd name="T13" fmla="*/ 2 h 139"/>
              </a:gdLst>
              <a:ahLst/>
              <a:cxnLst>
                <a:cxn ang="0">
                  <a:pos x="T0" y="T1"/>
                </a:cxn>
                <a:cxn ang="0">
                  <a:pos x="T2" y="T3"/>
                </a:cxn>
                <a:cxn ang="0">
                  <a:pos x="T4" y="T5"/>
                </a:cxn>
                <a:cxn ang="0">
                  <a:pos x="T6" y="T7"/>
                </a:cxn>
                <a:cxn ang="0">
                  <a:pos x="T8" y="T9"/>
                </a:cxn>
                <a:cxn ang="0">
                  <a:pos x="T10" y="T11"/>
                </a:cxn>
                <a:cxn ang="0">
                  <a:pos x="T12" y="T13"/>
                </a:cxn>
              </a:cxnLst>
              <a:rect l="0" t="0" r="r" b="b"/>
              <a:pathLst>
                <a:path w="135" h="139">
                  <a:moveTo>
                    <a:pt x="130" y="2"/>
                  </a:moveTo>
                  <a:cubicBezTo>
                    <a:pt x="1" y="134"/>
                    <a:pt x="1" y="134"/>
                    <a:pt x="1" y="134"/>
                  </a:cubicBezTo>
                  <a:cubicBezTo>
                    <a:pt x="0" y="135"/>
                    <a:pt x="0" y="137"/>
                    <a:pt x="1" y="138"/>
                  </a:cubicBezTo>
                  <a:cubicBezTo>
                    <a:pt x="3" y="139"/>
                    <a:pt x="5" y="139"/>
                    <a:pt x="6" y="138"/>
                  </a:cubicBezTo>
                  <a:cubicBezTo>
                    <a:pt x="134" y="6"/>
                    <a:pt x="134" y="6"/>
                    <a:pt x="134" y="6"/>
                  </a:cubicBezTo>
                  <a:cubicBezTo>
                    <a:pt x="135" y="5"/>
                    <a:pt x="135" y="3"/>
                    <a:pt x="134" y="2"/>
                  </a:cubicBezTo>
                  <a:cubicBezTo>
                    <a:pt x="133" y="0"/>
                    <a:pt x="131" y="0"/>
                    <a:pt x="130" y="2"/>
                  </a:cubicBezTo>
                </a:path>
              </a:pathLst>
            </a:custGeom>
            <a:solidFill>
              <a:srgbClr val="393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ïşḻîḍê">
              <a:extLst>
                <a:ext uri="{FF2B5EF4-FFF2-40B4-BE49-F238E27FC236}">
                  <a16:creationId xmlns:a16="http://schemas.microsoft.com/office/drawing/2014/main" id="{6F0CB504-3E3B-4C84-8FDD-BDB799C96A6B}"/>
                </a:ext>
              </a:extLst>
            </p:cNvPr>
            <p:cNvSpPr/>
            <p:nvPr/>
          </p:nvSpPr>
          <p:spPr bwMode="auto">
            <a:xfrm>
              <a:off x="6624664" y="3610471"/>
              <a:ext cx="158974" cy="163474"/>
            </a:xfrm>
            <a:custGeom>
              <a:avLst/>
              <a:gdLst>
                <a:gd name="T0" fmla="*/ 33 w 33"/>
                <a:gd name="T1" fmla="*/ 23 h 34"/>
                <a:gd name="T2" fmla="*/ 13 w 33"/>
                <a:gd name="T3" fmla="*/ 4 h 34"/>
                <a:gd name="T4" fmla="*/ 2 w 33"/>
                <a:gd name="T5" fmla="*/ 9 h 34"/>
                <a:gd name="T6" fmla="*/ 29 w 33"/>
                <a:gd name="T7" fmla="*/ 34 h 34"/>
                <a:gd name="T8" fmla="*/ 33 w 33"/>
                <a:gd name="T9" fmla="*/ 23 h 34"/>
              </a:gdLst>
              <a:ahLst/>
              <a:cxnLst>
                <a:cxn ang="0">
                  <a:pos x="T0" y="T1"/>
                </a:cxn>
                <a:cxn ang="0">
                  <a:pos x="T2" y="T3"/>
                </a:cxn>
                <a:cxn ang="0">
                  <a:pos x="T4" y="T5"/>
                </a:cxn>
                <a:cxn ang="0">
                  <a:pos x="T6" y="T7"/>
                </a:cxn>
                <a:cxn ang="0">
                  <a:pos x="T8" y="T9"/>
                </a:cxn>
              </a:cxnLst>
              <a:rect l="0" t="0" r="r" b="b"/>
              <a:pathLst>
                <a:path w="33" h="34">
                  <a:moveTo>
                    <a:pt x="33" y="23"/>
                  </a:moveTo>
                  <a:cubicBezTo>
                    <a:pt x="33" y="23"/>
                    <a:pt x="21" y="7"/>
                    <a:pt x="13" y="4"/>
                  </a:cubicBezTo>
                  <a:cubicBezTo>
                    <a:pt x="6" y="1"/>
                    <a:pt x="0" y="0"/>
                    <a:pt x="2" y="9"/>
                  </a:cubicBezTo>
                  <a:cubicBezTo>
                    <a:pt x="4" y="19"/>
                    <a:pt x="29" y="34"/>
                    <a:pt x="29" y="34"/>
                  </a:cubicBezTo>
                  <a:lnTo>
                    <a:pt x="33" y="23"/>
                  </a:lnTo>
                  <a:close/>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išḻíḓê">
              <a:extLst>
                <a:ext uri="{FF2B5EF4-FFF2-40B4-BE49-F238E27FC236}">
                  <a16:creationId xmlns:a16="http://schemas.microsoft.com/office/drawing/2014/main" id="{09EF0CD6-288D-4C84-96E6-4616B17AFC88}"/>
                </a:ext>
              </a:extLst>
            </p:cNvPr>
            <p:cNvSpPr/>
            <p:nvPr/>
          </p:nvSpPr>
          <p:spPr bwMode="auto">
            <a:xfrm>
              <a:off x="7346048" y="3315018"/>
              <a:ext cx="589405" cy="856362"/>
            </a:xfrm>
            <a:custGeom>
              <a:avLst/>
              <a:gdLst>
                <a:gd name="T0" fmla="*/ 10 w 122"/>
                <a:gd name="T1" fmla="*/ 16 h 177"/>
                <a:gd name="T2" fmla="*/ 13 w 122"/>
                <a:gd name="T3" fmla="*/ 0 h 177"/>
                <a:gd name="T4" fmla="*/ 38 w 122"/>
                <a:gd name="T5" fmla="*/ 29 h 177"/>
                <a:gd name="T6" fmla="*/ 80 w 122"/>
                <a:gd name="T7" fmla="*/ 78 h 177"/>
                <a:gd name="T8" fmla="*/ 100 w 122"/>
                <a:gd name="T9" fmla="*/ 138 h 177"/>
                <a:gd name="T10" fmla="*/ 38 w 122"/>
                <a:gd name="T11" fmla="*/ 163 h 177"/>
                <a:gd name="T12" fmla="*/ 0 w 122"/>
                <a:gd name="T13" fmla="*/ 72 h 177"/>
                <a:gd name="T14" fmla="*/ 10 w 122"/>
                <a:gd name="T15" fmla="*/ 16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177">
                  <a:moveTo>
                    <a:pt x="10" y="16"/>
                  </a:moveTo>
                  <a:cubicBezTo>
                    <a:pt x="13" y="0"/>
                    <a:pt x="13" y="0"/>
                    <a:pt x="13" y="0"/>
                  </a:cubicBezTo>
                  <a:cubicBezTo>
                    <a:pt x="13" y="0"/>
                    <a:pt x="28" y="1"/>
                    <a:pt x="38" y="29"/>
                  </a:cubicBezTo>
                  <a:cubicBezTo>
                    <a:pt x="48" y="57"/>
                    <a:pt x="59" y="68"/>
                    <a:pt x="80" y="78"/>
                  </a:cubicBezTo>
                  <a:cubicBezTo>
                    <a:pt x="101" y="87"/>
                    <a:pt x="122" y="111"/>
                    <a:pt x="100" y="138"/>
                  </a:cubicBezTo>
                  <a:cubicBezTo>
                    <a:pt x="78" y="166"/>
                    <a:pt x="55" y="177"/>
                    <a:pt x="38" y="163"/>
                  </a:cubicBezTo>
                  <a:cubicBezTo>
                    <a:pt x="21" y="148"/>
                    <a:pt x="0" y="72"/>
                    <a:pt x="0" y="72"/>
                  </a:cubicBezTo>
                  <a:cubicBezTo>
                    <a:pt x="10" y="16"/>
                    <a:pt x="10" y="16"/>
                    <a:pt x="10" y="16"/>
                  </a:cubicBezTo>
                </a:path>
              </a:pathLst>
            </a:custGeom>
            <a:solidFill>
              <a:srgbClr val="393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ṩ1íḓè">
              <a:extLst>
                <a:ext uri="{FF2B5EF4-FFF2-40B4-BE49-F238E27FC236}">
                  <a16:creationId xmlns:a16="http://schemas.microsoft.com/office/drawing/2014/main" id="{FA6860F8-29BE-4F1A-9F07-E7FC58F87C92}"/>
                </a:ext>
              </a:extLst>
            </p:cNvPr>
            <p:cNvSpPr/>
            <p:nvPr/>
          </p:nvSpPr>
          <p:spPr bwMode="auto">
            <a:xfrm>
              <a:off x="7272559" y="3542982"/>
              <a:ext cx="160475" cy="178472"/>
            </a:xfrm>
            <a:custGeom>
              <a:avLst/>
              <a:gdLst>
                <a:gd name="T0" fmla="*/ 33 w 33"/>
                <a:gd name="T1" fmla="*/ 0 h 37"/>
                <a:gd name="T2" fmla="*/ 26 w 33"/>
                <a:gd name="T3" fmla="*/ 37 h 37"/>
                <a:gd name="T4" fmla="*/ 0 w 33"/>
                <a:gd name="T5" fmla="*/ 34 h 37"/>
                <a:gd name="T6" fmla="*/ 8 w 33"/>
                <a:gd name="T7" fmla="*/ 5 h 37"/>
                <a:gd name="T8" fmla="*/ 33 w 33"/>
                <a:gd name="T9" fmla="*/ 0 h 37"/>
              </a:gdLst>
              <a:ahLst/>
              <a:cxnLst>
                <a:cxn ang="0">
                  <a:pos x="T0" y="T1"/>
                </a:cxn>
                <a:cxn ang="0">
                  <a:pos x="T2" y="T3"/>
                </a:cxn>
                <a:cxn ang="0">
                  <a:pos x="T4" y="T5"/>
                </a:cxn>
                <a:cxn ang="0">
                  <a:pos x="T6" y="T7"/>
                </a:cxn>
                <a:cxn ang="0">
                  <a:pos x="T8" y="T9"/>
                </a:cxn>
              </a:cxnLst>
              <a:rect l="0" t="0" r="r" b="b"/>
              <a:pathLst>
                <a:path w="33" h="37">
                  <a:moveTo>
                    <a:pt x="33" y="0"/>
                  </a:moveTo>
                  <a:cubicBezTo>
                    <a:pt x="33" y="0"/>
                    <a:pt x="20" y="20"/>
                    <a:pt x="26" y="37"/>
                  </a:cubicBezTo>
                  <a:cubicBezTo>
                    <a:pt x="0" y="34"/>
                    <a:pt x="0" y="34"/>
                    <a:pt x="0" y="34"/>
                  </a:cubicBezTo>
                  <a:cubicBezTo>
                    <a:pt x="0" y="34"/>
                    <a:pt x="11" y="10"/>
                    <a:pt x="8" y="5"/>
                  </a:cubicBezTo>
                  <a:cubicBezTo>
                    <a:pt x="6" y="0"/>
                    <a:pt x="33" y="0"/>
                    <a:pt x="33" y="0"/>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šľïḋê">
              <a:extLst>
                <a:ext uri="{FF2B5EF4-FFF2-40B4-BE49-F238E27FC236}">
                  <a16:creationId xmlns:a16="http://schemas.microsoft.com/office/drawing/2014/main" id="{37E4397A-EE8A-4FDF-AD04-C73D3078A8A8}"/>
                </a:ext>
              </a:extLst>
            </p:cNvPr>
            <p:cNvSpPr/>
            <p:nvPr/>
          </p:nvSpPr>
          <p:spPr bwMode="auto">
            <a:xfrm>
              <a:off x="7292056" y="3643466"/>
              <a:ext cx="4500" cy="14998"/>
            </a:xfrm>
            <a:custGeom>
              <a:avLst/>
              <a:gdLst>
                <a:gd name="T0" fmla="*/ 1 w 1"/>
                <a:gd name="T1" fmla="*/ 0 h 3"/>
                <a:gd name="T2" fmla="*/ 0 w 1"/>
                <a:gd name="T3" fmla="*/ 3 h 3"/>
                <a:gd name="T4" fmla="*/ 0 w 1"/>
                <a:gd name="T5" fmla="*/ 3 h 3"/>
                <a:gd name="T6" fmla="*/ 1 w 1"/>
                <a:gd name="T7" fmla="*/ 0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1" y="1"/>
                    <a:pt x="0" y="2"/>
                    <a:pt x="0" y="3"/>
                  </a:cubicBezTo>
                  <a:cubicBezTo>
                    <a:pt x="0" y="3"/>
                    <a:pt x="0" y="3"/>
                    <a:pt x="0" y="3"/>
                  </a:cubicBezTo>
                  <a:cubicBezTo>
                    <a:pt x="0" y="2"/>
                    <a:pt x="1" y="1"/>
                    <a:pt x="1" y="0"/>
                  </a:cubicBezTo>
                  <a:cubicBezTo>
                    <a:pt x="1" y="0"/>
                    <a:pt x="1" y="0"/>
                    <a:pt x="1" y="0"/>
                  </a:cubicBezTo>
                </a:path>
              </a:pathLst>
            </a:custGeom>
            <a:solidFill>
              <a:srgbClr val="82D5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sliḓê">
              <a:extLst>
                <a:ext uri="{FF2B5EF4-FFF2-40B4-BE49-F238E27FC236}">
                  <a16:creationId xmlns:a16="http://schemas.microsoft.com/office/drawing/2014/main" id="{B4F72803-9C9B-4EFD-8E7C-A8B9FA1154E4}"/>
                </a:ext>
              </a:extLst>
            </p:cNvPr>
            <p:cNvSpPr/>
            <p:nvPr/>
          </p:nvSpPr>
          <p:spPr bwMode="auto">
            <a:xfrm>
              <a:off x="7389540" y="3605971"/>
              <a:ext cx="13498" cy="71988"/>
            </a:xfrm>
            <a:custGeom>
              <a:avLst/>
              <a:gdLst>
                <a:gd name="T0" fmla="*/ 3 w 3"/>
                <a:gd name="T1" fmla="*/ 0 h 15"/>
                <a:gd name="T2" fmla="*/ 3 w 3"/>
                <a:gd name="T3" fmla="*/ 0 h 15"/>
                <a:gd name="T4" fmla="*/ 0 w 3"/>
                <a:gd name="T5" fmla="*/ 15 h 15"/>
                <a:gd name="T6" fmla="*/ 0 w 3"/>
                <a:gd name="T7" fmla="*/ 15 h 15"/>
                <a:gd name="T8" fmla="*/ 3 w 3"/>
                <a:gd name="T9" fmla="*/ 0 h 15"/>
              </a:gdLst>
              <a:ahLst/>
              <a:cxnLst>
                <a:cxn ang="0">
                  <a:pos x="T0" y="T1"/>
                </a:cxn>
                <a:cxn ang="0">
                  <a:pos x="T2" y="T3"/>
                </a:cxn>
                <a:cxn ang="0">
                  <a:pos x="T4" y="T5"/>
                </a:cxn>
                <a:cxn ang="0">
                  <a:pos x="T6" y="T7"/>
                </a:cxn>
                <a:cxn ang="0">
                  <a:pos x="T8" y="T9"/>
                </a:cxn>
              </a:cxnLst>
              <a:rect l="0" t="0" r="r" b="b"/>
              <a:pathLst>
                <a:path w="3" h="15">
                  <a:moveTo>
                    <a:pt x="3" y="0"/>
                  </a:moveTo>
                  <a:cubicBezTo>
                    <a:pt x="3" y="0"/>
                    <a:pt x="3" y="0"/>
                    <a:pt x="3" y="0"/>
                  </a:cubicBezTo>
                  <a:cubicBezTo>
                    <a:pt x="1" y="5"/>
                    <a:pt x="0" y="10"/>
                    <a:pt x="0" y="15"/>
                  </a:cubicBezTo>
                  <a:cubicBezTo>
                    <a:pt x="0" y="15"/>
                    <a:pt x="0" y="15"/>
                    <a:pt x="0" y="15"/>
                  </a:cubicBezTo>
                  <a:cubicBezTo>
                    <a:pt x="0" y="10"/>
                    <a:pt x="1" y="5"/>
                    <a:pt x="3" y="0"/>
                  </a:cubicBezTo>
                </a:path>
              </a:pathLst>
            </a:custGeom>
            <a:solidFill>
              <a:srgbClr val="39304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is1ïďè">
              <a:extLst>
                <a:ext uri="{FF2B5EF4-FFF2-40B4-BE49-F238E27FC236}">
                  <a16:creationId xmlns:a16="http://schemas.microsoft.com/office/drawing/2014/main" id="{FEAAF56D-0F1C-4407-88EA-A14D9027B7E4}"/>
                </a:ext>
              </a:extLst>
            </p:cNvPr>
            <p:cNvSpPr/>
            <p:nvPr/>
          </p:nvSpPr>
          <p:spPr bwMode="auto">
            <a:xfrm>
              <a:off x="7292056" y="3605971"/>
              <a:ext cx="110982" cy="71988"/>
            </a:xfrm>
            <a:custGeom>
              <a:avLst/>
              <a:gdLst>
                <a:gd name="T0" fmla="*/ 23 w 23"/>
                <a:gd name="T1" fmla="*/ 0 h 15"/>
                <a:gd name="T2" fmla="*/ 2 w 23"/>
                <a:gd name="T3" fmla="*/ 8 h 15"/>
                <a:gd name="T4" fmla="*/ 2 w 23"/>
                <a:gd name="T5" fmla="*/ 8 h 15"/>
                <a:gd name="T6" fmla="*/ 2 w 23"/>
                <a:gd name="T7" fmla="*/ 8 h 15"/>
                <a:gd name="T8" fmla="*/ 2 w 23"/>
                <a:gd name="T9" fmla="*/ 8 h 15"/>
                <a:gd name="T10" fmla="*/ 2 w 23"/>
                <a:gd name="T11" fmla="*/ 8 h 15"/>
                <a:gd name="T12" fmla="*/ 1 w 23"/>
                <a:gd name="T13" fmla="*/ 8 h 15"/>
                <a:gd name="T14" fmla="*/ 0 w 23"/>
                <a:gd name="T15" fmla="*/ 11 h 15"/>
                <a:gd name="T16" fmla="*/ 1 w 23"/>
                <a:gd name="T17" fmla="*/ 11 h 15"/>
                <a:gd name="T18" fmla="*/ 20 w 23"/>
                <a:gd name="T19" fmla="*/ 15 h 15"/>
                <a:gd name="T20" fmla="*/ 23 w 23"/>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15">
                  <a:moveTo>
                    <a:pt x="23" y="0"/>
                  </a:moveTo>
                  <a:cubicBezTo>
                    <a:pt x="16" y="5"/>
                    <a:pt x="9" y="8"/>
                    <a:pt x="2" y="8"/>
                  </a:cubicBezTo>
                  <a:cubicBezTo>
                    <a:pt x="2" y="8"/>
                    <a:pt x="2" y="8"/>
                    <a:pt x="2" y="8"/>
                  </a:cubicBezTo>
                  <a:cubicBezTo>
                    <a:pt x="2" y="8"/>
                    <a:pt x="2" y="8"/>
                    <a:pt x="2" y="8"/>
                  </a:cubicBezTo>
                  <a:cubicBezTo>
                    <a:pt x="2" y="8"/>
                    <a:pt x="2" y="8"/>
                    <a:pt x="2" y="8"/>
                  </a:cubicBezTo>
                  <a:cubicBezTo>
                    <a:pt x="2" y="8"/>
                    <a:pt x="2" y="8"/>
                    <a:pt x="2" y="8"/>
                  </a:cubicBezTo>
                  <a:cubicBezTo>
                    <a:pt x="2" y="8"/>
                    <a:pt x="1" y="8"/>
                    <a:pt x="1" y="8"/>
                  </a:cubicBezTo>
                  <a:cubicBezTo>
                    <a:pt x="1" y="9"/>
                    <a:pt x="0" y="10"/>
                    <a:pt x="0" y="11"/>
                  </a:cubicBezTo>
                  <a:cubicBezTo>
                    <a:pt x="0" y="11"/>
                    <a:pt x="1" y="11"/>
                    <a:pt x="1" y="11"/>
                  </a:cubicBezTo>
                  <a:cubicBezTo>
                    <a:pt x="6" y="11"/>
                    <a:pt x="14" y="11"/>
                    <a:pt x="20" y="15"/>
                  </a:cubicBezTo>
                  <a:cubicBezTo>
                    <a:pt x="20" y="10"/>
                    <a:pt x="21" y="5"/>
                    <a:pt x="23" y="0"/>
                  </a:cubicBezTo>
                </a:path>
              </a:pathLst>
            </a:custGeom>
            <a:solidFill>
              <a:srgbClr val="F890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şľiḍe">
              <a:extLst>
                <a:ext uri="{FF2B5EF4-FFF2-40B4-BE49-F238E27FC236}">
                  <a16:creationId xmlns:a16="http://schemas.microsoft.com/office/drawing/2014/main" id="{CDA902DE-D468-40D8-9920-14EC581CE2EC}"/>
                </a:ext>
              </a:extLst>
            </p:cNvPr>
            <p:cNvSpPr/>
            <p:nvPr/>
          </p:nvSpPr>
          <p:spPr bwMode="auto">
            <a:xfrm>
              <a:off x="7170576" y="3319518"/>
              <a:ext cx="319449" cy="343445"/>
            </a:xfrm>
            <a:custGeom>
              <a:avLst/>
              <a:gdLst>
                <a:gd name="T0" fmla="*/ 54 w 66"/>
                <a:gd name="T1" fmla="*/ 52 h 71"/>
                <a:gd name="T2" fmla="*/ 12 w 66"/>
                <a:gd name="T3" fmla="*/ 62 h 71"/>
                <a:gd name="T4" fmla="*/ 12 w 66"/>
                <a:gd name="T5" fmla="*/ 19 h 71"/>
                <a:gd name="T6" fmla="*/ 54 w 66"/>
                <a:gd name="T7" fmla="*/ 9 h 71"/>
                <a:gd name="T8" fmla="*/ 54 w 66"/>
                <a:gd name="T9" fmla="*/ 52 h 71"/>
              </a:gdLst>
              <a:ahLst/>
              <a:cxnLst>
                <a:cxn ang="0">
                  <a:pos x="T0" y="T1"/>
                </a:cxn>
                <a:cxn ang="0">
                  <a:pos x="T2" y="T3"/>
                </a:cxn>
                <a:cxn ang="0">
                  <a:pos x="T4" y="T5"/>
                </a:cxn>
                <a:cxn ang="0">
                  <a:pos x="T6" y="T7"/>
                </a:cxn>
                <a:cxn ang="0">
                  <a:pos x="T8" y="T9"/>
                </a:cxn>
              </a:cxnLst>
              <a:rect l="0" t="0" r="r" b="b"/>
              <a:pathLst>
                <a:path w="66" h="71">
                  <a:moveTo>
                    <a:pt x="54" y="52"/>
                  </a:moveTo>
                  <a:cubicBezTo>
                    <a:pt x="43" y="67"/>
                    <a:pt x="24" y="71"/>
                    <a:pt x="12" y="62"/>
                  </a:cubicBezTo>
                  <a:cubicBezTo>
                    <a:pt x="0" y="53"/>
                    <a:pt x="0" y="33"/>
                    <a:pt x="12" y="19"/>
                  </a:cubicBezTo>
                  <a:cubicBezTo>
                    <a:pt x="23" y="4"/>
                    <a:pt x="42" y="0"/>
                    <a:pt x="54" y="9"/>
                  </a:cubicBezTo>
                  <a:cubicBezTo>
                    <a:pt x="66" y="18"/>
                    <a:pt x="66" y="38"/>
                    <a:pt x="54" y="52"/>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šḻiḋè">
              <a:extLst>
                <a:ext uri="{FF2B5EF4-FFF2-40B4-BE49-F238E27FC236}">
                  <a16:creationId xmlns:a16="http://schemas.microsoft.com/office/drawing/2014/main" id="{9C4F96D4-4A16-4686-94FB-0F3218691DF5}"/>
                </a:ext>
              </a:extLst>
            </p:cNvPr>
            <p:cNvSpPr/>
            <p:nvPr/>
          </p:nvSpPr>
          <p:spPr bwMode="auto">
            <a:xfrm>
              <a:off x="7403039" y="3536983"/>
              <a:ext cx="53991" cy="68989"/>
            </a:xfrm>
            <a:custGeom>
              <a:avLst/>
              <a:gdLst>
                <a:gd name="T0" fmla="*/ 6 w 11"/>
                <a:gd name="T1" fmla="*/ 7 h 14"/>
                <a:gd name="T2" fmla="*/ 0 w 11"/>
                <a:gd name="T3" fmla="*/ 14 h 14"/>
                <a:gd name="T4" fmla="*/ 0 w 11"/>
                <a:gd name="T5" fmla="*/ 14 h 14"/>
                <a:gd name="T6" fmla="*/ 6 w 11"/>
                <a:gd name="T7" fmla="*/ 7 h 14"/>
                <a:gd name="T8" fmla="*/ 7 w 11"/>
                <a:gd name="T9" fmla="*/ 7 h 14"/>
                <a:gd name="T10" fmla="*/ 6 w 11"/>
                <a:gd name="T11" fmla="*/ 7 h 14"/>
                <a:gd name="T12" fmla="*/ 7 w 11"/>
                <a:gd name="T13" fmla="*/ 7 h 14"/>
                <a:gd name="T14" fmla="*/ 7 w 11"/>
                <a:gd name="T15" fmla="*/ 7 h 14"/>
                <a:gd name="T16" fmla="*/ 7 w 11"/>
                <a:gd name="T17" fmla="*/ 7 h 14"/>
                <a:gd name="T18" fmla="*/ 7 w 11"/>
                <a:gd name="T19" fmla="*/ 7 h 14"/>
                <a:gd name="T20" fmla="*/ 11 w 11"/>
                <a:gd name="T21" fmla="*/ 0 h 14"/>
                <a:gd name="T22" fmla="*/ 7 w 11"/>
                <a:gd name="T23" fmla="*/ 7 h 14"/>
                <a:gd name="T24" fmla="*/ 11 w 11"/>
                <a:gd name="T25" fmla="*/ 0 h 14"/>
                <a:gd name="T26" fmla="*/ 11 w 11"/>
                <a:gd name="T27" fmla="*/ 0 h 14"/>
                <a:gd name="T28" fmla="*/ 11 w 11"/>
                <a:gd name="T29" fmla="*/ 0 h 14"/>
                <a:gd name="T30" fmla="*/ 11 w 11"/>
                <a:gd name="T31" fmla="*/ 0 h 14"/>
                <a:gd name="T32" fmla="*/ 11 w 11"/>
                <a:gd name="T33" fmla="*/ 0 h 14"/>
                <a:gd name="T34" fmla="*/ 11 w 11"/>
                <a:gd name="T35" fmla="*/ 0 h 14"/>
                <a:gd name="T36" fmla="*/ 11 w 11"/>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4">
                  <a:moveTo>
                    <a:pt x="6" y="7"/>
                  </a:moveTo>
                  <a:cubicBezTo>
                    <a:pt x="4" y="10"/>
                    <a:pt x="2" y="12"/>
                    <a:pt x="0" y="14"/>
                  </a:cubicBezTo>
                  <a:cubicBezTo>
                    <a:pt x="0" y="14"/>
                    <a:pt x="0" y="14"/>
                    <a:pt x="0" y="14"/>
                  </a:cubicBezTo>
                  <a:cubicBezTo>
                    <a:pt x="2" y="12"/>
                    <a:pt x="4" y="10"/>
                    <a:pt x="6" y="7"/>
                  </a:cubicBezTo>
                  <a:moveTo>
                    <a:pt x="7" y="7"/>
                  </a:moveTo>
                  <a:cubicBezTo>
                    <a:pt x="7" y="7"/>
                    <a:pt x="6" y="7"/>
                    <a:pt x="6" y="7"/>
                  </a:cubicBezTo>
                  <a:cubicBezTo>
                    <a:pt x="6" y="7"/>
                    <a:pt x="7" y="7"/>
                    <a:pt x="7" y="7"/>
                  </a:cubicBezTo>
                  <a:moveTo>
                    <a:pt x="7" y="7"/>
                  </a:moveTo>
                  <a:cubicBezTo>
                    <a:pt x="7" y="7"/>
                    <a:pt x="7" y="7"/>
                    <a:pt x="7" y="7"/>
                  </a:cubicBezTo>
                  <a:cubicBezTo>
                    <a:pt x="7" y="7"/>
                    <a:pt x="7" y="7"/>
                    <a:pt x="7" y="7"/>
                  </a:cubicBezTo>
                  <a:moveTo>
                    <a:pt x="11" y="0"/>
                  </a:moveTo>
                  <a:cubicBezTo>
                    <a:pt x="10" y="3"/>
                    <a:pt x="8" y="5"/>
                    <a:pt x="7" y="7"/>
                  </a:cubicBezTo>
                  <a:cubicBezTo>
                    <a:pt x="8" y="5"/>
                    <a:pt x="10" y="3"/>
                    <a:pt x="11" y="0"/>
                  </a:cubicBezTo>
                  <a:moveTo>
                    <a:pt x="11" y="0"/>
                  </a:moveTo>
                  <a:cubicBezTo>
                    <a:pt x="11" y="0"/>
                    <a:pt x="11" y="0"/>
                    <a:pt x="11" y="0"/>
                  </a:cubicBezTo>
                  <a:cubicBezTo>
                    <a:pt x="11" y="0"/>
                    <a:pt x="11" y="0"/>
                    <a:pt x="11" y="0"/>
                  </a:cubicBezTo>
                  <a:moveTo>
                    <a:pt x="11" y="0"/>
                  </a:moveTo>
                  <a:cubicBezTo>
                    <a:pt x="11" y="0"/>
                    <a:pt x="11" y="0"/>
                    <a:pt x="11" y="0"/>
                  </a:cubicBezTo>
                  <a:cubicBezTo>
                    <a:pt x="11" y="0"/>
                    <a:pt x="11" y="0"/>
                    <a:pt x="11" y="0"/>
                  </a:cubicBezTo>
                </a:path>
              </a:pathLst>
            </a:custGeom>
            <a:solidFill>
              <a:srgbClr val="39334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ï$ľíḑê">
              <a:extLst>
                <a:ext uri="{FF2B5EF4-FFF2-40B4-BE49-F238E27FC236}">
                  <a16:creationId xmlns:a16="http://schemas.microsoft.com/office/drawing/2014/main" id="{92DDAE5A-253A-4B70-9303-408D28A55747}"/>
                </a:ext>
              </a:extLst>
            </p:cNvPr>
            <p:cNvSpPr/>
            <p:nvPr/>
          </p:nvSpPr>
          <p:spPr bwMode="auto">
            <a:xfrm>
              <a:off x="7403039" y="3605971"/>
              <a:ext cx="1500" cy="1500"/>
            </a:xfrm>
            <a:prstGeom prst="ellipse">
              <a:avLst/>
            </a:prstGeom>
            <a:solidFill>
              <a:srgbClr val="392D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ṧḷide">
              <a:extLst>
                <a:ext uri="{FF2B5EF4-FFF2-40B4-BE49-F238E27FC236}">
                  <a16:creationId xmlns:a16="http://schemas.microsoft.com/office/drawing/2014/main" id="{22768F52-BA08-41BB-8CBA-3069BBE332B9}"/>
                </a:ext>
              </a:extLst>
            </p:cNvPr>
            <p:cNvSpPr/>
            <p:nvPr/>
          </p:nvSpPr>
          <p:spPr bwMode="auto">
            <a:xfrm>
              <a:off x="7301055" y="3605971"/>
              <a:ext cx="101984" cy="37494"/>
            </a:xfrm>
            <a:custGeom>
              <a:avLst/>
              <a:gdLst>
                <a:gd name="T0" fmla="*/ 21 w 21"/>
                <a:gd name="T1" fmla="*/ 0 h 8"/>
                <a:gd name="T2" fmla="*/ 0 w 21"/>
                <a:gd name="T3" fmla="*/ 8 h 8"/>
                <a:gd name="T4" fmla="*/ 21 w 21"/>
                <a:gd name="T5" fmla="*/ 0 h 8"/>
                <a:gd name="T6" fmla="*/ 21 w 21"/>
                <a:gd name="T7" fmla="*/ 0 h 8"/>
              </a:gdLst>
              <a:ahLst/>
              <a:cxnLst>
                <a:cxn ang="0">
                  <a:pos x="T0" y="T1"/>
                </a:cxn>
                <a:cxn ang="0">
                  <a:pos x="T2" y="T3"/>
                </a:cxn>
                <a:cxn ang="0">
                  <a:pos x="T4" y="T5"/>
                </a:cxn>
                <a:cxn ang="0">
                  <a:pos x="T6" y="T7"/>
                </a:cxn>
              </a:cxnLst>
              <a:rect l="0" t="0" r="r" b="b"/>
              <a:pathLst>
                <a:path w="21" h="8">
                  <a:moveTo>
                    <a:pt x="21" y="0"/>
                  </a:moveTo>
                  <a:cubicBezTo>
                    <a:pt x="14" y="5"/>
                    <a:pt x="7" y="8"/>
                    <a:pt x="0" y="8"/>
                  </a:cubicBezTo>
                  <a:cubicBezTo>
                    <a:pt x="7" y="8"/>
                    <a:pt x="14" y="5"/>
                    <a:pt x="21" y="0"/>
                  </a:cubicBezTo>
                  <a:cubicBezTo>
                    <a:pt x="21" y="0"/>
                    <a:pt x="21" y="0"/>
                    <a:pt x="21" y="0"/>
                  </a:cubicBezTo>
                </a:path>
              </a:pathLst>
            </a:custGeom>
            <a:solidFill>
              <a:srgbClr val="F787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ïS1ïḋé">
              <a:extLst>
                <a:ext uri="{FF2B5EF4-FFF2-40B4-BE49-F238E27FC236}">
                  <a16:creationId xmlns:a16="http://schemas.microsoft.com/office/drawing/2014/main" id="{132C7380-99B4-4352-9E89-910E225E6B94}"/>
                </a:ext>
              </a:extLst>
            </p:cNvPr>
            <p:cNvSpPr/>
            <p:nvPr/>
          </p:nvSpPr>
          <p:spPr bwMode="auto">
            <a:xfrm>
              <a:off x="7224567" y="3619470"/>
              <a:ext cx="4500"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 name="T19" fmla="*/ 1 w 1"/>
                <a:gd name="T20" fmla="*/ 1 w 1"/>
                <a:gd name="T21" fmla="*/ 1 w 1"/>
                <a:gd name="T22" fmla="*/ 1 w 1"/>
                <a:gd name="T23" fmla="*/ 1 w 1"/>
                <a:gd name="T24" fmla="*/ 0 w 1"/>
                <a:gd name="T25" fmla="*/ 1 w 1"/>
                <a:gd name="T26"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Lst>
              <a:rect l="0" t="0" r="r" b="b"/>
              <a:pathLst>
                <a:path w="1">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1" y="0"/>
                    <a:pt x="1" y="0"/>
                    <a:pt x="1" y="0"/>
                  </a:cubicBezTo>
                  <a:cubicBezTo>
                    <a:pt x="1" y="0"/>
                    <a:pt x="1" y="0"/>
                    <a:pt x="0" y="0"/>
                  </a:cubicBezTo>
                </a:path>
              </a:pathLst>
            </a:custGeom>
            <a:solidFill>
              <a:srgbClr val="82E1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ïSľïḑê">
              <a:extLst>
                <a:ext uri="{FF2B5EF4-FFF2-40B4-BE49-F238E27FC236}">
                  <a16:creationId xmlns:a16="http://schemas.microsoft.com/office/drawing/2014/main" id="{662E8545-E654-4D09-A7F2-E63542262CD0}"/>
                </a:ext>
              </a:extLst>
            </p:cNvPr>
            <p:cNvSpPr/>
            <p:nvPr/>
          </p:nvSpPr>
          <p:spPr bwMode="auto">
            <a:xfrm>
              <a:off x="7194572" y="3393006"/>
              <a:ext cx="286454" cy="250460"/>
            </a:xfrm>
            <a:custGeom>
              <a:avLst/>
              <a:gdLst>
                <a:gd name="T0" fmla="*/ 54 w 59"/>
                <a:gd name="T1" fmla="*/ 0 h 52"/>
                <a:gd name="T2" fmla="*/ 47 w 59"/>
                <a:gd name="T3" fmla="*/ 33 h 52"/>
                <a:gd name="T4" fmla="*/ 19 w 59"/>
                <a:gd name="T5" fmla="*/ 47 h 52"/>
                <a:gd name="T6" fmla="*/ 5 w 59"/>
                <a:gd name="T7" fmla="*/ 42 h 52"/>
                <a:gd name="T8" fmla="*/ 0 w 59"/>
                <a:gd name="T9" fmla="*/ 37 h 52"/>
                <a:gd name="T10" fmla="*/ 6 w 59"/>
                <a:gd name="T11" fmla="*/ 47 h 52"/>
                <a:gd name="T12" fmla="*/ 7 w 59"/>
                <a:gd name="T13" fmla="*/ 47 h 52"/>
                <a:gd name="T14" fmla="*/ 7 w 59"/>
                <a:gd name="T15" fmla="*/ 47 h 52"/>
                <a:gd name="T16" fmla="*/ 7 w 59"/>
                <a:gd name="T17" fmla="*/ 47 h 52"/>
                <a:gd name="T18" fmla="*/ 7 w 59"/>
                <a:gd name="T19" fmla="*/ 47 h 52"/>
                <a:gd name="T20" fmla="*/ 7 w 59"/>
                <a:gd name="T21" fmla="*/ 47 h 52"/>
                <a:gd name="T22" fmla="*/ 7 w 59"/>
                <a:gd name="T23" fmla="*/ 47 h 52"/>
                <a:gd name="T24" fmla="*/ 7 w 59"/>
                <a:gd name="T25" fmla="*/ 47 h 52"/>
                <a:gd name="T26" fmla="*/ 7 w 59"/>
                <a:gd name="T27" fmla="*/ 47 h 52"/>
                <a:gd name="T28" fmla="*/ 7 w 59"/>
                <a:gd name="T29" fmla="*/ 47 h 52"/>
                <a:gd name="T30" fmla="*/ 7 w 59"/>
                <a:gd name="T31" fmla="*/ 47 h 52"/>
                <a:gd name="T32" fmla="*/ 7 w 59"/>
                <a:gd name="T33" fmla="*/ 47 h 52"/>
                <a:gd name="T34" fmla="*/ 7 w 59"/>
                <a:gd name="T35" fmla="*/ 47 h 52"/>
                <a:gd name="T36" fmla="*/ 7 w 59"/>
                <a:gd name="T37" fmla="*/ 47 h 52"/>
                <a:gd name="T38" fmla="*/ 7 w 59"/>
                <a:gd name="T39" fmla="*/ 47 h 52"/>
                <a:gd name="T40" fmla="*/ 7 w 59"/>
                <a:gd name="T41" fmla="*/ 47 h 52"/>
                <a:gd name="T42" fmla="*/ 7 w 59"/>
                <a:gd name="T43" fmla="*/ 47 h 52"/>
                <a:gd name="T44" fmla="*/ 7 w 59"/>
                <a:gd name="T45" fmla="*/ 47 h 52"/>
                <a:gd name="T46" fmla="*/ 7 w 59"/>
                <a:gd name="T47" fmla="*/ 47 h 52"/>
                <a:gd name="T48" fmla="*/ 22 w 59"/>
                <a:gd name="T49" fmla="*/ 52 h 52"/>
                <a:gd name="T50" fmla="*/ 22 w 59"/>
                <a:gd name="T51" fmla="*/ 52 h 52"/>
                <a:gd name="T52" fmla="*/ 22 w 59"/>
                <a:gd name="T53" fmla="*/ 52 h 52"/>
                <a:gd name="T54" fmla="*/ 43 w 59"/>
                <a:gd name="T55" fmla="*/ 44 h 52"/>
                <a:gd name="T56" fmla="*/ 43 w 59"/>
                <a:gd name="T57" fmla="*/ 44 h 52"/>
                <a:gd name="T58" fmla="*/ 49 w 59"/>
                <a:gd name="T59" fmla="*/ 37 h 52"/>
                <a:gd name="T60" fmla="*/ 49 w 59"/>
                <a:gd name="T61" fmla="*/ 37 h 52"/>
                <a:gd name="T62" fmla="*/ 49 w 59"/>
                <a:gd name="T63" fmla="*/ 37 h 52"/>
                <a:gd name="T64" fmla="*/ 50 w 59"/>
                <a:gd name="T65" fmla="*/ 37 h 52"/>
                <a:gd name="T66" fmla="*/ 50 w 59"/>
                <a:gd name="T67" fmla="*/ 37 h 52"/>
                <a:gd name="T68" fmla="*/ 50 w 59"/>
                <a:gd name="T69" fmla="*/ 37 h 52"/>
                <a:gd name="T70" fmla="*/ 50 w 59"/>
                <a:gd name="T71" fmla="*/ 37 h 52"/>
                <a:gd name="T72" fmla="*/ 54 w 59"/>
                <a:gd name="T73" fmla="*/ 30 h 52"/>
                <a:gd name="T74" fmla="*/ 54 w 59"/>
                <a:gd name="T75" fmla="*/ 30 h 52"/>
                <a:gd name="T76" fmla="*/ 54 w 59"/>
                <a:gd name="T77" fmla="*/ 30 h 52"/>
                <a:gd name="T78" fmla="*/ 54 w 59"/>
                <a:gd name="T79" fmla="*/ 30 h 52"/>
                <a:gd name="T80" fmla="*/ 54 w 59"/>
                <a:gd name="T81" fmla="*/ 30 h 52"/>
                <a:gd name="T82" fmla="*/ 54 w 59"/>
                <a:gd name="T8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9" h="52">
                  <a:moveTo>
                    <a:pt x="54" y="0"/>
                  </a:moveTo>
                  <a:cubicBezTo>
                    <a:pt x="58" y="9"/>
                    <a:pt x="55" y="22"/>
                    <a:pt x="47" y="33"/>
                  </a:cubicBezTo>
                  <a:cubicBezTo>
                    <a:pt x="40" y="42"/>
                    <a:pt x="29" y="47"/>
                    <a:pt x="19" y="47"/>
                  </a:cubicBezTo>
                  <a:cubicBezTo>
                    <a:pt x="14" y="47"/>
                    <a:pt x="9" y="46"/>
                    <a:pt x="5" y="42"/>
                  </a:cubicBezTo>
                  <a:cubicBezTo>
                    <a:pt x="3" y="41"/>
                    <a:pt x="1" y="39"/>
                    <a:pt x="0" y="37"/>
                  </a:cubicBezTo>
                  <a:cubicBezTo>
                    <a:pt x="1" y="41"/>
                    <a:pt x="3" y="44"/>
                    <a:pt x="6"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11" y="51"/>
                    <a:pt x="16" y="52"/>
                    <a:pt x="22" y="52"/>
                  </a:cubicBezTo>
                  <a:cubicBezTo>
                    <a:pt x="22" y="52"/>
                    <a:pt x="22" y="52"/>
                    <a:pt x="22" y="52"/>
                  </a:cubicBezTo>
                  <a:cubicBezTo>
                    <a:pt x="22" y="52"/>
                    <a:pt x="22" y="52"/>
                    <a:pt x="22" y="52"/>
                  </a:cubicBezTo>
                  <a:cubicBezTo>
                    <a:pt x="29" y="52"/>
                    <a:pt x="36" y="49"/>
                    <a:pt x="43" y="44"/>
                  </a:cubicBezTo>
                  <a:cubicBezTo>
                    <a:pt x="43" y="44"/>
                    <a:pt x="43" y="44"/>
                    <a:pt x="43" y="44"/>
                  </a:cubicBezTo>
                  <a:cubicBezTo>
                    <a:pt x="45" y="42"/>
                    <a:pt x="47" y="40"/>
                    <a:pt x="49" y="37"/>
                  </a:cubicBezTo>
                  <a:cubicBezTo>
                    <a:pt x="49" y="37"/>
                    <a:pt x="49" y="37"/>
                    <a:pt x="49" y="37"/>
                  </a:cubicBezTo>
                  <a:cubicBezTo>
                    <a:pt x="49" y="37"/>
                    <a:pt x="49" y="37"/>
                    <a:pt x="49" y="37"/>
                  </a:cubicBezTo>
                  <a:cubicBezTo>
                    <a:pt x="49" y="37"/>
                    <a:pt x="50" y="37"/>
                    <a:pt x="50" y="37"/>
                  </a:cubicBezTo>
                  <a:cubicBezTo>
                    <a:pt x="50" y="37"/>
                    <a:pt x="50" y="37"/>
                    <a:pt x="50" y="37"/>
                  </a:cubicBezTo>
                  <a:cubicBezTo>
                    <a:pt x="50" y="37"/>
                    <a:pt x="50" y="37"/>
                    <a:pt x="50" y="37"/>
                  </a:cubicBezTo>
                  <a:cubicBezTo>
                    <a:pt x="50" y="37"/>
                    <a:pt x="50" y="37"/>
                    <a:pt x="50" y="37"/>
                  </a:cubicBezTo>
                  <a:cubicBezTo>
                    <a:pt x="51" y="35"/>
                    <a:pt x="53" y="33"/>
                    <a:pt x="54" y="30"/>
                  </a:cubicBezTo>
                  <a:cubicBezTo>
                    <a:pt x="54" y="30"/>
                    <a:pt x="54" y="30"/>
                    <a:pt x="54" y="30"/>
                  </a:cubicBezTo>
                  <a:cubicBezTo>
                    <a:pt x="54" y="30"/>
                    <a:pt x="54" y="30"/>
                    <a:pt x="54" y="30"/>
                  </a:cubicBezTo>
                  <a:cubicBezTo>
                    <a:pt x="54" y="30"/>
                    <a:pt x="54" y="30"/>
                    <a:pt x="54" y="30"/>
                  </a:cubicBezTo>
                  <a:cubicBezTo>
                    <a:pt x="54" y="30"/>
                    <a:pt x="54" y="30"/>
                    <a:pt x="54" y="30"/>
                  </a:cubicBezTo>
                  <a:cubicBezTo>
                    <a:pt x="59" y="20"/>
                    <a:pt x="59" y="8"/>
                    <a:pt x="54" y="0"/>
                  </a:cubicBezTo>
                </a:path>
              </a:pathLst>
            </a:custGeom>
            <a:solidFill>
              <a:srgbClr val="F998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ïşļiḑè">
              <a:extLst>
                <a:ext uri="{FF2B5EF4-FFF2-40B4-BE49-F238E27FC236}">
                  <a16:creationId xmlns:a16="http://schemas.microsoft.com/office/drawing/2014/main" id="{7E054102-E94A-4269-B755-E7D0A3A0F026}"/>
                </a:ext>
              </a:extLst>
            </p:cNvPr>
            <p:cNvSpPr/>
            <p:nvPr/>
          </p:nvSpPr>
          <p:spPr bwMode="auto">
            <a:xfrm>
              <a:off x="7205071" y="4055899"/>
              <a:ext cx="295453" cy="676391"/>
            </a:xfrm>
            <a:custGeom>
              <a:avLst/>
              <a:gdLst>
                <a:gd name="T0" fmla="*/ 45 w 61"/>
                <a:gd name="T1" fmla="*/ 5 h 140"/>
                <a:gd name="T2" fmla="*/ 55 w 61"/>
                <a:gd name="T3" fmla="*/ 51 h 140"/>
                <a:gd name="T4" fmla="*/ 59 w 61"/>
                <a:gd name="T5" fmla="*/ 122 h 140"/>
                <a:gd name="T6" fmla="*/ 38 w 61"/>
                <a:gd name="T7" fmla="*/ 132 h 140"/>
                <a:gd name="T8" fmla="*/ 3 w 61"/>
                <a:gd name="T9" fmla="*/ 16 h 140"/>
                <a:gd name="T10" fmla="*/ 45 w 61"/>
                <a:gd name="T11" fmla="*/ 5 h 140"/>
              </a:gdLst>
              <a:ahLst/>
              <a:cxnLst>
                <a:cxn ang="0">
                  <a:pos x="T0" y="T1"/>
                </a:cxn>
                <a:cxn ang="0">
                  <a:pos x="T2" y="T3"/>
                </a:cxn>
                <a:cxn ang="0">
                  <a:pos x="T4" y="T5"/>
                </a:cxn>
                <a:cxn ang="0">
                  <a:pos x="T6" y="T7"/>
                </a:cxn>
                <a:cxn ang="0">
                  <a:pos x="T8" y="T9"/>
                </a:cxn>
                <a:cxn ang="0">
                  <a:pos x="T10" y="T11"/>
                </a:cxn>
              </a:cxnLst>
              <a:rect l="0" t="0" r="r" b="b"/>
              <a:pathLst>
                <a:path w="61" h="140">
                  <a:moveTo>
                    <a:pt x="45" y="5"/>
                  </a:moveTo>
                  <a:cubicBezTo>
                    <a:pt x="45" y="5"/>
                    <a:pt x="51" y="24"/>
                    <a:pt x="55" y="51"/>
                  </a:cubicBezTo>
                  <a:cubicBezTo>
                    <a:pt x="57" y="65"/>
                    <a:pt x="61" y="100"/>
                    <a:pt x="59" y="122"/>
                  </a:cubicBezTo>
                  <a:cubicBezTo>
                    <a:pt x="58" y="139"/>
                    <a:pt x="47" y="140"/>
                    <a:pt x="38" y="132"/>
                  </a:cubicBezTo>
                  <a:cubicBezTo>
                    <a:pt x="19" y="115"/>
                    <a:pt x="0" y="32"/>
                    <a:pt x="3" y="16"/>
                  </a:cubicBezTo>
                  <a:cubicBezTo>
                    <a:pt x="6" y="0"/>
                    <a:pt x="45" y="5"/>
                    <a:pt x="45" y="5"/>
                  </a:cubicBezTo>
                </a:path>
              </a:pathLst>
            </a:custGeom>
            <a:solidFill>
              <a:srgbClr val="9488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ïṣḻïdé">
              <a:extLst>
                <a:ext uri="{FF2B5EF4-FFF2-40B4-BE49-F238E27FC236}">
                  <a16:creationId xmlns:a16="http://schemas.microsoft.com/office/drawing/2014/main" id="{C13FE2DC-96EC-4CA2-BDD7-57F88C6327E1}"/>
                </a:ext>
              </a:extLst>
            </p:cNvPr>
            <p:cNvSpPr/>
            <p:nvPr/>
          </p:nvSpPr>
          <p:spPr bwMode="auto">
            <a:xfrm>
              <a:off x="7433034" y="5143224"/>
              <a:ext cx="197968" cy="179971"/>
            </a:xfrm>
            <a:custGeom>
              <a:avLst/>
              <a:gdLst>
                <a:gd name="T0" fmla="*/ 35 w 41"/>
                <a:gd name="T1" fmla="*/ 0 h 37"/>
                <a:gd name="T2" fmla="*/ 40 w 41"/>
                <a:gd name="T3" fmla="*/ 15 h 37"/>
                <a:gd name="T4" fmla="*/ 36 w 41"/>
                <a:gd name="T5" fmla="*/ 23 h 37"/>
                <a:gd name="T6" fmla="*/ 7 w 41"/>
                <a:gd name="T7" fmla="*/ 35 h 37"/>
                <a:gd name="T8" fmla="*/ 2 w 41"/>
                <a:gd name="T9" fmla="*/ 29 h 37"/>
                <a:gd name="T10" fmla="*/ 12 w 41"/>
                <a:gd name="T11" fmla="*/ 22 h 37"/>
                <a:gd name="T12" fmla="*/ 25 w 41"/>
                <a:gd name="T13" fmla="*/ 2 h 37"/>
                <a:gd name="T14" fmla="*/ 35 w 41"/>
                <a:gd name="T15" fmla="*/ 0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7">
                  <a:moveTo>
                    <a:pt x="35" y="0"/>
                  </a:moveTo>
                  <a:cubicBezTo>
                    <a:pt x="35" y="0"/>
                    <a:pt x="39" y="10"/>
                    <a:pt x="40" y="15"/>
                  </a:cubicBezTo>
                  <a:cubicBezTo>
                    <a:pt x="41" y="18"/>
                    <a:pt x="39" y="22"/>
                    <a:pt x="36" y="23"/>
                  </a:cubicBezTo>
                  <a:cubicBezTo>
                    <a:pt x="7" y="35"/>
                    <a:pt x="7" y="35"/>
                    <a:pt x="7" y="35"/>
                  </a:cubicBezTo>
                  <a:cubicBezTo>
                    <a:pt x="3" y="37"/>
                    <a:pt x="0" y="32"/>
                    <a:pt x="2" y="29"/>
                  </a:cubicBezTo>
                  <a:cubicBezTo>
                    <a:pt x="4" y="27"/>
                    <a:pt x="7" y="25"/>
                    <a:pt x="12" y="22"/>
                  </a:cubicBezTo>
                  <a:cubicBezTo>
                    <a:pt x="31" y="13"/>
                    <a:pt x="25" y="2"/>
                    <a:pt x="25" y="2"/>
                  </a:cubicBezTo>
                  <a:lnTo>
                    <a:pt x="35" y="0"/>
                  </a:lnTo>
                  <a:close/>
                </a:path>
              </a:pathLst>
            </a:custGeom>
            <a:solidFill>
              <a:srgbClr val="FA708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îṣļiḑe">
              <a:extLst>
                <a:ext uri="{FF2B5EF4-FFF2-40B4-BE49-F238E27FC236}">
                  <a16:creationId xmlns:a16="http://schemas.microsoft.com/office/drawing/2014/main" id="{6310C29F-A789-4EF2-9854-73BBE0E57156}"/>
                </a:ext>
              </a:extLst>
            </p:cNvPr>
            <p:cNvSpPr/>
            <p:nvPr/>
          </p:nvSpPr>
          <p:spPr bwMode="auto">
            <a:xfrm>
              <a:off x="7370044" y="4586813"/>
              <a:ext cx="241461" cy="599903"/>
            </a:xfrm>
            <a:custGeom>
              <a:avLst/>
              <a:gdLst>
                <a:gd name="T0" fmla="*/ 16 w 50"/>
                <a:gd name="T1" fmla="*/ 4 h 124"/>
                <a:gd name="T2" fmla="*/ 36 w 50"/>
                <a:gd name="T3" fmla="*/ 27 h 124"/>
                <a:gd name="T4" fmla="*/ 50 w 50"/>
                <a:gd name="T5" fmla="*/ 121 h 124"/>
                <a:gd name="T6" fmla="*/ 39 w 50"/>
                <a:gd name="T7" fmla="*/ 124 h 124"/>
                <a:gd name="T8" fmla="*/ 10 w 50"/>
                <a:gd name="T9" fmla="*/ 44 h 124"/>
                <a:gd name="T10" fmla="*/ 0 w 50"/>
                <a:gd name="T11" fmla="*/ 11 h 124"/>
                <a:gd name="T12" fmla="*/ 0 w 50"/>
                <a:gd name="T13" fmla="*/ 0 h 124"/>
                <a:gd name="T14" fmla="*/ 16 w 50"/>
                <a:gd name="T15" fmla="*/ 4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124">
                  <a:moveTo>
                    <a:pt x="16" y="4"/>
                  </a:moveTo>
                  <a:cubicBezTo>
                    <a:pt x="16" y="4"/>
                    <a:pt x="30" y="8"/>
                    <a:pt x="36" y="27"/>
                  </a:cubicBezTo>
                  <a:cubicBezTo>
                    <a:pt x="41" y="46"/>
                    <a:pt x="50" y="121"/>
                    <a:pt x="50" y="121"/>
                  </a:cubicBezTo>
                  <a:cubicBezTo>
                    <a:pt x="39" y="124"/>
                    <a:pt x="39" y="124"/>
                    <a:pt x="39" y="124"/>
                  </a:cubicBezTo>
                  <a:cubicBezTo>
                    <a:pt x="10" y="44"/>
                    <a:pt x="10" y="44"/>
                    <a:pt x="10" y="44"/>
                  </a:cubicBezTo>
                  <a:cubicBezTo>
                    <a:pt x="6" y="34"/>
                    <a:pt x="1" y="22"/>
                    <a:pt x="0" y="11"/>
                  </a:cubicBezTo>
                  <a:cubicBezTo>
                    <a:pt x="0" y="0"/>
                    <a:pt x="0" y="0"/>
                    <a:pt x="0" y="0"/>
                  </a:cubicBezTo>
                  <a:lnTo>
                    <a:pt x="16" y="4"/>
                  </a:lnTo>
                  <a:close/>
                </a:path>
              </a:pathLst>
            </a:custGeom>
            <a:solidFill>
              <a:srgbClr val="9488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îṧḻiḍè">
              <a:extLst>
                <a:ext uri="{FF2B5EF4-FFF2-40B4-BE49-F238E27FC236}">
                  <a16:creationId xmlns:a16="http://schemas.microsoft.com/office/drawing/2014/main" id="{1872532A-6B39-413F-B5B4-91A58E1D4422}"/>
                </a:ext>
              </a:extLst>
            </p:cNvPr>
            <p:cNvSpPr/>
            <p:nvPr/>
          </p:nvSpPr>
          <p:spPr bwMode="auto">
            <a:xfrm>
              <a:off x="6981606" y="4999247"/>
              <a:ext cx="203967" cy="124480"/>
            </a:xfrm>
            <a:custGeom>
              <a:avLst/>
              <a:gdLst>
                <a:gd name="T0" fmla="*/ 38 w 42"/>
                <a:gd name="T1" fmla="*/ 6 h 26"/>
                <a:gd name="T2" fmla="*/ 42 w 42"/>
                <a:gd name="T3" fmla="*/ 16 h 26"/>
                <a:gd name="T4" fmla="*/ 36 w 42"/>
                <a:gd name="T5" fmla="*/ 22 h 26"/>
                <a:gd name="T6" fmla="*/ 6 w 42"/>
                <a:gd name="T7" fmla="*/ 25 h 26"/>
                <a:gd name="T8" fmla="*/ 3 w 42"/>
                <a:gd name="T9" fmla="*/ 19 h 26"/>
                <a:gd name="T10" fmla="*/ 14 w 42"/>
                <a:gd name="T11" fmla="*/ 15 h 26"/>
                <a:gd name="T12" fmla="*/ 31 w 42"/>
                <a:gd name="T13" fmla="*/ 0 h 26"/>
                <a:gd name="T14" fmla="*/ 38 w 42"/>
                <a:gd name="T15" fmla="*/ 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38" y="6"/>
                  </a:moveTo>
                  <a:cubicBezTo>
                    <a:pt x="38" y="6"/>
                    <a:pt x="42" y="11"/>
                    <a:pt x="42" y="16"/>
                  </a:cubicBezTo>
                  <a:cubicBezTo>
                    <a:pt x="42" y="19"/>
                    <a:pt x="39" y="22"/>
                    <a:pt x="36" y="22"/>
                  </a:cubicBezTo>
                  <a:cubicBezTo>
                    <a:pt x="6" y="25"/>
                    <a:pt x="6" y="25"/>
                    <a:pt x="6" y="25"/>
                  </a:cubicBezTo>
                  <a:cubicBezTo>
                    <a:pt x="2" y="26"/>
                    <a:pt x="0" y="21"/>
                    <a:pt x="3" y="19"/>
                  </a:cubicBezTo>
                  <a:cubicBezTo>
                    <a:pt x="5" y="17"/>
                    <a:pt x="9" y="16"/>
                    <a:pt x="14" y="15"/>
                  </a:cubicBezTo>
                  <a:cubicBezTo>
                    <a:pt x="33" y="11"/>
                    <a:pt x="31" y="0"/>
                    <a:pt x="31" y="0"/>
                  </a:cubicBezTo>
                  <a:lnTo>
                    <a:pt x="38" y="6"/>
                  </a:lnTo>
                  <a:close/>
                </a:path>
              </a:pathLst>
            </a:custGeom>
            <a:solidFill>
              <a:srgbClr val="FA708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iṡḷide">
              <a:extLst>
                <a:ext uri="{FF2B5EF4-FFF2-40B4-BE49-F238E27FC236}">
                  <a16:creationId xmlns:a16="http://schemas.microsoft.com/office/drawing/2014/main" id="{4F690920-27D6-4BD7-BCD6-244E8BDE9E23}"/>
                </a:ext>
              </a:extLst>
            </p:cNvPr>
            <p:cNvSpPr/>
            <p:nvPr/>
          </p:nvSpPr>
          <p:spPr bwMode="auto">
            <a:xfrm>
              <a:off x="6909618" y="4093393"/>
              <a:ext cx="464925" cy="556411"/>
            </a:xfrm>
            <a:custGeom>
              <a:avLst/>
              <a:gdLst>
                <a:gd name="T0" fmla="*/ 86 w 96"/>
                <a:gd name="T1" fmla="*/ 21 h 115"/>
                <a:gd name="T2" fmla="*/ 85 w 96"/>
                <a:gd name="T3" fmla="*/ 47 h 115"/>
                <a:gd name="T4" fmla="*/ 2 w 96"/>
                <a:gd name="T5" fmla="*/ 89 h 115"/>
                <a:gd name="T6" fmla="*/ 59 w 96"/>
                <a:gd name="T7" fmla="*/ 9 h 115"/>
                <a:gd name="T8" fmla="*/ 86 w 96"/>
                <a:gd name="T9" fmla="*/ 21 h 115"/>
              </a:gdLst>
              <a:ahLst/>
              <a:cxnLst>
                <a:cxn ang="0">
                  <a:pos x="T0" y="T1"/>
                </a:cxn>
                <a:cxn ang="0">
                  <a:pos x="T2" y="T3"/>
                </a:cxn>
                <a:cxn ang="0">
                  <a:pos x="T4" y="T5"/>
                </a:cxn>
                <a:cxn ang="0">
                  <a:pos x="T6" y="T7"/>
                </a:cxn>
                <a:cxn ang="0">
                  <a:pos x="T8" y="T9"/>
                </a:cxn>
              </a:cxnLst>
              <a:rect l="0" t="0" r="r" b="b"/>
              <a:pathLst>
                <a:path w="96" h="115">
                  <a:moveTo>
                    <a:pt x="86" y="21"/>
                  </a:moveTo>
                  <a:cubicBezTo>
                    <a:pt x="86" y="21"/>
                    <a:pt x="96" y="33"/>
                    <a:pt x="85" y="47"/>
                  </a:cubicBezTo>
                  <a:cubicBezTo>
                    <a:pt x="53" y="88"/>
                    <a:pt x="0" y="115"/>
                    <a:pt x="2" y="89"/>
                  </a:cubicBezTo>
                  <a:cubicBezTo>
                    <a:pt x="5" y="63"/>
                    <a:pt x="45" y="17"/>
                    <a:pt x="59" y="9"/>
                  </a:cubicBezTo>
                  <a:cubicBezTo>
                    <a:pt x="73" y="0"/>
                    <a:pt x="86" y="21"/>
                    <a:pt x="86" y="21"/>
                  </a:cubicBezTo>
                </a:path>
              </a:pathLst>
            </a:custGeom>
            <a:solidFill>
              <a:srgbClr val="9488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ḷîḑé">
              <a:extLst>
                <a:ext uri="{FF2B5EF4-FFF2-40B4-BE49-F238E27FC236}">
                  <a16:creationId xmlns:a16="http://schemas.microsoft.com/office/drawing/2014/main" id="{02F4C83A-399A-4328-8A53-38373A0D39B5}"/>
                </a:ext>
              </a:extLst>
            </p:cNvPr>
            <p:cNvSpPr/>
            <p:nvPr/>
          </p:nvSpPr>
          <p:spPr bwMode="auto">
            <a:xfrm>
              <a:off x="6918616" y="4510326"/>
              <a:ext cx="247460" cy="521916"/>
            </a:xfrm>
            <a:custGeom>
              <a:avLst/>
              <a:gdLst>
                <a:gd name="T0" fmla="*/ 24 w 51"/>
                <a:gd name="T1" fmla="*/ 3 h 108"/>
                <a:gd name="T2" fmla="*/ 39 w 51"/>
                <a:gd name="T3" fmla="*/ 25 h 108"/>
                <a:gd name="T4" fmla="*/ 51 w 51"/>
                <a:gd name="T5" fmla="*/ 106 h 108"/>
                <a:gd name="T6" fmla="*/ 42 w 51"/>
                <a:gd name="T7" fmla="*/ 108 h 108"/>
                <a:gd name="T8" fmla="*/ 12 w 51"/>
                <a:gd name="T9" fmla="*/ 42 h 108"/>
                <a:gd name="T10" fmla="*/ 0 w 51"/>
                <a:gd name="T11" fmla="*/ 10 h 108"/>
                <a:gd name="T12" fmla="*/ 0 w 51"/>
                <a:gd name="T13" fmla="*/ 0 h 108"/>
                <a:gd name="T14" fmla="*/ 24 w 51"/>
                <a:gd name="T15" fmla="*/ 3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08">
                  <a:moveTo>
                    <a:pt x="24" y="3"/>
                  </a:moveTo>
                  <a:cubicBezTo>
                    <a:pt x="24" y="3"/>
                    <a:pt x="33" y="8"/>
                    <a:pt x="39" y="25"/>
                  </a:cubicBezTo>
                  <a:cubicBezTo>
                    <a:pt x="45" y="43"/>
                    <a:pt x="51" y="106"/>
                    <a:pt x="51" y="106"/>
                  </a:cubicBezTo>
                  <a:cubicBezTo>
                    <a:pt x="42" y="108"/>
                    <a:pt x="42" y="108"/>
                    <a:pt x="42" y="108"/>
                  </a:cubicBezTo>
                  <a:cubicBezTo>
                    <a:pt x="12" y="42"/>
                    <a:pt x="12" y="42"/>
                    <a:pt x="12" y="42"/>
                  </a:cubicBezTo>
                  <a:cubicBezTo>
                    <a:pt x="7" y="32"/>
                    <a:pt x="0" y="21"/>
                    <a:pt x="0" y="10"/>
                  </a:cubicBezTo>
                  <a:cubicBezTo>
                    <a:pt x="0" y="0"/>
                    <a:pt x="0" y="0"/>
                    <a:pt x="0" y="0"/>
                  </a:cubicBezTo>
                  <a:cubicBezTo>
                    <a:pt x="24" y="3"/>
                    <a:pt x="24" y="3"/>
                    <a:pt x="24" y="3"/>
                  </a:cubicBezTo>
                </a:path>
              </a:pathLst>
            </a:custGeom>
            <a:solidFill>
              <a:srgbClr val="9488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íslídè">
              <a:extLst>
                <a:ext uri="{FF2B5EF4-FFF2-40B4-BE49-F238E27FC236}">
                  <a16:creationId xmlns:a16="http://schemas.microsoft.com/office/drawing/2014/main" id="{4DC560AF-B957-4CA8-9B5E-299D60430C47}"/>
                </a:ext>
              </a:extLst>
            </p:cNvPr>
            <p:cNvSpPr/>
            <p:nvPr/>
          </p:nvSpPr>
          <p:spPr bwMode="auto">
            <a:xfrm>
              <a:off x="7118085" y="3682460"/>
              <a:ext cx="358443" cy="551911"/>
            </a:xfrm>
            <a:custGeom>
              <a:avLst/>
              <a:gdLst>
                <a:gd name="T0" fmla="*/ 24 w 74"/>
                <a:gd name="T1" fmla="*/ 5 h 114"/>
                <a:gd name="T2" fmla="*/ 36 w 74"/>
                <a:gd name="T3" fmla="*/ 2 h 114"/>
                <a:gd name="T4" fmla="*/ 58 w 74"/>
                <a:gd name="T5" fmla="*/ 3 h 114"/>
                <a:gd name="T6" fmla="*/ 67 w 74"/>
                <a:gd name="T7" fmla="*/ 6 h 114"/>
                <a:gd name="T8" fmla="*/ 72 w 74"/>
                <a:gd name="T9" fmla="*/ 102 h 114"/>
                <a:gd name="T10" fmla="*/ 0 w 74"/>
                <a:gd name="T11" fmla="*/ 99 h 114"/>
                <a:gd name="T12" fmla="*/ 24 w 74"/>
                <a:gd name="T13" fmla="*/ 5 h 114"/>
              </a:gdLst>
              <a:ahLst/>
              <a:cxnLst>
                <a:cxn ang="0">
                  <a:pos x="T0" y="T1"/>
                </a:cxn>
                <a:cxn ang="0">
                  <a:pos x="T2" y="T3"/>
                </a:cxn>
                <a:cxn ang="0">
                  <a:pos x="T4" y="T5"/>
                </a:cxn>
                <a:cxn ang="0">
                  <a:pos x="T6" y="T7"/>
                </a:cxn>
                <a:cxn ang="0">
                  <a:pos x="T8" y="T9"/>
                </a:cxn>
                <a:cxn ang="0">
                  <a:pos x="T10" y="T11"/>
                </a:cxn>
                <a:cxn ang="0">
                  <a:pos x="T12" y="T13"/>
                </a:cxn>
              </a:cxnLst>
              <a:rect l="0" t="0" r="r" b="b"/>
              <a:pathLst>
                <a:path w="74" h="114">
                  <a:moveTo>
                    <a:pt x="24" y="5"/>
                  </a:moveTo>
                  <a:cubicBezTo>
                    <a:pt x="27" y="2"/>
                    <a:pt x="31" y="0"/>
                    <a:pt x="36" y="2"/>
                  </a:cubicBezTo>
                  <a:cubicBezTo>
                    <a:pt x="39" y="3"/>
                    <a:pt x="46" y="4"/>
                    <a:pt x="58" y="3"/>
                  </a:cubicBezTo>
                  <a:cubicBezTo>
                    <a:pt x="58" y="3"/>
                    <a:pt x="63" y="2"/>
                    <a:pt x="67" y="6"/>
                  </a:cubicBezTo>
                  <a:cubicBezTo>
                    <a:pt x="72" y="10"/>
                    <a:pt x="74" y="91"/>
                    <a:pt x="72" y="102"/>
                  </a:cubicBezTo>
                  <a:cubicBezTo>
                    <a:pt x="72" y="102"/>
                    <a:pt x="23" y="114"/>
                    <a:pt x="0" y="99"/>
                  </a:cubicBezTo>
                  <a:cubicBezTo>
                    <a:pt x="0" y="99"/>
                    <a:pt x="10" y="27"/>
                    <a:pt x="24" y="5"/>
                  </a:cubicBezTo>
                </a:path>
              </a:pathLst>
            </a:custGeom>
            <a:solidFill>
              <a:srgbClr val="227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íSḻîḍé">
              <a:extLst>
                <a:ext uri="{FF2B5EF4-FFF2-40B4-BE49-F238E27FC236}">
                  <a16:creationId xmlns:a16="http://schemas.microsoft.com/office/drawing/2014/main" id="{99C4E10C-C673-490F-94FE-D692E2A7012E}"/>
                </a:ext>
              </a:extLst>
            </p:cNvPr>
            <p:cNvSpPr/>
            <p:nvPr/>
          </p:nvSpPr>
          <p:spPr bwMode="auto">
            <a:xfrm>
              <a:off x="7665496" y="4190877"/>
              <a:ext cx="91486" cy="182970"/>
            </a:xfrm>
            <a:custGeom>
              <a:avLst/>
              <a:gdLst>
                <a:gd name="T0" fmla="*/ 12 w 19"/>
                <a:gd name="T1" fmla="*/ 3 h 38"/>
                <a:gd name="T2" fmla="*/ 15 w 19"/>
                <a:gd name="T3" fmla="*/ 25 h 38"/>
                <a:gd name="T4" fmla="*/ 7 w 19"/>
                <a:gd name="T5" fmla="*/ 30 h 38"/>
                <a:gd name="T6" fmla="*/ 0 w 19"/>
                <a:gd name="T7" fmla="*/ 3 h 38"/>
                <a:gd name="T8" fmla="*/ 12 w 19"/>
                <a:gd name="T9" fmla="*/ 3 h 38"/>
              </a:gdLst>
              <a:ahLst/>
              <a:cxnLst>
                <a:cxn ang="0">
                  <a:pos x="T0" y="T1"/>
                </a:cxn>
                <a:cxn ang="0">
                  <a:pos x="T2" y="T3"/>
                </a:cxn>
                <a:cxn ang="0">
                  <a:pos x="T4" y="T5"/>
                </a:cxn>
                <a:cxn ang="0">
                  <a:pos x="T6" y="T7"/>
                </a:cxn>
                <a:cxn ang="0">
                  <a:pos x="T8" y="T9"/>
                </a:cxn>
              </a:cxnLst>
              <a:rect l="0" t="0" r="r" b="b"/>
              <a:pathLst>
                <a:path w="19" h="38">
                  <a:moveTo>
                    <a:pt x="12" y="3"/>
                  </a:moveTo>
                  <a:cubicBezTo>
                    <a:pt x="18" y="15"/>
                    <a:pt x="11" y="14"/>
                    <a:pt x="15" y="25"/>
                  </a:cubicBezTo>
                  <a:cubicBezTo>
                    <a:pt x="19" y="35"/>
                    <a:pt x="12" y="38"/>
                    <a:pt x="7" y="30"/>
                  </a:cubicBezTo>
                  <a:cubicBezTo>
                    <a:pt x="1" y="19"/>
                    <a:pt x="0" y="3"/>
                    <a:pt x="0" y="3"/>
                  </a:cubicBezTo>
                  <a:cubicBezTo>
                    <a:pt x="0" y="3"/>
                    <a:pt x="10" y="0"/>
                    <a:pt x="12" y="3"/>
                  </a:cubicBezTo>
                  <a:close/>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išľídé">
              <a:extLst>
                <a:ext uri="{FF2B5EF4-FFF2-40B4-BE49-F238E27FC236}">
                  <a16:creationId xmlns:a16="http://schemas.microsoft.com/office/drawing/2014/main" id="{27238155-306B-4B5E-BEA8-CA0FA0D92C25}"/>
                </a:ext>
              </a:extLst>
            </p:cNvPr>
            <p:cNvSpPr/>
            <p:nvPr/>
          </p:nvSpPr>
          <p:spPr bwMode="auto">
            <a:xfrm>
              <a:off x="7157078" y="3280524"/>
              <a:ext cx="352444" cy="232463"/>
            </a:xfrm>
            <a:custGeom>
              <a:avLst/>
              <a:gdLst>
                <a:gd name="T0" fmla="*/ 45 w 73"/>
                <a:gd name="T1" fmla="*/ 30 h 48"/>
                <a:gd name="T2" fmla="*/ 11 w 73"/>
                <a:gd name="T3" fmla="*/ 28 h 48"/>
                <a:gd name="T4" fmla="*/ 22 w 73"/>
                <a:gd name="T5" fmla="*/ 5 h 48"/>
                <a:gd name="T6" fmla="*/ 66 w 73"/>
                <a:gd name="T7" fmla="*/ 23 h 48"/>
                <a:gd name="T8" fmla="*/ 45 w 73"/>
                <a:gd name="T9" fmla="*/ 30 h 48"/>
              </a:gdLst>
              <a:ahLst/>
              <a:cxnLst>
                <a:cxn ang="0">
                  <a:pos x="T0" y="T1"/>
                </a:cxn>
                <a:cxn ang="0">
                  <a:pos x="T2" y="T3"/>
                </a:cxn>
                <a:cxn ang="0">
                  <a:pos x="T4" y="T5"/>
                </a:cxn>
                <a:cxn ang="0">
                  <a:pos x="T6" y="T7"/>
                </a:cxn>
                <a:cxn ang="0">
                  <a:pos x="T8" y="T9"/>
                </a:cxn>
              </a:cxnLst>
              <a:rect l="0" t="0" r="r" b="b"/>
              <a:pathLst>
                <a:path w="73" h="48">
                  <a:moveTo>
                    <a:pt x="45" y="30"/>
                  </a:moveTo>
                  <a:cubicBezTo>
                    <a:pt x="45" y="30"/>
                    <a:pt x="22" y="36"/>
                    <a:pt x="11" y="28"/>
                  </a:cubicBezTo>
                  <a:cubicBezTo>
                    <a:pt x="0" y="20"/>
                    <a:pt x="7" y="8"/>
                    <a:pt x="22" y="5"/>
                  </a:cubicBezTo>
                  <a:cubicBezTo>
                    <a:pt x="36" y="2"/>
                    <a:pt x="59" y="0"/>
                    <a:pt x="66" y="23"/>
                  </a:cubicBezTo>
                  <a:cubicBezTo>
                    <a:pt x="73" y="48"/>
                    <a:pt x="45" y="30"/>
                    <a:pt x="45" y="30"/>
                  </a:cubicBezTo>
                  <a:close/>
                </a:path>
              </a:pathLst>
            </a:custGeom>
            <a:solidFill>
              <a:srgbClr val="393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ïŝľide">
              <a:extLst>
                <a:ext uri="{FF2B5EF4-FFF2-40B4-BE49-F238E27FC236}">
                  <a16:creationId xmlns:a16="http://schemas.microsoft.com/office/drawing/2014/main" id="{6AFB326F-1A66-44A8-B897-58C457BA3381}"/>
                </a:ext>
              </a:extLst>
            </p:cNvPr>
            <p:cNvSpPr/>
            <p:nvPr/>
          </p:nvSpPr>
          <p:spPr bwMode="auto">
            <a:xfrm>
              <a:off x="6720648" y="3686958"/>
              <a:ext cx="590905" cy="232463"/>
            </a:xfrm>
            <a:custGeom>
              <a:avLst/>
              <a:gdLst>
                <a:gd name="T0" fmla="*/ 394 w 394"/>
                <a:gd name="T1" fmla="*/ 117 h 155"/>
                <a:gd name="T2" fmla="*/ 184 w 394"/>
                <a:gd name="T3" fmla="*/ 155 h 155"/>
                <a:gd name="T4" fmla="*/ 0 w 394"/>
                <a:gd name="T5" fmla="*/ 52 h 155"/>
                <a:gd name="T6" fmla="*/ 36 w 394"/>
                <a:gd name="T7" fmla="*/ 4 h 155"/>
                <a:gd name="T8" fmla="*/ 194 w 394"/>
                <a:gd name="T9" fmla="*/ 81 h 155"/>
                <a:gd name="T10" fmla="*/ 362 w 394"/>
                <a:gd name="T11" fmla="*/ 0 h 155"/>
                <a:gd name="T12" fmla="*/ 394 w 394"/>
                <a:gd name="T13" fmla="*/ 117 h 155"/>
              </a:gdLst>
              <a:ahLst/>
              <a:cxnLst>
                <a:cxn ang="0">
                  <a:pos x="T0" y="T1"/>
                </a:cxn>
                <a:cxn ang="0">
                  <a:pos x="T2" y="T3"/>
                </a:cxn>
                <a:cxn ang="0">
                  <a:pos x="T4" y="T5"/>
                </a:cxn>
                <a:cxn ang="0">
                  <a:pos x="T6" y="T7"/>
                </a:cxn>
                <a:cxn ang="0">
                  <a:pos x="T8" y="T9"/>
                </a:cxn>
                <a:cxn ang="0">
                  <a:pos x="T10" y="T11"/>
                </a:cxn>
                <a:cxn ang="0">
                  <a:pos x="T12" y="T13"/>
                </a:cxn>
              </a:cxnLst>
              <a:rect l="0" t="0" r="r" b="b"/>
              <a:pathLst>
                <a:path w="394" h="155">
                  <a:moveTo>
                    <a:pt x="394" y="117"/>
                  </a:moveTo>
                  <a:lnTo>
                    <a:pt x="184" y="155"/>
                  </a:lnTo>
                  <a:lnTo>
                    <a:pt x="0" y="52"/>
                  </a:lnTo>
                  <a:lnTo>
                    <a:pt x="36" y="4"/>
                  </a:lnTo>
                  <a:lnTo>
                    <a:pt x="194" y="81"/>
                  </a:lnTo>
                  <a:lnTo>
                    <a:pt x="362" y="0"/>
                  </a:lnTo>
                  <a:lnTo>
                    <a:pt x="394" y="117"/>
                  </a:lnTo>
                  <a:close/>
                </a:path>
              </a:pathLst>
            </a:custGeom>
            <a:solidFill>
              <a:srgbClr val="227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îṧľîḓe">
              <a:extLst>
                <a:ext uri="{FF2B5EF4-FFF2-40B4-BE49-F238E27FC236}">
                  <a16:creationId xmlns:a16="http://schemas.microsoft.com/office/drawing/2014/main" id="{D1FE7341-86AA-4D94-9725-9B272B00CBC3}"/>
                </a:ext>
              </a:extLst>
            </p:cNvPr>
            <p:cNvSpPr/>
            <p:nvPr/>
          </p:nvSpPr>
          <p:spPr bwMode="auto">
            <a:xfrm>
              <a:off x="6720648" y="3686958"/>
              <a:ext cx="590905" cy="232463"/>
            </a:xfrm>
            <a:custGeom>
              <a:avLst/>
              <a:gdLst>
                <a:gd name="T0" fmla="*/ 394 w 394"/>
                <a:gd name="T1" fmla="*/ 117 h 155"/>
                <a:gd name="T2" fmla="*/ 184 w 394"/>
                <a:gd name="T3" fmla="*/ 155 h 155"/>
                <a:gd name="T4" fmla="*/ 0 w 394"/>
                <a:gd name="T5" fmla="*/ 52 h 155"/>
                <a:gd name="T6" fmla="*/ 36 w 394"/>
                <a:gd name="T7" fmla="*/ 4 h 155"/>
                <a:gd name="T8" fmla="*/ 194 w 394"/>
                <a:gd name="T9" fmla="*/ 81 h 155"/>
                <a:gd name="T10" fmla="*/ 362 w 394"/>
                <a:gd name="T11" fmla="*/ 0 h 155"/>
                <a:gd name="T12" fmla="*/ 394 w 394"/>
                <a:gd name="T13" fmla="*/ 117 h 155"/>
              </a:gdLst>
              <a:ahLst/>
              <a:cxnLst>
                <a:cxn ang="0">
                  <a:pos x="T0" y="T1"/>
                </a:cxn>
                <a:cxn ang="0">
                  <a:pos x="T2" y="T3"/>
                </a:cxn>
                <a:cxn ang="0">
                  <a:pos x="T4" y="T5"/>
                </a:cxn>
                <a:cxn ang="0">
                  <a:pos x="T6" y="T7"/>
                </a:cxn>
                <a:cxn ang="0">
                  <a:pos x="T8" y="T9"/>
                </a:cxn>
                <a:cxn ang="0">
                  <a:pos x="T10" y="T11"/>
                </a:cxn>
                <a:cxn ang="0">
                  <a:pos x="T12" y="T13"/>
                </a:cxn>
              </a:cxnLst>
              <a:rect l="0" t="0" r="r" b="b"/>
              <a:pathLst>
                <a:path w="394" h="155">
                  <a:moveTo>
                    <a:pt x="394" y="117"/>
                  </a:moveTo>
                  <a:lnTo>
                    <a:pt x="184" y="155"/>
                  </a:lnTo>
                  <a:lnTo>
                    <a:pt x="0" y="52"/>
                  </a:lnTo>
                  <a:lnTo>
                    <a:pt x="36" y="4"/>
                  </a:lnTo>
                  <a:lnTo>
                    <a:pt x="194" y="81"/>
                  </a:lnTo>
                  <a:lnTo>
                    <a:pt x="362" y="0"/>
                  </a:lnTo>
                  <a:lnTo>
                    <a:pt x="394" y="1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ïS1iḑè">
              <a:extLst>
                <a:ext uri="{FF2B5EF4-FFF2-40B4-BE49-F238E27FC236}">
                  <a16:creationId xmlns:a16="http://schemas.microsoft.com/office/drawing/2014/main" id="{2B766A2E-A0A8-4317-A7C2-6A58888B42F9}"/>
                </a:ext>
              </a:extLst>
            </p:cNvPr>
            <p:cNvSpPr/>
            <p:nvPr/>
          </p:nvSpPr>
          <p:spPr bwMode="auto">
            <a:xfrm>
              <a:off x="7409038" y="3712455"/>
              <a:ext cx="332946" cy="545912"/>
            </a:xfrm>
            <a:custGeom>
              <a:avLst/>
              <a:gdLst>
                <a:gd name="T0" fmla="*/ 9 w 69"/>
                <a:gd name="T1" fmla="*/ 2 h 113"/>
                <a:gd name="T2" fmla="*/ 48 w 69"/>
                <a:gd name="T3" fmla="*/ 53 h 113"/>
                <a:gd name="T4" fmla="*/ 69 w 69"/>
                <a:gd name="T5" fmla="*/ 105 h 113"/>
                <a:gd name="T6" fmla="*/ 52 w 69"/>
                <a:gd name="T7" fmla="*/ 113 h 113"/>
                <a:gd name="T8" fmla="*/ 31 w 69"/>
                <a:gd name="T9" fmla="*/ 66 h 113"/>
                <a:gd name="T10" fmla="*/ 0 w 69"/>
                <a:gd name="T11" fmla="*/ 41 h 113"/>
                <a:gd name="T12" fmla="*/ 4 w 69"/>
                <a:gd name="T13" fmla="*/ 4 h 113"/>
                <a:gd name="T14" fmla="*/ 9 w 69"/>
                <a:gd name="T15" fmla="*/ 2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113">
                  <a:moveTo>
                    <a:pt x="9" y="2"/>
                  </a:moveTo>
                  <a:cubicBezTo>
                    <a:pt x="48" y="53"/>
                    <a:pt x="48" y="53"/>
                    <a:pt x="48" y="53"/>
                  </a:cubicBezTo>
                  <a:cubicBezTo>
                    <a:pt x="69" y="105"/>
                    <a:pt x="69" y="105"/>
                    <a:pt x="69" y="105"/>
                  </a:cubicBezTo>
                  <a:cubicBezTo>
                    <a:pt x="52" y="113"/>
                    <a:pt x="52" y="113"/>
                    <a:pt x="52" y="113"/>
                  </a:cubicBezTo>
                  <a:cubicBezTo>
                    <a:pt x="31" y="66"/>
                    <a:pt x="31" y="66"/>
                    <a:pt x="31" y="66"/>
                  </a:cubicBezTo>
                  <a:cubicBezTo>
                    <a:pt x="0" y="41"/>
                    <a:pt x="0" y="41"/>
                    <a:pt x="0" y="41"/>
                  </a:cubicBezTo>
                  <a:cubicBezTo>
                    <a:pt x="4" y="4"/>
                    <a:pt x="4" y="4"/>
                    <a:pt x="4" y="4"/>
                  </a:cubicBezTo>
                  <a:cubicBezTo>
                    <a:pt x="4" y="1"/>
                    <a:pt x="7" y="0"/>
                    <a:pt x="9" y="2"/>
                  </a:cubicBezTo>
                </a:path>
              </a:pathLst>
            </a:custGeom>
            <a:solidFill>
              <a:srgbClr val="227D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9" name="iśḷíďè">
              <a:extLst>
                <a:ext uri="{FF2B5EF4-FFF2-40B4-BE49-F238E27FC236}">
                  <a16:creationId xmlns:a16="http://schemas.microsoft.com/office/drawing/2014/main" id="{5B174882-71C7-4363-9E2B-53CFC47EA0E3}"/>
                </a:ext>
              </a:extLst>
            </p:cNvPr>
            <p:cNvSpPr/>
            <p:nvPr/>
          </p:nvSpPr>
          <p:spPr bwMode="auto">
            <a:xfrm>
              <a:off x="7059594" y="4393345"/>
              <a:ext cx="197968" cy="149976"/>
            </a:xfrm>
            <a:custGeom>
              <a:avLst/>
              <a:gdLst>
                <a:gd name="T0" fmla="*/ 14 w 41"/>
                <a:gd name="T1" fmla="*/ 23 h 31"/>
                <a:gd name="T2" fmla="*/ 0 w 41"/>
                <a:gd name="T3" fmla="*/ 31 h 31"/>
                <a:gd name="T4" fmla="*/ 0 w 41"/>
                <a:gd name="T5" fmla="*/ 31 h 31"/>
                <a:gd name="T6" fmla="*/ 14 w 41"/>
                <a:gd name="T7" fmla="*/ 23 h 31"/>
                <a:gd name="T8" fmla="*/ 41 w 41"/>
                <a:gd name="T9" fmla="*/ 0 h 31"/>
                <a:gd name="T10" fmla="*/ 33 w 41"/>
                <a:gd name="T11" fmla="*/ 7 h 31"/>
                <a:gd name="T12" fmla="*/ 41 w 41"/>
                <a:gd name="T13" fmla="*/ 0 h 31"/>
                <a:gd name="T14" fmla="*/ 41 w 41"/>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14" y="23"/>
                  </a:moveTo>
                  <a:cubicBezTo>
                    <a:pt x="9" y="26"/>
                    <a:pt x="4" y="29"/>
                    <a:pt x="0" y="31"/>
                  </a:cubicBezTo>
                  <a:cubicBezTo>
                    <a:pt x="0" y="31"/>
                    <a:pt x="0" y="31"/>
                    <a:pt x="0" y="31"/>
                  </a:cubicBezTo>
                  <a:cubicBezTo>
                    <a:pt x="4" y="30"/>
                    <a:pt x="9" y="26"/>
                    <a:pt x="14" y="23"/>
                  </a:cubicBezTo>
                  <a:moveTo>
                    <a:pt x="41" y="0"/>
                  </a:moveTo>
                  <a:cubicBezTo>
                    <a:pt x="38" y="2"/>
                    <a:pt x="36" y="5"/>
                    <a:pt x="33" y="7"/>
                  </a:cubicBezTo>
                  <a:cubicBezTo>
                    <a:pt x="38" y="3"/>
                    <a:pt x="41" y="0"/>
                    <a:pt x="41" y="0"/>
                  </a:cubicBezTo>
                  <a:cubicBezTo>
                    <a:pt x="41" y="0"/>
                    <a:pt x="41" y="0"/>
                    <a:pt x="41" y="0"/>
                  </a:cubicBezTo>
                </a:path>
              </a:pathLst>
            </a:custGeom>
            <a:solidFill>
              <a:srgbClr val="68B9F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0" name="íṥ1idè">
              <a:extLst>
                <a:ext uri="{FF2B5EF4-FFF2-40B4-BE49-F238E27FC236}">
                  <a16:creationId xmlns:a16="http://schemas.microsoft.com/office/drawing/2014/main" id="{EFE3B884-9497-4B54-ADFA-3CB4DD89C7A3}"/>
                </a:ext>
              </a:extLst>
            </p:cNvPr>
            <p:cNvSpPr/>
            <p:nvPr/>
          </p:nvSpPr>
          <p:spPr bwMode="auto">
            <a:xfrm>
              <a:off x="7059594" y="4249368"/>
              <a:ext cx="197968" cy="293953"/>
            </a:xfrm>
            <a:custGeom>
              <a:avLst/>
              <a:gdLst>
                <a:gd name="T0" fmla="*/ 35 w 41"/>
                <a:gd name="T1" fmla="*/ 0 h 61"/>
                <a:gd name="T2" fmla="*/ 26 w 41"/>
                <a:gd name="T3" fmla="*/ 28 h 61"/>
                <a:gd name="T4" fmla="*/ 0 w 41"/>
                <a:gd name="T5" fmla="*/ 60 h 61"/>
                <a:gd name="T6" fmla="*/ 0 w 41"/>
                <a:gd name="T7" fmla="*/ 61 h 61"/>
                <a:gd name="T8" fmla="*/ 0 w 41"/>
                <a:gd name="T9" fmla="*/ 61 h 61"/>
                <a:gd name="T10" fmla="*/ 14 w 41"/>
                <a:gd name="T11" fmla="*/ 53 h 61"/>
                <a:gd name="T12" fmla="*/ 33 w 41"/>
                <a:gd name="T13" fmla="*/ 37 h 61"/>
                <a:gd name="T14" fmla="*/ 41 w 41"/>
                <a:gd name="T15" fmla="*/ 30 h 61"/>
                <a:gd name="T16" fmla="*/ 35 w 41"/>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1">
                  <a:moveTo>
                    <a:pt x="35" y="0"/>
                  </a:moveTo>
                  <a:cubicBezTo>
                    <a:pt x="35" y="0"/>
                    <a:pt x="33" y="17"/>
                    <a:pt x="26" y="28"/>
                  </a:cubicBezTo>
                  <a:cubicBezTo>
                    <a:pt x="16" y="45"/>
                    <a:pt x="0" y="60"/>
                    <a:pt x="0" y="60"/>
                  </a:cubicBezTo>
                  <a:cubicBezTo>
                    <a:pt x="0" y="61"/>
                    <a:pt x="0" y="61"/>
                    <a:pt x="0" y="61"/>
                  </a:cubicBezTo>
                  <a:cubicBezTo>
                    <a:pt x="0" y="61"/>
                    <a:pt x="0" y="61"/>
                    <a:pt x="0" y="61"/>
                  </a:cubicBezTo>
                  <a:cubicBezTo>
                    <a:pt x="4" y="59"/>
                    <a:pt x="9" y="56"/>
                    <a:pt x="14" y="53"/>
                  </a:cubicBezTo>
                  <a:cubicBezTo>
                    <a:pt x="21" y="48"/>
                    <a:pt x="28" y="42"/>
                    <a:pt x="33" y="37"/>
                  </a:cubicBezTo>
                  <a:cubicBezTo>
                    <a:pt x="36" y="35"/>
                    <a:pt x="38" y="32"/>
                    <a:pt x="41" y="30"/>
                  </a:cubicBezTo>
                  <a:cubicBezTo>
                    <a:pt x="35" y="0"/>
                    <a:pt x="35" y="0"/>
                    <a:pt x="35" y="0"/>
                  </a:cubicBezTo>
                </a:path>
              </a:pathLst>
            </a:custGeom>
            <a:solidFill>
              <a:srgbClr val="7669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1" name="îṣ1iḑê">
              <a:extLst>
                <a:ext uri="{FF2B5EF4-FFF2-40B4-BE49-F238E27FC236}">
                  <a16:creationId xmlns:a16="http://schemas.microsoft.com/office/drawing/2014/main" id="{FC3B45C5-BC78-4AF1-BAB3-49C3818A0FA0}"/>
                </a:ext>
              </a:extLst>
            </p:cNvPr>
            <p:cNvSpPr/>
            <p:nvPr/>
          </p:nvSpPr>
          <p:spPr bwMode="auto">
            <a:xfrm>
              <a:off x="7055095" y="4543320"/>
              <a:ext cx="4500" cy="5999"/>
            </a:xfrm>
            <a:custGeom>
              <a:avLst/>
              <a:gdLst>
                <a:gd name="T0" fmla="*/ 1 w 1"/>
                <a:gd name="T1" fmla="*/ 0 h 1"/>
                <a:gd name="T2" fmla="*/ 0 w 1"/>
                <a:gd name="T3" fmla="*/ 1 h 1"/>
                <a:gd name="T4" fmla="*/ 1 w 1"/>
                <a:gd name="T5" fmla="*/ 1 h 1"/>
                <a:gd name="T6" fmla="*/ 1 w 1"/>
                <a:gd name="T7" fmla="*/ 0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1"/>
                    <a:pt x="0" y="1"/>
                  </a:cubicBezTo>
                  <a:cubicBezTo>
                    <a:pt x="0" y="1"/>
                    <a:pt x="0" y="1"/>
                    <a:pt x="1" y="1"/>
                  </a:cubicBezTo>
                  <a:cubicBezTo>
                    <a:pt x="1" y="1"/>
                    <a:pt x="1" y="0"/>
                    <a:pt x="1" y="0"/>
                  </a:cubicBezTo>
                  <a:cubicBezTo>
                    <a:pt x="1" y="0"/>
                    <a:pt x="1" y="0"/>
                    <a:pt x="1" y="0"/>
                  </a:cubicBezTo>
                  <a:cubicBezTo>
                    <a:pt x="1" y="0"/>
                    <a:pt x="1" y="0"/>
                    <a:pt x="1" y="0"/>
                  </a:cubicBezTo>
                </a:path>
              </a:pathLst>
            </a:custGeom>
            <a:solidFill>
              <a:srgbClr val="7669F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2" name="i$1ïḑè">
              <a:extLst>
                <a:ext uri="{FF2B5EF4-FFF2-40B4-BE49-F238E27FC236}">
                  <a16:creationId xmlns:a16="http://schemas.microsoft.com/office/drawing/2014/main" id="{1E048F2E-8137-4462-B2D9-58423BEEEC28}"/>
                </a:ext>
              </a:extLst>
            </p:cNvPr>
            <p:cNvSpPr/>
            <p:nvPr/>
          </p:nvSpPr>
          <p:spPr bwMode="auto">
            <a:xfrm>
              <a:off x="7346048" y="3402004"/>
              <a:ext cx="163474" cy="290953"/>
            </a:xfrm>
            <a:custGeom>
              <a:avLst/>
              <a:gdLst>
                <a:gd name="T0" fmla="*/ 0 w 34"/>
                <a:gd name="T1" fmla="*/ 0 h 60"/>
                <a:gd name="T2" fmla="*/ 11 w 34"/>
                <a:gd name="T3" fmla="*/ 41 h 60"/>
                <a:gd name="T4" fmla="*/ 10 w 34"/>
                <a:gd name="T5" fmla="*/ 60 h 60"/>
                <a:gd name="T6" fmla="*/ 34 w 34"/>
                <a:gd name="T7" fmla="*/ 50 h 60"/>
                <a:gd name="T8" fmla="*/ 29 w 34"/>
                <a:gd name="T9" fmla="*/ 12 h 60"/>
                <a:gd name="T10" fmla="*/ 21 w 34"/>
                <a:gd name="T11" fmla="*/ 0 h 60"/>
                <a:gd name="T12" fmla="*/ 0 w 34"/>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34" h="60">
                  <a:moveTo>
                    <a:pt x="0" y="0"/>
                  </a:moveTo>
                  <a:cubicBezTo>
                    <a:pt x="0" y="0"/>
                    <a:pt x="24" y="15"/>
                    <a:pt x="11" y="41"/>
                  </a:cubicBezTo>
                  <a:cubicBezTo>
                    <a:pt x="10" y="43"/>
                    <a:pt x="8" y="59"/>
                    <a:pt x="10" y="60"/>
                  </a:cubicBezTo>
                  <a:cubicBezTo>
                    <a:pt x="34" y="50"/>
                    <a:pt x="34" y="50"/>
                    <a:pt x="34" y="50"/>
                  </a:cubicBezTo>
                  <a:cubicBezTo>
                    <a:pt x="29" y="12"/>
                    <a:pt x="29" y="12"/>
                    <a:pt x="29" y="12"/>
                  </a:cubicBezTo>
                  <a:cubicBezTo>
                    <a:pt x="21" y="0"/>
                    <a:pt x="21" y="0"/>
                    <a:pt x="21" y="0"/>
                  </a:cubicBezTo>
                  <a:lnTo>
                    <a:pt x="0" y="0"/>
                  </a:lnTo>
                  <a:close/>
                </a:path>
              </a:pathLst>
            </a:custGeom>
            <a:solidFill>
              <a:srgbClr val="393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3" name="iṣlïḓè">
              <a:extLst>
                <a:ext uri="{FF2B5EF4-FFF2-40B4-BE49-F238E27FC236}">
                  <a16:creationId xmlns:a16="http://schemas.microsoft.com/office/drawing/2014/main" id="{89BAFE43-9C80-4641-AA3F-D87C0C246C1B}"/>
                </a:ext>
              </a:extLst>
            </p:cNvPr>
            <p:cNvSpPr/>
            <p:nvPr/>
          </p:nvSpPr>
          <p:spPr bwMode="auto">
            <a:xfrm>
              <a:off x="7394040" y="3426001"/>
              <a:ext cx="62990" cy="110982"/>
            </a:xfrm>
            <a:custGeom>
              <a:avLst/>
              <a:gdLst>
                <a:gd name="T0" fmla="*/ 0 w 13"/>
                <a:gd name="T1" fmla="*/ 8 h 23"/>
                <a:gd name="T2" fmla="*/ 10 w 13"/>
                <a:gd name="T3" fmla="*/ 8 h 23"/>
                <a:gd name="T4" fmla="*/ 0 w 13"/>
                <a:gd name="T5" fmla="*/ 19 h 23"/>
              </a:gdLst>
              <a:ahLst/>
              <a:cxnLst>
                <a:cxn ang="0">
                  <a:pos x="T0" y="T1"/>
                </a:cxn>
                <a:cxn ang="0">
                  <a:pos x="T2" y="T3"/>
                </a:cxn>
                <a:cxn ang="0">
                  <a:pos x="T4" y="T5"/>
                </a:cxn>
              </a:cxnLst>
              <a:rect l="0" t="0" r="r" b="b"/>
              <a:pathLst>
                <a:path w="13" h="23">
                  <a:moveTo>
                    <a:pt x="0" y="8"/>
                  </a:moveTo>
                  <a:cubicBezTo>
                    <a:pt x="0" y="8"/>
                    <a:pt x="6" y="0"/>
                    <a:pt x="10" y="8"/>
                  </a:cubicBezTo>
                  <a:cubicBezTo>
                    <a:pt x="13" y="17"/>
                    <a:pt x="1" y="23"/>
                    <a:pt x="0" y="19"/>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4" name="íSliḋê">
              <a:extLst>
                <a:ext uri="{FF2B5EF4-FFF2-40B4-BE49-F238E27FC236}">
                  <a16:creationId xmlns:a16="http://schemas.microsoft.com/office/drawing/2014/main" id="{F32C6A25-4131-4794-AF87-329F35248FF2}"/>
                </a:ext>
              </a:extLst>
            </p:cNvPr>
            <p:cNvSpPr/>
            <p:nvPr/>
          </p:nvSpPr>
          <p:spPr bwMode="auto">
            <a:xfrm>
              <a:off x="5132405" y="2158706"/>
              <a:ext cx="160475" cy="184471"/>
            </a:xfrm>
            <a:custGeom>
              <a:avLst/>
              <a:gdLst>
                <a:gd name="T0" fmla="*/ 33 w 33"/>
                <a:gd name="T1" fmla="*/ 0 h 38"/>
                <a:gd name="T2" fmla="*/ 27 w 33"/>
                <a:gd name="T3" fmla="*/ 38 h 38"/>
                <a:gd name="T4" fmla="*/ 0 w 33"/>
                <a:gd name="T5" fmla="*/ 35 h 38"/>
                <a:gd name="T6" fmla="*/ 9 w 33"/>
                <a:gd name="T7" fmla="*/ 6 h 38"/>
                <a:gd name="T8" fmla="*/ 33 w 33"/>
                <a:gd name="T9" fmla="*/ 0 h 38"/>
              </a:gdLst>
              <a:ahLst/>
              <a:cxnLst>
                <a:cxn ang="0">
                  <a:pos x="T0" y="T1"/>
                </a:cxn>
                <a:cxn ang="0">
                  <a:pos x="T2" y="T3"/>
                </a:cxn>
                <a:cxn ang="0">
                  <a:pos x="T4" y="T5"/>
                </a:cxn>
                <a:cxn ang="0">
                  <a:pos x="T6" y="T7"/>
                </a:cxn>
                <a:cxn ang="0">
                  <a:pos x="T8" y="T9"/>
                </a:cxn>
              </a:cxnLst>
              <a:rect l="0" t="0" r="r" b="b"/>
              <a:pathLst>
                <a:path w="33" h="38">
                  <a:moveTo>
                    <a:pt x="33" y="0"/>
                  </a:moveTo>
                  <a:cubicBezTo>
                    <a:pt x="33" y="0"/>
                    <a:pt x="20" y="21"/>
                    <a:pt x="27" y="38"/>
                  </a:cubicBezTo>
                  <a:cubicBezTo>
                    <a:pt x="0" y="35"/>
                    <a:pt x="0" y="35"/>
                    <a:pt x="0" y="35"/>
                  </a:cubicBezTo>
                  <a:cubicBezTo>
                    <a:pt x="0" y="35"/>
                    <a:pt x="11" y="10"/>
                    <a:pt x="9" y="6"/>
                  </a:cubicBezTo>
                  <a:cubicBezTo>
                    <a:pt x="7" y="1"/>
                    <a:pt x="33" y="0"/>
                    <a:pt x="33" y="0"/>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iṥḻiḓé">
              <a:extLst>
                <a:ext uri="{FF2B5EF4-FFF2-40B4-BE49-F238E27FC236}">
                  <a16:creationId xmlns:a16="http://schemas.microsoft.com/office/drawing/2014/main" id="{12BDBA1B-B37A-471B-94F0-E580022A609F}"/>
                </a:ext>
              </a:extLst>
            </p:cNvPr>
            <p:cNvSpPr/>
            <p:nvPr/>
          </p:nvSpPr>
          <p:spPr bwMode="auto">
            <a:xfrm>
              <a:off x="5156402" y="2226194"/>
              <a:ext cx="106483" cy="73489"/>
            </a:xfrm>
            <a:custGeom>
              <a:avLst/>
              <a:gdLst>
                <a:gd name="T0" fmla="*/ 0 w 22"/>
                <a:gd name="T1" fmla="*/ 9 h 15"/>
                <a:gd name="T2" fmla="*/ 0 w 22"/>
                <a:gd name="T3" fmla="*/ 9 h 15"/>
                <a:gd name="T4" fmla="*/ 0 w 22"/>
                <a:gd name="T5" fmla="*/ 9 h 15"/>
                <a:gd name="T6" fmla="*/ 1 w 22"/>
                <a:gd name="T7" fmla="*/ 8 h 15"/>
                <a:gd name="T8" fmla="*/ 0 w 22"/>
                <a:gd name="T9" fmla="*/ 9 h 15"/>
                <a:gd name="T10" fmla="*/ 1 w 22"/>
                <a:gd name="T11" fmla="*/ 8 h 15"/>
                <a:gd name="T12" fmla="*/ 1 w 22"/>
                <a:gd name="T13" fmla="*/ 8 h 15"/>
                <a:gd name="T14" fmla="*/ 22 w 22"/>
                <a:gd name="T15" fmla="*/ 0 h 15"/>
                <a:gd name="T16" fmla="*/ 22 w 22"/>
                <a:gd name="T17" fmla="*/ 0 h 15"/>
                <a:gd name="T18" fmla="*/ 20 w 22"/>
                <a:gd name="T19" fmla="*/ 15 h 15"/>
                <a:gd name="T20" fmla="*/ 20 w 22"/>
                <a:gd name="T21" fmla="*/ 15 h 15"/>
                <a:gd name="T22" fmla="*/ 22 w 22"/>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15">
                  <a:moveTo>
                    <a:pt x="0" y="9"/>
                  </a:moveTo>
                  <a:cubicBezTo>
                    <a:pt x="0" y="9"/>
                    <a:pt x="0" y="9"/>
                    <a:pt x="0" y="9"/>
                  </a:cubicBezTo>
                  <a:cubicBezTo>
                    <a:pt x="0" y="9"/>
                    <a:pt x="0" y="9"/>
                    <a:pt x="0" y="9"/>
                  </a:cubicBezTo>
                  <a:moveTo>
                    <a:pt x="1" y="8"/>
                  </a:moveTo>
                  <a:cubicBezTo>
                    <a:pt x="0" y="8"/>
                    <a:pt x="0" y="9"/>
                    <a:pt x="0" y="9"/>
                  </a:cubicBezTo>
                  <a:cubicBezTo>
                    <a:pt x="0" y="9"/>
                    <a:pt x="0" y="8"/>
                    <a:pt x="1" y="8"/>
                  </a:cubicBezTo>
                  <a:cubicBezTo>
                    <a:pt x="1" y="8"/>
                    <a:pt x="1" y="8"/>
                    <a:pt x="1" y="8"/>
                  </a:cubicBezTo>
                  <a:moveTo>
                    <a:pt x="22" y="0"/>
                  </a:moveTo>
                  <a:cubicBezTo>
                    <a:pt x="22" y="0"/>
                    <a:pt x="22" y="0"/>
                    <a:pt x="22" y="0"/>
                  </a:cubicBezTo>
                  <a:cubicBezTo>
                    <a:pt x="21" y="4"/>
                    <a:pt x="20" y="10"/>
                    <a:pt x="20" y="15"/>
                  </a:cubicBezTo>
                  <a:cubicBezTo>
                    <a:pt x="20" y="15"/>
                    <a:pt x="20" y="15"/>
                    <a:pt x="20" y="15"/>
                  </a:cubicBezTo>
                  <a:cubicBezTo>
                    <a:pt x="20" y="10"/>
                    <a:pt x="21" y="4"/>
                    <a:pt x="22" y="0"/>
                  </a:cubicBezTo>
                </a:path>
              </a:pathLst>
            </a:custGeom>
            <a:solidFill>
              <a:srgbClr val="82D5E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6" name="iṣḷiďe">
              <a:extLst>
                <a:ext uri="{FF2B5EF4-FFF2-40B4-BE49-F238E27FC236}">
                  <a16:creationId xmlns:a16="http://schemas.microsoft.com/office/drawing/2014/main" id="{7C139709-5C1A-4A53-B628-D943EDA2B0F6}"/>
                </a:ext>
              </a:extLst>
            </p:cNvPr>
            <p:cNvSpPr/>
            <p:nvPr/>
          </p:nvSpPr>
          <p:spPr bwMode="auto">
            <a:xfrm>
              <a:off x="5156402" y="2226194"/>
              <a:ext cx="106483" cy="73489"/>
            </a:xfrm>
            <a:custGeom>
              <a:avLst/>
              <a:gdLst>
                <a:gd name="T0" fmla="*/ 22 w 22"/>
                <a:gd name="T1" fmla="*/ 0 h 15"/>
                <a:gd name="T2" fmla="*/ 1 w 22"/>
                <a:gd name="T3" fmla="*/ 8 h 15"/>
                <a:gd name="T4" fmla="*/ 1 w 22"/>
                <a:gd name="T5" fmla="*/ 8 h 15"/>
                <a:gd name="T6" fmla="*/ 1 w 22"/>
                <a:gd name="T7" fmla="*/ 8 h 15"/>
                <a:gd name="T8" fmla="*/ 1 w 22"/>
                <a:gd name="T9" fmla="*/ 8 h 15"/>
                <a:gd name="T10" fmla="*/ 1 w 22"/>
                <a:gd name="T11" fmla="*/ 8 h 15"/>
                <a:gd name="T12" fmla="*/ 1 w 22"/>
                <a:gd name="T13" fmla="*/ 8 h 15"/>
                <a:gd name="T14" fmla="*/ 0 w 22"/>
                <a:gd name="T15" fmla="*/ 9 h 15"/>
                <a:gd name="T16" fmla="*/ 0 w 22"/>
                <a:gd name="T17" fmla="*/ 9 h 15"/>
                <a:gd name="T18" fmla="*/ 0 w 22"/>
                <a:gd name="T19" fmla="*/ 9 h 15"/>
                <a:gd name="T20" fmla="*/ 0 w 22"/>
                <a:gd name="T21" fmla="*/ 10 h 15"/>
                <a:gd name="T22" fmla="*/ 1 w 22"/>
                <a:gd name="T23" fmla="*/ 10 h 15"/>
                <a:gd name="T24" fmla="*/ 20 w 22"/>
                <a:gd name="T25" fmla="*/ 15 h 15"/>
                <a:gd name="T26" fmla="*/ 22 w 22"/>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5">
                  <a:moveTo>
                    <a:pt x="22" y="0"/>
                  </a:moveTo>
                  <a:cubicBezTo>
                    <a:pt x="16" y="5"/>
                    <a:pt x="8"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0" y="8"/>
                    <a:pt x="0" y="9"/>
                    <a:pt x="0" y="9"/>
                  </a:cubicBezTo>
                  <a:cubicBezTo>
                    <a:pt x="0" y="9"/>
                    <a:pt x="0" y="9"/>
                    <a:pt x="0" y="9"/>
                  </a:cubicBezTo>
                  <a:cubicBezTo>
                    <a:pt x="0" y="9"/>
                    <a:pt x="0" y="9"/>
                    <a:pt x="0" y="9"/>
                  </a:cubicBezTo>
                  <a:cubicBezTo>
                    <a:pt x="0" y="10"/>
                    <a:pt x="0" y="10"/>
                    <a:pt x="0" y="10"/>
                  </a:cubicBezTo>
                  <a:cubicBezTo>
                    <a:pt x="0" y="10"/>
                    <a:pt x="0" y="10"/>
                    <a:pt x="1" y="10"/>
                  </a:cubicBezTo>
                  <a:cubicBezTo>
                    <a:pt x="5" y="10"/>
                    <a:pt x="14" y="11"/>
                    <a:pt x="20" y="15"/>
                  </a:cubicBezTo>
                  <a:cubicBezTo>
                    <a:pt x="20" y="10"/>
                    <a:pt x="21" y="4"/>
                    <a:pt x="22" y="0"/>
                  </a:cubicBezTo>
                </a:path>
              </a:pathLst>
            </a:custGeom>
            <a:solidFill>
              <a:srgbClr val="F890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ïṧľíďè">
              <a:extLst>
                <a:ext uri="{FF2B5EF4-FFF2-40B4-BE49-F238E27FC236}">
                  <a16:creationId xmlns:a16="http://schemas.microsoft.com/office/drawing/2014/main" id="{C7B19697-5BC6-4BAD-9EF3-4925C264D5E2}"/>
                </a:ext>
              </a:extLst>
            </p:cNvPr>
            <p:cNvSpPr/>
            <p:nvPr/>
          </p:nvSpPr>
          <p:spPr bwMode="auto">
            <a:xfrm>
              <a:off x="5036421" y="1936742"/>
              <a:ext cx="319449" cy="347944"/>
            </a:xfrm>
            <a:custGeom>
              <a:avLst/>
              <a:gdLst>
                <a:gd name="T0" fmla="*/ 54 w 66"/>
                <a:gd name="T1" fmla="*/ 53 h 72"/>
                <a:gd name="T2" fmla="*/ 12 w 66"/>
                <a:gd name="T3" fmla="*/ 63 h 72"/>
                <a:gd name="T4" fmla="*/ 11 w 66"/>
                <a:gd name="T5" fmla="*/ 19 h 72"/>
                <a:gd name="T6" fmla="*/ 54 w 66"/>
                <a:gd name="T7" fmla="*/ 9 h 72"/>
                <a:gd name="T8" fmla="*/ 54 w 66"/>
                <a:gd name="T9" fmla="*/ 53 h 72"/>
              </a:gdLst>
              <a:ahLst/>
              <a:cxnLst>
                <a:cxn ang="0">
                  <a:pos x="T0" y="T1"/>
                </a:cxn>
                <a:cxn ang="0">
                  <a:pos x="T2" y="T3"/>
                </a:cxn>
                <a:cxn ang="0">
                  <a:pos x="T4" y="T5"/>
                </a:cxn>
                <a:cxn ang="0">
                  <a:pos x="T6" y="T7"/>
                </a:cxn>
                <a:cxn ang="0">
                  <a:pos x="T8" y="T9"/>
                </a:cxn>
              </a:cxnLst>
              <a:rect l="0" t="0" r="r" b="b"/>
              <a:pathLst>
                <a:path w="66" h="72">
                  <a:moveTo>
                    <a:pt x="54" y="53"/>
                  </a:moveTo>
                  <a:cubicBezTo>
                    <a:pt x="42" y="68"/>
                    <a:pt x="23" y="72"/>
                    <a:pt x="12" y="63"/>
                  </a:cubicBezTo>
                  <a:cubicBezTo>
                    <a:pt x="0" y="53"/>
                    <a:pt x="0" y="34"/>
                    <a:pt x="11" y="19"/>
                  </a:cubicBezTo>
                  <a:cubicBezTo>
                    <a:pt x="23" y="5"/>
                    <a:pt x="42" y="0"/>
                    <a:pt x="54" y="9"/>
                  </a:cubicBezTo>
                  <a:cubicBezTo>
                    <a:pt x="65" y="19"/>
                    <a:pt x="66" y="38"/>
                    <a:pt x="54" y="53"/>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íSḷíḍe">
              <a:extLst>
                <a:ext uri="{FF2B5EF4-FFF2-40B4-BE49-F238E27FC236}">
                  <a16:creationId xmlns:a16="http://schemas.microsoft.com/office/drawing/2014/main" id="{437BBBBB-5607-4DA6-A59F-1947098407A6}"/>
                </a:ext>
              </a:extLst>
            </p:cNvPr>
            <p:cNvSpPr/>
            <p:nvPr/>
          </p:nvSpPr>
          <p:spPr bwMode="auto">
            <a:xfrm>
              <a:off x="5262884" y="2182702"/>
              <a:ext cx="38994" cy="43493"/>
            </a:xfrm>
            <a:custGeom>
              <a:avLst/>
              <a:gdLst>
                <a:gd name="T0" fmla="*/ 0 w 8"/>
                <a:gd name="T1" fmla="*/ 9 h 9"/>
                <a:gd name="T2" fmla="*/ 7 w 8"/>
                <a:gd name="T3" fmla="*/ 2 h 9"/>
                <a:gd name="T4" fmla="*/ 7 w 8"/>
                <a:gd name="T5" fmla="*/ 2 h 9"/>
                <a:gd name="T6" fmla="*/ 7 w 8"/>
                <a:gd name="T7" fmla="*/ 2 h 9"/>
                <a:gd name="T8" fmla="*/ 7 w 8"/>
                <a:gd name="T9" fmla="*/ 2 h 9"/>
                <a:gd name="T10" fmla="*/ 7 w 8"/>
                <a:gd name="T11" fmla="*/ 2 h 9"/>
                <a:gd name="T12" fmla="*/ 7 w 8"/>
                <a:gd name="T13" fmla="*/ 2 h 9"/>
                <a:gd name="T14" fmla="*/ 7 w 8"/>
                <a:gd name="T15" fmla="*/ 2 h 9"/>
                <a:gd name="T16" fmla="*/ 7 w 8"/>
                <a:gd name="T17" fmla="*/ 2 h 9"/>
                <a:gd name="T18" fmla="*/ 7 w 8"/>
                <a:gd name="T19" fmla="*/ 1 h 9"/>
                <a:gd name="T20" fmla="*/ 7 w 8"/>
                <a:gd name="T21" fmla="*/ 1 h 9"/>
                <a:gd name="T22" fmla="*/ 7 w 8"/>
                <a:gd name="T23" fmla="*/ 1 h 9"/>
                <a:gd name="T24" fmla="*/ 7 w 8"/>
                <a:gd name="T25" fmla="*/ 1 h 9"/>
                <a:gd name="T26" fmla="*/ 7 w 8"/>
                <a:gd name="T27" fmla="*/ 1 h 9"/>
                <a:gd name="T28" fmla="*/ 7 w 8"/>
                <a:gd name="T29" fmla="*/ 1 h 9"/>
                <a:gd name="T30" fmla="*/ 8 w 8"/>
                <a:gd name="T31" fmla="*/ 1 h 9"/>
                <a:gd name="T32" fmla="*/ 8 w 8"/>
                <a:gd name="T33" fmla="*/ 1 h 9"/>
                <a:gd name="T34" fmla="*/ 8 w 8"/>
                <a:gd name="T35" fmla="*/ 1 h 9"/>
                <a:gd name="T36" fmla="*/ 8 w 8"/>
                <a:gd name="T37" fmla="*/ 1 h 9"/>
                <a:gd name="T38" fmla="*/ 8 w 8"/>
                <a:gd name="T39" fmla="*/ 1 h 9"/>
                <a:gd name="T40" fmla="*/ 8 w 8"/>
                <a:gd name="T41" fmla="*/ 1 h 9"/>
                <a:gd name="T42" fmla="*/ 8 w 8"/>
                <a:gd name="T43" fmla="*/ 1 h 9"/>
                <a:gd name="T44" fmla="*/ 8 w 8"/>
                <a:gd name="T45" fmla="*/ 1 h 9"/>
                <a:gd name="T46" fmla="*/ 8 w 8"/>
                <a:gd name="T47" fmla="*/ 1 h 9"/>
                <a:gd name="T48" fmla="*/ 8 w 8"/>
                <a:gd name="T49" fmla="*/ 1 h 9"/>
                <a:gd name="T50" fmla="*/ 8 w 8"/>
                <a:gd name="T51" fmla="*/ 1 h 9"/>
                <a:gd name="T52" fmla="*/ 8 w 8"/>
                <a:gd name="T53" fmla="*/ 0 h 9"/>
                <a:gd name="T54" fmla="*/ 8 w 8"/>
                <a:gd name="T55" fmla="*/ 0 h 9"/>
                <a:gd name="T56" fmla="*/ 8 w 8"/>
                <a:gd name="T57" fmla="*/ 0 h 9"/>
                <a:gd name="T58" fmla="*/ 8 w 8"/>
                <a:gd name="T59" fmla="*/ 0 h 9"/>
                <a:gd name="T60" fmla="*/ 8 w 8"/>
                <a:gd name="T61" fmla="*/ 0 h 9"/>
                <a:gd name="T62" fmla="*/ 8 w 8"/>
                <a:gd name="T63" fmla="*/ 0 h 9"/>
                <a:gd name="T64" fmla="*/ 8 w 8"/>
                <a:gd name="T65" fmla="*/ 0 h 9"/>
                <a:gd name="T66" fmla="*/ 8 w 8"/>
                <a:gd name="T67" fmla="*/ 0 h 9"/>
                <a:gd name="T68" fmla="*/ 8 w 8"/>
                <a:gd name="T6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9">
                  <a:moveTo>
                    <a:pt x="7" y="2"/>
                  </a:moveTo>
                  <a:cubicBezTo>
                    <a:pt x="5" y="5"/>
                    <a:pt x="3" y="7"/>
                    <a:pt x="0" y="9"/>
                  </a:cubicBezTo>
                  <a:cubicBezTo>
                    <a:pt x="0" y="9"/>
                    <a:pt x="0" y="9"/>
                    <a:pt x="0" y="9"/>
                  </a:cubicBezTo>
                  <a:cubicBezTo>
                    <a:pt x="3" y="7"/>
                    <a:pt x="5" y="5"/>
                    <a:pt x="7" y="2"/>
                  </a:cubicBezTo>
                  <a:moveTo>
                    <a:pt x="7" y="2"/>
                  </a:moveTo>
                  <a:cubicBezTo>
                    <a:pt x="7" y="2"/>
                    <a:pt x="7" y="2"/>
                    <a:pt x="7" y="2"/>
                  </a:cubicBezTo>
                  <a:cubicBezTo>
                    <a:pt x="7" y="2"/>
                    <a:pt x="7" y="2"/>
                    <a:pt x="7" y="2"/>
                  </a:cubicBezTo>
                  <a:moveTo>
                    <a:pt x="7" y="2"/>
                  </a:moveTo>
                  <a:cubicBezTo>
                    <a:pt x="7" y="2"/>
                    <a:pt x="7" y="2"/>
                    <a:pt x="7" y="2"/>
                  </a:cubicBezTo>
                  <a:cubicBezTo>
                    <a:pt x="7" y="2"/>
                    <a:pt x="7" y="2"/>
                    <a:pt x="7" y="2"/>
                  </a:cubicBezTo>
                  <a:moveTo>
                    <a:pt x="7" y="2"/>
                  </a:moveTo>
                  <a:cubicBezTo>
                    <a:pt x="7" y="2"/>
                    <a:pt x="7" y="2"/>
                    <a:pt x="7" y="2"/>
                  </a:cubicBezTo>
                  <a:cubicBezTo>
                    <a:pt x="7" y="2"/>
                    <a:pt x="7" y="2"/>
                    <a:pt x="7" y="2"/>
                  </a:cubicBezTo>
                  <a:moveTo>
                    <a:pt x="7" y="2"/>
                  </a:moveTo>
                  <a:cubicBezTo>
                    <a:pt x="7" y="2"/>
                    <a:pt x="7" y="2"/>
                    <a:pt x="7" y="2"/>
                  </a:cubicBezTo>
                  <a:cubicBezTo>
                    <a:pt x="7" y="2"/>
                    <a:pt x="7" y="2"/>
                    <a:pt x="7" y="2"/>
                  </a:cubicBezTo>
                  <a:moveTo>
                    <a:pt x="7" y="2"/>
                  </a:moveTo>
                  <a:cubicBezTo>
                    <a:pt x="7" y="2"/>
                    <a:pt x="7" y="2"/>
                    <a:pt x="7" y="2"/>
                  </a:cubicBezTo>
                  <a:cubicBezTo>
                    <a:pt x="7" y="2"/>
                    <a:pt x="7" y="2"/>
                    <a:pt x="7" y="2"/>
                  </a:cubicBezTo>
                  <a:moveTo>
                    <a:pt x="7" y="1"/>
                  </a:moveTo>
                  <a:cubicBezTo>
                    <a:pt x="7" y="1"/>
                    <a:pt x="7" y="1"/>
                    <a:pt x="7" y="1"/>
                  </a:cubicBezTo>
                  <a:cubicBezTo>
                    <a:pt x="7" y="1"/>
                    <a:pt x="7" y="1"/>
                    <a:pt x="7" y="1"/>
                  </a:cubicBezTo>
                  <a:moveTo>
                    <a:pt x="7" y="1"/>
                  </a:moveTo>
                  <a:cubicBezTo>
                    <a:pt x="7" y="1"/>
                    <a:pt x="7" y="1"/>
                    <a:pt x="7" y="1"/>
                  </a:cubicBezTo>
                  <a:cubicBezTo>
                    <a:pt x="7" y="1"/>
                    <a:pt x="7" y="1"/>
                    <a:pt x="7" y="1"/>
                  </a:cubicBezTo>
                  <a:moveTo>
                    <a:pt x="7" y="1"/>
                  </a:moveTo>
                  <a:cubicBezTo>
                    <a:pt x="7" y="1"/>
                    <a:pt x="7" y="1"/>
                    <a:pt x="7" y="1"/>
                  </a:cubicBezTo>
                  <a:cubicBezTo>
                    <a:pt x="7" y="1"/>
                    <a:pt x="7" y="1"/>
                    <a:pt x="7" y="1"/>
                  </a:cubicBezTo>
                  <a:moveTo>
                    <a:pt x="8" y="1"/>
                  </a:moveTo>
                  <a:cubicBezTo>
                    <a:pt x="8" y="1"/>
                    <a:pt x="7" y="1"/>
                    <a:pt x="7" y="1"/>
                  </a:cubicBezTo>
                  <a:cubicBezTo>
                    <a:pt x="7" y="1"/>
                    <a:pt x="8" y="1"/>
                    <a:pt x="8" y="1"/>
                  </a:cubicBezTo>
                  <a:moveTo>
                    <a:pt x="8" y="1"/>
                  </a:moveTo>
                  <a:cubicBezTo>
                    <a:pt x="8" y="1"/>
                    <a:pt x="8" y="1"/>
                    <a:pt x="8" y="1"/>
                  </a:cubicBezTo>
                  <a:cubicBezTo>
                    <a:pt x="8" y="1"/>
                    <a:pt x="8" y="1"/>
                    <a:pt x="8" y="1"/>
                  </a:cubicBezTo>
                  <a:moveTo>
                    <a:pt x="8" y="1"/>
                  </a:moveTo>
                  <a:cubicBezTo>
                    <a:pt x="8" y="1"/>
                    <a:pt x="8" y="1"/>
                    <a:pt x="8" y="1"/>
                  </a:cubicBezTo>
                  <a:cubicBezTo>
                    <a:pt x="8" y="1"/>
                    <a:pt x="8" y="1"/>
                    <a:pt x="8" y="1"/>
                  </a:cubicBezTo>
                  <a:moveTo>
                    <a:pt x="8" y="1"/>
                  </a:moveTo>
                  <a:cubicBezTo>
                    <a:pt x="8" y="1"/>
                    <a:pt x="8" y="1"/>
                    <a:pt x="8" y="1"/>
                  </a:cubicBezTo>
                  <a:cubicBezTo>
                    <a:pt x="8" y="1"/>
                    <a:pt x="8" y="1"/>
                    <a:pt x="8" y="1"/>
                  </a:cubicBezTo>
                  <a:moveTo>
                    <a:pt x="8" y="1"/>
                  </a:moveTo>
                  <a:cubicBezTo>
                    <a:pt x="8" y="1"/>
                    <a:pt x="8" y="1"/>
                    <a:pt x="8" y="1"/>
                  </a:cubicBezTo>
                  <a:cubicBezTo>
                    <a:pt x="8" y="1"/>
                    <a:pt x="8" y="1"/>
                    <a:pt x="8" y="1"/>
                  </a:cubicBezTo>
                  <a:moveTo>
                    <a:pt x="8" y="1"/>
                  </a:moveTo>
                  <a:cubicBezTo>
                    <a:pt x="8" y="1"/>
                    <a:pt x="8" y="1"/>
                    <a:pt x="8" y="1"/>
                  </a:cubicBezTo>
                  <a:cubicBezTo>
                    <a:pt x="8" y="1"/>
                    <a:pt x="8" y="1"/>
                    <a:pt x="8" y="1"/>
                  </a:cubicBezTo>
                  <a:moveTo>
                    <a:pt x="8" y="1"/>
                  </a:moveTo>
                  <a:cubicBezTo>
                    <a:pt x="8" y="1"/>
                    <a:pt x="8" y="1"/>
                    <a:pt x="8" y="1"/>
                  </a:cubicBezTo>
                  <a:cubicBezTo>
                    <a:pt x="8" y="1"/>
                    <a:pt x="8" y="1"/>
                    <a:pt x="8" y="1"/>
                  </a:cubicBezTo>
                  <a:moveTo>
                    <a:pt x="8" y="1"/>
                  </a:moveTo>
                  <a:cubicBezTo>
                    <a:pt x="8" y="1"/>
                    <a:pt x="8" y="1"/>
                    <a:pt x="8" y="1"/>
                  </a:cubicBezTo>
                  <a:cubicBezTo>
                    <a:pt x="8" y="1"/>
                    <a:pt x="8" y="1"/>
                    <a:pt x="8" y="1"/>
                  </a:cubicBezTo>
                  <a:moveTo>
                    <a:pt x="8" y="0"/>
                  </a:moveTo>
                  <a:cubicBezTo>
                    <a:pt x="8" y="0"/>
                    <a:pt x="8" y="0"/>
                    <a:pt x="8" y="0"/>
                  </a:cubicBezTo>
                  <a:cubicBezTo>
                    <a:pt x="8" y="0"/>
                    <a:pt x="8" y="0"/>
                    <a:pt x="8" y="0"/>
                  </a:cubicBezTo>
                  <a:moveTo>
                    <a:pt x="8" y="0"/>
                  </a:moveTo>
                  <a:cubicBezTo>
                    <a:pt x="8" y="0"/>
                    <a:pt x="8" y="0"/>
                    <a:pt x="8" y="0"/>
                  </a:cubicBezTo>
                  <a:cubicBezTo>
                    <a:pt x="8" y="0"/>
                    <a:pt x="8" y="0"/>
                    <a:pt x="8" y="0"/>
                  </a:cubicBezTo>
                  <a:moveTo>
                    <a:pt x="8" y="0"/>
                  </a:moveTo>
                  <a:cubicBezTo>
                    <a:pt x="8" y="0"/>
                    <a:pt x="8" y="0"/>
                    <a:pt x="8" y="0"/>
                  </a:cubicBezTo>
                  <a:cubicBezTo>
                    <a:pt x="8" y="0"/>
                    <a:pt x="8" y="0"/>
                    <a:pt x="8" y="0"/>
                  </a:cubicBezTo>
                  <a:moveTo>
                    <a:pt x="8" y="0"/>
                  </a:moveTo>
                  <a:cubicBezTo>
                    <a:pt x="8" y="0"/>
                    <a:pt x="8" y="0"/>
                    <a:pt x="8" y="0"/>
                  </a:cubicBezTo>
                  <a:cubicBezTo>
                    <a:pt x="8" y="0"/>
                    <a:pt x="8" y="0"/>
                    <a:pt x="8" y="0"/>
                  </a:cubicBezTo>
                  <a:moveTo>
                    <a:pt x="8" y="0"/>
                  </a:moveTo>
                  <a:cubicBezTo>
                    <a:pt x="8" y="0"/>
                    <a:pt x="8" y="0"/>
                    <a:pt x="8" y="0"/>
                  </a:cubicBezTo>
                  <a:cubicBezTo>
                    <a:pt x="8" y="0"/>
                    <a:pt x="8" y="0"/>
                    <a:pt x="8" y="0"/>
                  </a:cubicBezTo>
                  <a:moveTo>
                    <a:pt x="8" y="0"/>
                  </a:moveTo>
                  <a:cubicBezTo>
                    <a:pt x="8" y="0"/>
                    <a:pt x="8" y="0"/>
                    <a:pt x="8" y="0"/>
                  </a:cubicBezTo>
                  <a:cubicBezTo>
                    <a:pt x="8" y="0"/>
                    <a:pt x="8" y="0"/>
                    <a:pt x="8" y="0"/>
                  </a:cubicBezTo>
                </a:path>
              </a:pathLst>
            </a:custGeom>
            <a:solidFill>
              <a:srgbClr val="82E1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iṥḻïḑe">
              <a:extLst>
                <a:ext uri="{FF2B5EF4-FFF2-40B4-BE49-F238E27FC236}">
                  <a16:creationId xmlns:a16="http://schemas.microsoft.com/office/drawing/2014/main" id="{D9B9C944-342C-42B6-8EA6-531294C849DA}"/>
                </a:ext>
              </a:extLst>
            </p:cNvPr>
            <p:cNvSpPr/>
            <p:nvPr/>
          </p:nvSpPr>
          <p:spPr bwMode="auto">
            <a:xfrm>
              <a:off x="5262884" y="2226194"/>
              <a:ext cx="1500" cy="1500"/>
            </a:xfrm>
            <a:prstGeom prst="ellipse">
              <a:avLst/>
            </a:prstGeom>
            <a:solidFill>
              <a:srgbClr val="81C8E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0" name="ïṣľíde">
              <a:extLst>
                <a:ext uri="{FF2B5EF4-FFF2-40B4-BE49-F238E27FC236}">
                  <a16:creationId xmlns:a16="http://schemas.microsoft.com/office/drawing/2014/main" id="{E27280AB-F648-4FAF-8B56-D7798DEEC0C6}"/>
                </a:ext>
              </a:extLst>
            </p:cNvPr>
            <p:cNvSpPr/>
            <p:nvPr/>
          </p:nvSpPr>
          <p:spPr bwMode="auto">
            <a:xfrm>
              <a:off x="5162401" y="2226194"/>
              <a:ext cx="100484" cy="38994"/>
            </a:xfrm>
            <a:custGeom>
              <a:avLst/>
              <a:gdLst>
                <a:gd name="T0" fmla="*/ 21 w 21"/>
                <a:gd name="T1" fmla="*/ 0 h 8"/>
                <a:gd name="T2" fmla="*/ 0 w 21"/>
                <a:gd name="T3" fmla="*/ 8 h 8"/>
                <a:gd name="T4" fmla="*/ 21 w 21"/>
                <a:gd name="T5" fmla="*/ 0 h 8"/>
                <a:gd name="T6" fmla="*/ 21 w 21"/>
                <a:gd name="T7" fmla="*/ 0 h 8"/>
              </a:gdLst>
              <a:ahLst/>
              <a:cxnLst>
                <a:cxn ang="0">
                  <a:pos x="T0" y="T1"/>
                </a:cxn>
                <a:cxn ang="0">
                  <a:pos x="T2" y="T3"/>
                </a:cxn>
                <a:cxn ang="0">
                  <a:pos x="T4" y="T5"/>
                </a:cxn>
                <a:cxn ang="0">
                  <a:pos x="T6" y="T7"/>
                </a:cxn>
              </a:cxnLst>
              <a:rect l="0" t="0" r="r" b="b"/>
              <a:pathLst>
                <a:path w="21" h="8">
                  <a:moveTo>
                    <a:pt x="21" y="0"/>
                  </a:moveTo>
                  <a:cubicBezTo>
                    <a:pt x="15" y="5"/>
                    <a:pt x="7" y="8"/>
                    <a:pt x="0" y="8"/>
                  </a:cubicBezTo>
                  <a:cubicBezTo>
                    <a:pt x="7" y="8"/>
                    <a:pt x="15" y="5"/>
                    <a:pt x="21" y="0"/>
                  </a:cubicBezTo>
                  <a:cubicBezTo>
                    <a:pt x="21" y="0"/>
                    <a:pt x="21" y="0"/>
                    <a:pt x="21" y="0"/>
                  </a:cubicBezTo>
                </a:path>
              </a:pathLst>
            </a:custGeom>
            <a:solidFill>
              <a:srgbClr val="F787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ïSľíďe">
              <a:extLst>
                <a:ext uri="{FF2B5EF4-FFF2-40B4-BE49-F238E27FC236}">
                  <a16:creationId xmlns:a16="http://schemas.microsoft.com/office/drawing/2014/main" id="{503BB962-F108-497C-A8E9-8378A458EB1B}"/>
                </a:ext>
              </a:extLst>
            </p:cNvPr>
            <p:cNvSpPr/>
            <p:nvPr/>
          </p:nvSpPr>
          <p:spPr bwMode="auto">
            <a:xfrm>
              <a:off x="5088912" y="2236693"/>
              <a:ext cx="4500" cy="4500"/>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0 w 1"/>
                <a:gd name="T19" fmla="*/ 1 h 1"/>
                <a:gd name="T20" fmla="*/ 1 w 1"/>
                <a:gd name="T21" fmla="*/ 1 h 1"/>
                <a:gd name="T22" fmla="*/ 0 w 1"/>
                <a:gd name="T23" fmla="*/ 1 h 1"/>
                <a:gd name="T24" fmla="*/ 0 w 1"/>
                <a:gd name="T25" fmla="*/ 1 h 1"/>
                <a:gd name="T26" fmla="*/ 0 w 1"/>
                <a:gd name="T27" fmla="*/ 1 h 1"/>
                <a:gd name="T28" fmla="*/ 0 w 1"/>
                <a:gd name="T29" fmla="*/ 1 h 1"/>
                <a:gd name="T30" fmla="*/ 0 w 1"/>
                <a:gd name="T31" fmla="*/ 0 h 1"/>
                <a:gd name="T32" fmla="*/ 0 w 1"/>
                <a:gd name="T33" fmla="*/ 1 h 1"/>
                <a:gd name="T34" fmla="*/ 0 w 1"/>
                <a:gd name="T35" fmla="*/ 0 h 1"/>
                <a:gd name="T36" fmla="*/ 0 w 1"/>
                <a:gd name="T37" fmla="*/ 0 h 1"/>
                <a:gd name="T38" fmla="*/ 0 w 1"/>
                <a:gd name="T39" fmla="*/ 0 h 1"/>
                <a:gd name="T40" fmla="*/ 0 w 1"/>
                <a:gd name="T41" fmla="*/ 0 h 1"/>
                <a:gd name="T42" fmla="*/ 0 w 1"/>
                <a:gd name="T43" fmla="*/ 0 h 1"/>
                <a:gd name="T44" fmla="*/ 0 w 1"/>
                <a:gd name="T45" fmla="*/ 0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 h="1">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0" y="1"/>
                  </a:moveTo>
                  <a:cubicBezTo>
                    <a:pt x="1" y="1"/>
                    <a:pt x="1" y="1"/>
                    <a:pt x="1" y="1"/>
                  </a:cubicBezTo>
                  <a:cubicBezTo>
                    <a:pt x="1" y="1"/>
                    <a:pt x="1" y="1"/>
                    <a:pt x="0" y="1"/>
                  </a:cubicBezTo>
                  <a:moveTo>
                    <a:pt x="0" y="1"/>
                  </a:moveTo>
                  <a:cubicBezTo>
                    <a:pt x="0" y="1"/>
                    <a:pt x="0" y="1"/>
                    <a:pt x="0" y="1"/>
                  </a:cubicBezTo>
                  <a:cubicBezTo>
                    <a:pt x="0" y="1"/>
                    <a:pt x="0" y="1"/>
                    <a:pt x="0" y="1"/>
                  </a:cubicBezTo>
                  <a:moveTo>
                    <a:pt x="0" y="0"/>
                  </a:moveTo>
                  <a:cubicBezTo>
                    <a:pt x="0" y="0"/>
                    <a:pt x="0" y="0"/>
                    <a:pt x="0" y="1"/>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82E1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2" name="îṧḷiďê">
              <a:extLst>
                <a:ext uri="{FF2B5EF4-FFF2-40B4-BE49-F238E27FC236}">
                  <a16:creationId xmlns:a16="http://schemas.microsoft.com/office/drawing/2014/main" id="{ABF92722-DAD6-4046-B0FF-F48E99147CF4}"/>
                </a:ext>
              </a:extLst>
            </p:cNvPr>
            <p:cNvSpPr/>
            <p:nvPr/>
          </p:nvSpPr>
          <p:spPr bwMode="auto">
            <a:xfrm>
              <a:off x="5055917" y="2008730"/>
              <a:ext cx="293953" cy="256459"/>
            </a:xfrm>
            <a:custGeom>
              <a:avLst/>
              <a:gdLst>
                <a:gd name="T0" fmla="*/ 48 w 61"/>
                <a:gd name="T1" fmla="*/ 33 h 53"/>
                <a:gd name="T2" fmla="*/ 5 w 61"/>
                <a:gd name="T3" fmla="*/ 43 h 53"/>
                <a:gd name="T4" fmla="*/ 7 w 61"/>
                <a:gd name="T5" fmla="*/ 47 h 53"/>
                <a:gd name="T6" fmla="*/ 7 w 61"/>
                <a:gd name="T7" fmla="*/ 47 h 53"/>
                <a:gd name="T8" fmla="*/ 7 w 61"/>
                <a:gd name="T9" fmla="*/ 47 h 53"/>
                <a:gd name="T10" fmla="*/ 7 w 61"/>
                <a:gd name="T11" fmla="*/ 47 h 53"/>
                <a:gd name="T12" fmla="*/ 7 w 61"/>
                <a:gd name="T13" fmla="*/ 47 h 53"/>
                <a:gd name="T14" fmla="*/ 7 w 61"/>
                <a:gd name="T15" fmla="*/ 48 h 53"/>
                <a:gd name="T16" fmla="*/ 7 w 61"/>
                <a:gd name="T17" fmla="*/ 48 h 53"/>
                <a:gd name="T18" fmla="*/ 8 w 61"/>
                <a:gd name="T19" fmla="*/ 48 h 53"/>
                <a:gd name="T20" fmla="*/ 8 w 61"/>
                <a:gd name="T21" fmla="*/ 48 h 53"/>
                <a:gd name="T22" fmla="*/ 8 w 61"/>
                <a:gd name="T23" fmla="*/ 48 h 53"/>
                <a:gd name="T24" fmla="*/ 8 w 61"/>
                <a:gd name="T25" fmla="*/ 48 h 53"/>
                <a:gd name="T26" fmla="*/ 22 w 61"/>
                <a:gd name="T27" fmla="*/ 53 h 53"/>
                <a:gd name="T28" fmla="*/ 43 w 61"/>
                <a:gd name="T29" fmla="*/ 45 h 53"/>
                <a:gd name="T30" fmla="*/ 50 w 61"/>
                <a:gd name="T31" fmla="*/ 38 h 53"/>
                <a:gd name="T32" fmla="*/ 50 w 61"/>
                <a:gd name="T33" fmla="*/ 38 h 53"/>
                <a:gd name="T34" fmla="*/ 50 w 61"/>
                <a:gd name="T35" fmla="*/ 38 h 53"/>
                <a:gd name="T36" fmla="*/ 50 w 61"/>
                <a:gd name="T37" fmla="*/ 38 h 53"/>
                <a:gd name="T38" fmla="*/ 50 w 61"/>
                <a:gd name="T39" fmla="*/ 38 h 53"/>
                <a:gd name="T40" fmla="*/ 50 w 61"/>
                <a:gd name="T41" fmla="*/ 38 h 53"/>
                <a:gd name="T42" fmla="*/ 50 w 61"/>
                <a:gd name="T43" fmla="*/ 37 h 53"/>
                <a:gd name="T44" fmla="*/ 50 w 61"/>
                <a:gd name="T45" fmla="*/ 37 h 53"/>
                <a:gd name="T46" fmla="*/ 50 w 61"/>
                <a:gd name="T47" fmla="*/ 37 h 53"/>
                <a:gd name="T48" fmla="*/ 50 w 61"/>
                <a:gd name="T49" fmla="*/ 37 h 53"/>
                <a:gd name="T50" fmla="*/ 51 w 61"/>
                <a:gd name="T51" fmla="*/ 37 h 53"/>
                <a:gd name="T52" fmla="*/ 51 w 61"/>
                <a:gd name="T53" fmla="*/ 37 h 53"/>
                <a:gd name="T54" fmla="*/ 51 w 61"/>
                <a:gd name="T55" fmla="*/ 37 h 53"/>
                <a:gd name="T56" fmla="*/ 51 w 61"/>
                <a:gd name="T57" fmla="*/ 37 h 53"/>
                <a:gd name="T58" fmla="*/ 51 w 61"/>
                <a:gd name="T59" fmla="*/ 37 h 53"/>
                <a:gd name="T60" fmla="*/ 51 w 61"/>
                <a:gd name="T61" fmla="*/ 37 h 53"/>
                <a:gd name="T62" fmla="*/ 51 w 61"/>
                <a:gd name="T63" fmla="*/ 37 h 53"/>
                <a:gd name="T64" fmla="*/ 51 w 61"/>
                <a:gd name="T65" fmla="*/ 36 h 53"/>
                <a:gd name="T66" fmla="*/ 51 w 61"/>
                <a:gd name="T67" fmla="*/ 36 h 53"/>
                <a:gd name="T68" fmla="*/ 51 w 61"/>
                <a:gd name="T69" fmla="*/ 36 h 53"/>
                <a:gd name="T70" fmla="*/ 51 w 61"/>
                <a:gd name="T71" fmla="*/ 36 h 53"/>
                <a:gd name="T72" fmla="*/ 51 w 61"/>
                <a:gd name="T73" fmla="*/ 36 h 53"/>
                <a:gd name="T74" fmla="*/ 51 w 61"/>
                <a:gd name="T75" fmla="*/ 36 h 53"/>
                <a:gd name="T76" fmla="*/ 55 w 61"/>
                <a:gd name="T7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 h="53">
                  <a:moveTo>
                    <a:pt x="55" y="0"/>
                  </a:moveTo>
                  <a:cubicBezTo>
                    <a:pt x="58" y="10"/>
                    <a:pt x="56" y="23"/>
                    <a:pt x="48" y="33"/>
                  </a:cubicBezTo>
                  <a:cubicBezTo>
                    <a:pt x="40" y="43"/>
                    <a:pt x="30" y="48"/>
                    <a:pt x="20" y="48"/>
                  </a:cubicBezTo>
                  <a:cubicBezTo>
                    <a:pt x="15" y="48"/>
                    <a:pt x="10" y="46"/>
                    <a:pt x="5" y="43"/>
                  </a:cubicBezTo>
                  <a:cubicBezTo>
                    <a:pt x="3" y="41"/>
                    <a:pt x="2" y="39"/>
                    <a:pt x="0" y="37"/>
                  </a:cubicBezTo>
                  <a:cubicBezTo>
                    <a:pt x="2" y="41"/>
                    <a:pt x="4" y="44"/>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7"/>
                  </a:cubicBezTo>
                  <a:cubicBezTo>
                    <a:pt x="7" y="47"/>
                    <a:pt x="7" y="47"/>
                    <a:pt x="7" y="48"/>
                  </a:cubicBezTo>
                  <a:cubicBezTo>
                    <a:pt x="7" y="48"/>
                    <a:pt x="7" y="48"/>
                    <a:pt x="7" y="48"/>
                  </a:cubicBezTo>
                  <a:cubicBezTo>
                    <a:pt x="7" y="48"/>
                    <a:pt x="7" y="48"/>
                    <a:pt x="7" y="48"/>
                  </a:cubicBezTo>
                  <a:cubicBezTo>
                    <a:pt x="7" y="48"/>
                    <a:pt x="7" y="48"/>
                    <a:pt x="7"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12" y="51"/>
                    <a:pt x="17" y="53"/>
                    <a:pt x="22" y="53"/>
                  </a:cubicBezTo>
                  <a:cubicBezTo>
                    <a:pt x="22" y="53"/>
                    <a:pt x="22" y="53"/>
                    <a:pt x="22" y="53"/>
                  </a:cubicBezTo>
                  <a:cubicBezTo>
                    <a:pt x="22" y="53"/>
                    <a:pt x="22" y="53"/>
                    <a:pt x="22" y="53"/>
                  </a:cubicBezTo>
                  <a:cubicBezTo>
                    <a:pt x="29" y="53"/>
                    <a:pt x="37" y="50"/>
                    <a:pt x="43" y="45"/>
                  </a:cubicBezTo>
                  <a:cubicBezTo>
                    <a:pt x="43" y="45"/>
                    <a:pt x="43" y="45"/>
                    <a:pt x="43" y="45"/>
                  </a:cubicBezTo>
                  <a:cubicBezTo>
                    <a:pt x="46" y="43"/>
                    <a:pt x="48" y="41"/>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ubicBezTo>
                    <a:pt x="50" y="37"/>
                    <a:pt x="50" y="37"/>
                    <a:pt x="50" y="37"/>
                  </a:cubicBezTo>
                  <a:cubicBezTo>
                    <a:pt x="50" y="37"/>
                    <a:pt x="50" y="37"/>
                    <a:pt x="50" y="37"/>
                  </a:cubicBezTo>
                  <a:cubicBezTo>
                    <a:pt x="50" y="37"/>
                    <a:pt x="50" y="37"/>
                    <a:pt x="50" y="37"/>
                  </a:cubicBezTo>
                  <a:cubicBezTo>
                    <a:pt x="50" y="37"/>
                    <a:pt x="50" y="37"/>
                    <a:pt x="50" y="37"/>
                  </a:cubicBezTo>
                  <a:cubicBezTo>
                    <a:pt x="50" y="37"/>
                    <a:pt x="50" y="37"/>
                    <a:pt x="50" y="37"/>
                  </a:cubicBezTo>
                  <a:cubicBezTo>
                    <a:pt x="50" y="37"/>
                    <a:pt x="50" y="37"/>
                    <a:pt x="50" y="37"/>
                  </a:cubicBezTo>
                  <a:cubicBezTo>
                    <a:pt x="50" y="37"/>
                    <a:pt x="50" y="37"/>
                    <a:pt x="50" y="37"/>
                  </a:cubicBezTo>
                  <a:cubicBezTo>
                    <a:pt x="50"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6"/>
                  </a:cubicBezTo>
                  <a:cubicBezTo>
                    <a:pt x="51" y="36"/>
                    <a:pt x="51" y="36"/>
                    <a:pt x="51" y="36"/>
                  </a:cubicBezTo>
                  <a:cubicBezTo>
                    <a:pt x="51" y="36"/>
                    <a:pt x="51" y="36"/>
                    <a:pt x="51" y="36"/>
                  </a:cubicBezTo>
                  <a:cubicBezTo>
                    <a:pt x="51" y="36"/>
                    <a:pt x="51" y="36"/>
                    <a:pt x="51" y="36"/>
                  </a:cubicBezTo>
                  <a:cubicBezTo>
                    <a:pt x="51" y="36"/>
                    <a:pt x="51" y="36"/>
                    <a:pt x="51" y="36"/>
                  </a:cubicBezTo>
                  <a:cubicBezTo>
                    <a:pt x="51" y="36"/>
                    <a:pt x="51" y="36"/>
                    <a:pt x="51" y="36"/>
                  </a:cubicBezTo>
                  <a:cubicBezTo>
                    <a:pt x="51" y="36"/>
                    <a:pt x="51" y="36"/>
                    <a:pt x="51" y="36"/>
                  </a:cubicBezTo>
                  <a:cubicBezTo>
                    <a:pt x="51" y="36"/>
                    <a:pt x="51" y="36"/>
                    <a:pt x="51" y="36"/>
                  </a:cubicBezTo>
                  <a:cubicBezTo>
                    <a:pt x="51" y="36"/>
                    <a:pt x="51" y="36"/>
                    <a:pt x="51" y="36"/>
                  </a:cubicBezTo>
                  <a:cubicBezTo>
                    <a:pt x="51" y="36"/>
                    <a:pt x="51" y="36"/>
                    <a:pt x="51" y="36"/>
                  </a:cubicBezTo>
                  <a:cubicBezTo>
                    <a:pt x="51" y="36"/>
                    <a:pt x="51" y="36"/>
                    <a:pt x="51" y="36"/>
                  </a:cubicBezTo>
                  <a:cubicBezTo>
                    <a:pt x="51" y="36"/>
                    <a:pt x="51" y="36"/>
                    <a:pt x="51" y="36"/>
                  </a:cubicBezTo>
                  <a:cubicBezTo>
                    <a:pt x="60" y="24"/>
                    <a:pt x="61" y="10"/>
                    <a:pt x="55" y="0"/>
                  </a:cubicBezTo>
                </a:path>
              </a:pathLst>
            </a:custGeom>
            <a:solidFill>
              <a:srgbClr val="F998B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ï$1ïḓè">
              <a:extLst>
                <a:ext uri="{FF2B5EF4-FFF2-40B4-BE49-F238E27FC236}">
                  <a16:creationId xmlns:a16="http://schemas.microsoft.com/office/drawing/2014/main" id="{63C8C773-5CF8-4CA4-8FC3-4EE7C2905E9C}"/>
                </a:ext>
              </a:extLst>
            </p:cNvPr>
            <p:cNvSpPr/>
            <p:nvPr/>
          </p:nvSpPr>
          <p:spPr bwMode="auto">
            <a:xfrm>
              <a:off x="5088912" y="1912745"/>
              <a:ext cx="286454" cy="269956"/>
            </a:xfrm>
            <a:custGeom>
              <a:avLst/>
              <a:gdLst>
                <a:gd name="T0" fmla="*/ 39 w 59"/>
                <a:gd name="T1" fmla="*/ 35 h 56"/>
                <a:gd name="T2" fmla="*/ 31 w 59"/>
                <a:gd name="T3" fmla="*/ 30 h 56"/>
                <a:gd name="T4" fmla="*/ 0 w 59"/>
                <a:gd name="T5" fmla="*/ 6 h 56"/>
                <a:gd name="T6" fmla="*/ 7 w 59"/>
                <a:gd name="T7" fmla="*/ 10 h 56"/>
                <a:gd name="T8" fmla="*/ 2 w 59"/>
                <a:gd name="T9" fmla="*/ 2 h 56"/>
                <a:gd name="T10" fmla="*/ 12 w 59"/>
                <a:gd name="T11" fmla="*/ 6 h 56"/>
                <a:gd name="T12" fmla="*/ 8 w 59"/>
                <a:gd name="T13" fmla="*/ 0 h 56"/>
                <a:gd name="T14" fmla="*/ 17 w 59"/>
                <a:gd name="T15" fmla="*/ 6 h 56"/>
                <a:gd name="T16" fmla="*/ 46 w 59"/>
                <a:gd name="T17" fmla="*/ 16 h 56"/>
                <a:gd name="T18" fmla="*/ 56 w 59"/>
                <a:gd name="T19" fmla="*/ 43 h 56"/>
                <a:gd name="T20" fmla="*/ 39 w 59"/>
                <a:gd name="T21" fmla="*/ 3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56">
                  <a:moveTo>
                    <a:pt x="39" y="35"/>
                  </a:moveTo>
                  <a:cubicBezTo>
                    <a:pt x="39" y="35"/>
                    <a:pt x="36" y="30"/>
                    <a:pt x="31" y="30"/>
                  </a:cubicBezTo>
                  <a:cubicBezTo>
                    <a:pt x="25" y="30"/>
                    <a:pt x="1" y="21"/>
                    <a:pt x="0" y="6"/>
                  </a:cubicBezTo>
                  <a:cubicBezTo>
                    <a:pt x="0" y="6"/>
                    <a:pt x="4" y="9"/>
                    <a:pt x="7" y="10"/>
                  </a:cubicBezTo>
                  <a:cubicBezTo>
                    <a:pt x="7" y="10"/>
                    <a:pt x="1" y="6"/>
                    <a:pt x="2" y="2"/>
                  </a:cubicBezTo>
                  <a:cubicBezTo>
                    <a:pt x="2" y="2"/>
                    <a:pt x="7" y="5"/>
                    <a:pt x="12" y="6"/>
                  </a:cubicBezTo>
                  <a:cubicBezTo>
                    <a:pt x="12" y="6"/>
                    <a:pt x="8" y="4"/>
                    <a:pt x="8" y="0"/>
                  </a:cubicBezTo>
                  <a:cubicBezTo>
                    <a:pt x="8" y="0"/>
                    <a:pt x="13" y="6"/>
                    <a:pt x="17" y="6"/>
                  </a:cubicBezTo>
                  <a:cubicBezTo>
                    <a:pt x="22" y="7"/>
                    <a:pt x="37" y="8"/>
                    <a:pt x="46" y="16"/>
                  </a:cubicBezTo>
                  <a:cubicBezTo>
                    <a:pt x="55" y="24"/>
                    <a:pt x="59" y="30"/>
                    <a:pt x="56" y="43"/>
                  </a:cubicBezTo>
                  <a:cubicBezTo>
                    <a:pt x="53" y="56"/>
                    <a:pt x="43" y="46"/>
                    <a:pt x="39" y="35"/>
                  </a:cubicBezTo>
                  <a:close/>
                </a:path>
              </a:pathLst>
            </a:custGeom>
            <a:solidFill>
              <a:srgbClr val="393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iṣlîḓe">
              <a:extLst>
                <a:ext uri="{FF2B5EF4-FFF2-40B4-BE49-F238E27FC236}">
                  <a16:creationId xmlns:a16="http://schemas.microsoft.com/office/drawing/2014/main" id="{535467B0-91FC-4D50-83B2-74A9A6BF42DC}"/>
                </a:ext>
              </a:extLst>
            </p:cNvPr>
            <p:cNvSpPr/>
            <p:nvPr/>
          </p:nvSpPr>
          <p:spPr bwMode="auto">
            <a:xfrm>
              <a:off x="5045420" y="2676122"/>
              <a:ext cx="304451" cy="677890"/>
            </a:xfrm>
            <a:custGeom>
              <a:avLst/>
              <a:gdLst>
                <a:gd name="T0" fmla="*/ 48 w 63"/>
                <a:gd name="T1" fmla="*/ 5 h 140"/>
                <a:gd name="T2" fmla="*/ 60 w 63"/>
                <a:gd name="T3" fmla="*/ 51 h 140"/>
                <a:gd name="T4" fmla="*/ 59 w 63"/>
                <a:gd name="T5" fmla="*/ 122 h 140"/>
                <a:gd name="T6" fmla="*/ 39 w 63"/>
                <a:gd name="T7" fmla="*/ 132 h 140"/>
                <a:gd name="T8" fmla="*/ 3 w 63"/>
                <a:gd name="T9" fmla="*/ 16 h 140"/>
                <a:gd name="T10" fmla="*/ 48 w 63"/>
                <a:gd name="T11" fmla="*/ 5 h 140"/>
              </a:gdLst>
              <a:ahLst/>
              <a:cxnLst>
                <a:cxn ang="0">
                  <a:pos x="T0" y="T1"/>
                </a:cxn>
                <a:cxn ang="0">
                  <a:pos x="T2" y="T3"/>
                </a:cxn>
                <a:cxn ang="0">
                  <a:pos x="T4" y="T5"/>
                </a:cxn>
                <a:cxn ang="0">
                  <a:pos x="T6" y="T7"/>
                </a:cxn>
                <a:cxn ang="0">
                  <a:pos x="T8" y="T9"/>
                </a:cxn>
                <a:cxn ang="0">
                  <a:pos x="T10" y="T11"/>
                </a:cxn>
              </a:cxnLst>
              <a:rect l="0" t="0" r="r" b="b"/>
              <a:pathLst>
                <a:path w="63" h="140">
                  <a:moveTo>
                    <a:pt x="48" y="5"/>
                  </a:moveTo>
                  <a:cubicBezTo>
                    <a:pt x="48" y="5"/>
                    <a:pt x="56" y="24"/>
                    <a:pt x="60" y="51"/>
                  </a:cubicBezTo>
                  <a:cubicBezTo>
                    <a:pt x="61" y="65"/>
                    <a:pt x="63" y="102"/>
                    <a:pt x="59" y="122"/>
                  </a:cubicBezTo>
                  <a:cubicBezTo>
                    <a:pt x="56" y="138"/>
                    <a:pt x="47" y="140"/>
                    <a:pt x="39" y="132"/>
                  </a:cubicBezTo>
                  <a:cubicBezTo>
                    <a:pt x="19" y="114"/>
                    <a:pt x="0" y="32"/>
                    <a:pt x="3" y="16"/>
                  </a:cubicBezTo>
                  <a:cubicBezTo>
                    <a:pt x="6" y="0"/>
                    <a:pt x="48" y="5"/>
                    <a:pt x="48" y="5"/>
                  </a:cubicBezTo>
                </a:path>
              </a:pathLst>
            </a:custGeom>
            <a:solidFill>
              <a:srgbClr val="6018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îṡ1îḋè">
              <a:extLst>
                <a:ext uri="{FF2B5EF4-FFF2-40B4-BE49-F238E27FC236}">
                  <a16:creationId xmlns:a16="http://schemas.microsoft.com/office/drawing/2014/main" id="{5F5B3309-CB07-463F-A148-B28CD2F3B764}"/>
                </a:ext>
              </a:extLst>
            </p:cNvPr>
            <p:cNvSpPr/>
            <p:nvPr/>
          </p:nvSpPr>
          <p:spPr bwMode="auto">
            <a:xfrm>
              <a:off x="5273383" y="3760447"/>
              <a:ext cx="197968" cy="182970"/>
            </a:xfrm>
            <a:custGeom>
              <a:avLst/>
              <a:gdLst>
                <a:gd name="T0" fmla="*/ 35 w 41"/>
                <a:gd name="T1" fmla="*/ 0 h 38"/>
                <a:gd name="T2" fmla="*/ 41 w 41"/>
                <a:gd name="T3" fmla="*/ 16 h 38"/>
                <a:gd name="T4" fmla="*/ 36 w 41"/>
                <a:gd name="T5" fmla="*/ 24 h 38"/>
                <a:gd name="T6" fmla="*/ 7 w 41"/>
                <a:gd name="T7" fmla="*/ 36 h 38"/>
                <a:gd name="T8" fmla="*/ 2 w 41"/>
                <a:gd name="T9" fmla="*/ 30 h 38"/>
                <a:gd name="T10" fmla="*/ 12 w 41"/>
                <a:gd name="T11" fmla="*/ 23 h 38"/>
                <a:gd name="T12" fmla="*/ 25 w 41"/>
                <a:gd name="T13" fmla="*/ 2 h 38"/>
                <a:gd name="T14" fmla="*/ 35 w 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8">
                  <a:moveTo>
                    <a:pt x="35" y="0"/>
                  </a:moveTo>
                  <a:cubicBezTo>
                    <a:pt x="35" y="0"/>
                    <a:pt x="39" y="10"/>
                    <a:pt x="41" y="16"/>
                  </a:cubicBezTo>
                  <a:cubicBezTo>
                    <a:pt x="41" y="19"/>
                    <a:pt x="40" y="22"/>
                    <a:pt x="36" y="24"/>
                  </a:cubicBezTo>
                  <a:cubicBezTo>
                    <a:pt x="7" y="36"/>
                    <a:pt x="7" y="36"/>
                    <a:pt x="7" y="36"/>
                  </a:cubicBezTo>
                  <a:cubicBezTo>
                    <a:pt x="3" y="38"/>
                    <a:pt x="0" y="33"/>
                    <a:pt x="2" y="30"/>
                  </a:cubicBezTo>
                  <a:cubicBezTo>
                    <a:pt x="4" y="28"/>
                    <a:pt x="7" y="25"/>
                    <a:pt x="12" y="23"/>
                  </a:cubicBezTo>
                  <a:cubicBezTo>
                    <a:pt x="31" y="14"/>
                    <a:pt x="25" y="2"/>
                    <a:pt x="25" y="2"/>
                  </a:cubicBezTo>
                  <a:lnTo>
                    <a:pt x="35" y="0"/>
                  </a:lnTo>
                  <a:close/>
                </a:path>
              </a:pathLst>
            </a:custGeom>
            <a:solidFill>
              <a:srgbClr val="FA708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6" name="ïŝḷíḋê">
              <a:extLst>
                <a:ext uri="{FF2B5EF4-FFF2-40B4-BE49-F238E27FC236}">
                  <a16:creationId xmlns:a16="http://schemas.microsoft.com/office/drawing/2014/main" id="{A1DA11D9-B561-4D32-8EAF-57733FF6EF16}"/>
                </a:ext>
              </a:extLst>
            </p:cNvPr>
            <p:cNvSpPr/>
            <p:nvPr/>
          </p:nvSpPr>
          <p:spPr bwMode="auto">
            <a:xfrm>
              <a:off x="5210393" y="3204036"/>
              <a:ext cx="245960" cy="604403"/>
            </a:xfrm>
            <a:custGeom>
              <a:avLst/>
              <a:gdLst>
                <a:gd name="T0" fmla="*/ 16 w 51"/>
                <a:gd name="T1" fmla="*/ 5 h 125"/>
                <a:gd name="T2" fmla="*/ 37 w 51"/>
                <a:gd name="T3" fmla="*/ 28 h 125"/>
                <a:gd name="T4" fmla="*/ 51 w 51"/>
                <a:gd name="T5" fmla="*/ 122 h 125"/>
                <a:gd name="T6" fmla="*/ 35 w 51"/>
                <a:gd name="T7" fmla="*/ 125 h 125"/>
                <a:gd name="T8" fmla="*/ 7 w 51"/>
                <a:gd name="T9" fmla="*/ 45 h 125"/>
                <a:gd name="T10" fmla="*/ 0 w 51"/>
                <a:gd name="T11" fmla="*/ 11 h 125"/>
                <a:gd name="T12" fmla="*/ 0 w 51"/>
                <a:gd name="T13" fmla="*/ 0 h 125"/>
                <a:gd name="T14" fmla="*/ 16 w 51"/>
                <a:gd name="T15" fmla="*/ 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25">
                  <a:moveTo>
                    <a:pt x="16" y="5"/>
                  </a:moveTo>
                  <a:cubicBezTo>
                    <a:pt x="16" y="5"/>
                    <a:pt x="32" y="9"/>
                    <a:pt x="37" y="28"/>
                  </a:cubicBezTo>
                  <a:cubicBezTo>
                    <a:pt x="42" y="46"/>
                    <a:pt x="51" y="122"/>
                    <a:pt x="51" y="122"/>
                  </a:cubicBezTo>
                  <a:cubicBezTo>
                    <a:pt x="35" y="125"/>
                    <a:pt x="35" y="125"/>
                    <a:pt x="35" y="125"/>
                  </a:cubicBezTo>
                  <a:cubicBezTo>
                    <a:pt x="7" y="45"/>
                    <a:pt x="7" y="45"/>
                    <a:pt x="7" y="45"/>
                  </a:cubicBezTo>
                  <a:cubicBezTo>
                    <a:pt x="3" y="34"/>
                    <a:pt x="1" y="23"/>
                    <a:pt x="0" y="11"/>
                  </a:cubicBezTo>
                  <a:cubicBezTo>
                    <a:pt x="0" y="0"/>
                    <a:pt x="0" y="0"/>
                    <a:pt x="0" y="0"/>
                  </a:cubicBezTo>
                  <a:lnTo>
                    <a:pt x="16" y="5"/>
                  </a:lnTo>
                  <a:close/>
                </a:path>
              </a:pathLst>
            </a:custGeom>
            <a:solidFill>
              <a:srgbClr val="6018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ïšlîďé">
              <a:extLst>
                <a:ext uri="{FF2B5EF4-FFF2-40B4-BE49-F238E27FC236}">
                  <a16:creationId xmlns:a16="http://schemas.microsoft.com/office/drawing/2014/main" id="{84C687FB-C919-41FE-A9DD-3CC51063279E}"/>
                </a:ext>
              </a:extLst>
            </p:cNvPr>
            <p:cNvSpPr/>
            <p:nvPr/>
          </p:nvSpPr>
          <p:spPr bwMode="auto">
            <a:xfrm>
              <a:off x="5225390" y="1965237"/>
              <a:ext cx="163474" cy="284954"/>
            </a:xfrm>
            <a:custGeom>
              <a:avLst/>
              <a:gdLst>
                <a:gd name="T0" fmla="*/ 0 w 34"/>
                <a:gd name="T1" fmla="*/ 18 h 59"/>
                <a:gd name="T2" fmla="*/ 9 w 34"/>
                <a:gd name="T3" fmla="*/ 42 h 59"/>
                <a:gd name="T4" fmla="*/ 9 w 34"/>
                <a:gd name="T5" fmla="*/ 59 h 59"/>
                <a:gd name="T6" fmla="*/ 28 w 34"/>
                <a:gd name="T7" fmla="*/ 19 h 59"/>
                <a:gd name="T8" fmla="*/ 0 w 34"/>
                <a:gd name="T9" fmla="*/ 18 h 59"/>
              </a:gdLst>
              <a:ahLst/>
              <a:cxnLst>
                <a:cxn ang="0">
                  <a:pos x="T0" y="T1"/>
                </a:cxn>
                <a:cxn ang="0">
                  <a:pos x="T2" y="T3"/>
                </a:cxn>
                <a:cxn ang="0">
                  <a:pos x="T4" y="T5"/>
                </a:cxn>
                <a:cxn ang="0">
                  <a:pos x="T6" y="T7"/>
                </a:cxn>
                <a:cxn ang="0">
                  <a:pos x="T8" y="T9"/>
                </a:cxn>
              </a:cxnLst>
              <a:rect l="0" t="0" r="r" b="b"/>
              <a:pathLst>
                <a:path w="34" h="59">
                  <a:moveTo>
                    <a:pt x="0" y="18"/>
                  </a:moveTo>
                  <a:cubicBezTo>
                    <a:pt x="0" y="18"/>
                    <a:pt x="16" y="23"/>
                    <a:pt x="9" y="42"/>
                  </a:cubicBezTo>
                  <a:cubicBezTo>
                    <a:pt x="5" y="51"/>
                    <a:pt x="9" y="59"/>
                    <a:pt x="9" y="59"/>
                  </a:cubicBezTo>
                  <a:cubicBezTo>
                    <a:pt x="9" y="59"/>
                    <a:pt x="34" y="38"/>
                    <a:pt x="28" y="19"/>
                  </a:cubicBezTo>
                  <a:cubicBezTo>
                    <a:pt x="22" y="0"/>
                    <a:pt x="0" y="18"/>
                    <a:pt x="0" y="18"/>
                  </a:cubicBezTo>
                  <a:close/>
                </a:path>
              </a:pathLst>
            </a:custGeom>
            <a:solidFill>
              <a:srgbClr val="3936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8" name="î$ḷïḓè">
              <a:extLst>
                <a:ext uri="{FF2B5EF4-FFF2-40B4-BE49-F238E27FC236}">
                  <a16:creationId xmlns:a16="http://schemas.microsoft.com/office/drawing/2014/main" id="{D3A37C65-6407-4BE9-8BC2-2B108B729834}"/>
                </a:ext>
              </a:extLst>
            </p:cNvPr>
            <p:cNvSpPr/>
            <p:nvPr/>
          </p:nvSpPr>
          <p:spPr bwMode="auto">
            <a:xfrm>
              <a:off x="4847452" y="3614970"/>
              <a:ext cx="202468" cy="125980"/>
            </a:xfrm>
            <a:custGeom>
              <a:avLst/>
              <a:gdLst>
                <a:gd name="T0" fmla="*/ 38 w 42"/>
                <a:gd name="T1" fmla="*/ 6 h 26"/>
                <a:gd name="T2" fmla="*/ 41 w 42"/>
                <a:gd name="T3" fmla="*/ 16 h 26"/>
                <a:gd name="T4" fmla="*/ 35 w 42"/>
                <a:gd name="T5" fmla="*/ 23 h 26"/>
                <a:gd name="T6" fmla="*/ 5 w 42"/>
                <a:gd name="T7" fmla="*/ 26 h 26"/>
                <a:gd name="T8" fmla="*/ 3 w 42"/>
                <a:gd name="T9" fmla="*/ 19 h 26"/>
                <a:gd name="T10" fmla="*/ 14 w 42"/>
                <a:gd name="T11" fmla="*/ 15 h 26"/>
                <a:gd name="T12" fmla="*/ 31 w 42"/>
                <a:gd name="T13" fmla="*/ 0 h 26"/>
                <a:gd name="T14" fmla="*/ 38 w 42"/>
                <a:gd name="T15" fmla="*/ 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38" y="6"/>
                  </a:moveTo>
                  <a:cubicBezTo>
                    <a:pt x="38" y="6"/>
                    <a:pt x="42" y="11"/>
                    <a:pt x="41" y="16"/>
                  </a:cubicBezTo>
                  <a:cubicBezTo>
                    <a:pt x="41" y="20"/>
                    <a:pt x="39" y="22"/>
                    <a:pt x="35" y="23"/>
                  </a:cubicBezTo>
                  <a:cubicBezTo>
                    <a:pt x="5" y="26"/>
                    <a:pt x="5" y="26"/>
                    <a:pt x="5" y="26"/>
                  </a:cubicBezTo>
                  <a:cubicBezTo>
                    <a:pt x="1" y="26"/>
                    <a:pt x="0" y="21"/>
                    <a:pt x="3" y="19"/>
                  </a:cubicBezTo>
                  <a:cubicBezTo>
                    <a:pt x="5" y="18"/>
                    <a:pt x="8" y="16"/>
                    <a:pt x="14" y="15"/>
                  </a:cubicBezTo>
                  <a:cubicBezTo>
                    <a:pt x="33" y="12"/>
                    <a:pt x="31" y="0"/>
                    <a:pt x="31" y="0"/>
                  </a:cubicBezTo>
                  <a:lnTo>
                    <a:pt x="38" y="6"/>
                  </a:lnTo>
                  <a:close/>
                </a:path>
              </a:pathLst>
            </a:custGeom>
            <a:solidFill>
              <a:srgbClr val="FA708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9" name="ïsḷiḋè">
              <a:extLst>
                <a:ext uri="{FF2B5EF4-FFF2-40B4-BE49-F238E27FC236}">
                  <a16:creationId xmlns:a16="http://schemas.microsoft.com/office/drawing/2014/main" id="{78692CDF-7435-4E86-9145-012B02F6DF2F}"/>
                </a:ext>
              </a:extLst>
            </p:cNvPr>
            <p:cNvSpPr/>
            <p:nvPr/>
          </p:nvSpPr>
          <p:spPr bwMode="auto">
            <a:xfrm>
              <a:off x="4773963" y="2715115"/>
              <a:ext cx="464925" cy="556411"/>
            </a:xfrm>
            <a:custGeom>
              <a:avLst/>
              <a:gdLst>
                <a:gd name="T0" fmla="*/ 85 w 96"/>
                <a:gd name="T1" fmla="*/ 20 h 115"/>
                <a:gd name="T2" fmla="*/ 84 w 96"/>
                <a:gd name="T3" fmla="*/ 53 h 115"/>
                <a:gd name="T4" fmla="*/ 2 w 96"/>
                <a:gd name="T5" fmla="*/ 89 h 115"/>
                <a:gd name="T6" fmla="*/ 59 w 96"/>
                <a:gd name="T7" fmla="*/ 8 h 115"/>
                <a:gd name="T8" fmla="*/ 85 w 96"/>
                <a:gd name="T9" fmla="*/ 20 h 115"/>
              </a:gdLst>
              <a:ahLst/>
              <a:cxnLst>
                <a:cxn ang="0">
                  <a:pos x="T0" y="T1"/>
                </a:cxn>
                <a:cxn ang="0">
                  <a:pos x="T2" y="T3"/>
                </a:cxn>
                <a:cxn ang="0">
                  <a:pos x="T4" y="T5"/>
                </a:cxn>
                <a:cxn ang="0">
                  <a:pos x="T6" y="T7"/>
                </a:cxn>
                <a:cxn ang="0">
                  <a:pos x="T8" y="T9"/>
                </a:cxn>
              </a:cxnLst>
              <a:rect l="0" t="0" r="r" b="b"/>
              <a:pathLst>
                <a:path w="96" h="115">
                  <a:moveTo>
                    <a:pt x="85" y="20"/>
                  </a:moveTo>
                  <a:cubicBezTo>
                    <a:pt x="85" y="20"/>
                    <a:pt x="96" y="39"/>
                    <a:pt x="84" y="53"/>
                  </a:cubicBezTo>
                  <a:cubicBezTo>
                    <a:pt x="52" y="94"/>
                    <a:pt x="0" y="115"/>
                    <a:pt x="2" y="89"/>
                  </a:cubicBezTo>
                  <a:cubicBezTo>
                    <a:pt x="4" y="63"/>
                    <a:pt x="44" y="17"/>
                    <a:pt x="59" y="8"/>
                  </a:cubicBezTo>
                  <a:cubicBezTo>
                    <a:pt x="73" y="0"/>
                    <a:pt x="85" y="20"/>
                    <a:pt x="85" y="20"/>
                  </a:cubicBezTo>
                </a:path>
              </a:pathLst>
            </a:custGeom>
            <a:solidFill>
              <a:srgbClr val="6018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0" name="ïśliḓè">
              <a:extLst>
                <a:ext uri="{FF2B5EF4-FFF2-40B4-BE49-F238E27FC236}">
                  <a16:creationId xmlns:a16="http://schemas.microsoft.com/office/drawing/2014/main" id="{968AA037-2E6A-4205-9BFA-08936AFD5709}"/>
                </a:ext>
              </a:extLst>
            </p:cNvPr>
            <p:cNvSpPr/>
            <p:nvPr/>
          </p:nvSpPr>
          <p:spPr bwMode="auto">
            <a:xfrm>
              <a:off x="4778463" y="3130549"/>
              <a:ext cx="257958" cy="523416"/>
            </a:xfrm>
            <a:custGeom>
              <a:avLst/>
              <a:gdLst>
                <a:gd name="T0" fmla="*/ 25 w 53"/>
                <a:gd name="T1" fmla="*/ 3 h 108"/>
                <a:gd name="T2" fmla="*/ 39 w 53"/>
                <a:gd name="T3" fmla="*/ 25 h 108"/>
                <a:gd name="T4" fmla="*/ 53 w 53"/>
                <a:gd name="T5" fmla="*/ 105 h 108"/>
                <a:gd name="T6" fmla="*/ 41 w 53"/>
                <a:gd name="T7" fmla="*/ 108 h 108"/>
                <a:gd name="T8" fmla="*/ 8 w 53"/>
                <a:gd name="T9" fmla="*/ 41 h 108"/>
                <a:gd name="T10" fmla="*/ 0 w 53"/>
                <a:gd name="T11" fmla="*/ 10 h 108"/>
                <a:gd name="T12" fmla="*/ 1 w 53"/>
                <a:gd name="T13" fmla="*/ 0 h 108"/>
                <a:gd name="T14" fmla="*/ 25 w 53"/>
                <a:gd name="T15" fmla="*/ 3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08">
                  <a:moveTo>
                    <a:pt x="25" y="3"/>
                  </a:moveTo>
                  <a:cubicBezTo>
                    <a:pt x="25" y="3"/>
                    <a:pt x="33" y="7"/>
                    <a:pt x="39" y="25"/>
                  </a:cubicBezTo>
                  <a:cubicBezTo>
                    <a:pt x="45" y="42"/>
                    <a:pt x="53" y="105"/>
                    <a:pt x="53" y="105"/>
                  </a:cubicBezTo>
                  <a:cubicBezTo>
                    <a:pt x="41" y="108"/>
                    <a:pt x="41" y="108"/>
                    <a:pt x="41" y="108"/>
                  </a:cubicBezTo>
                  <a:cubicBezTo>
                    <a:pt x="8" y="41"/>
                    <a:pt x="8" y="41"/>
                    <a:pt x="8" y="41"/>
                  </a:cubicBezTo>
                  <a:cubicBezTo>
                    <a:pt x="3" y="31"/>
                    <a:pt x="1" y="21"/>
                    <a:pt x="0" y="10"/>
                  </a:cubicBezTo>
                  <a:cubicBezTo>
                    <a:pt x="1" y="0"/>
                    <a:pt x="1" y="0"/>
                    <a:pt x="1" y="0"/>
                  </a:cubicBezTo>
                  <a:cubicBezTo>
                    <a:pt x="25" y="3"/>
                    <a:pt x="25" y="3"/>
                    <a:pt x="25" y="3"/>
                  </a:cubicBezTo>
                </a:path>
              </a:pathLst>
            </a:custGeom>
            <a:solidFill>
              <a:srgbClr val="6018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1" name="išļíḋe">
              <a:extLst>
                <a:ext uri="{FF2B5EF4-FFF2-40B4-BE49-F238E27FC236}">
                  <a16:creationId xmlns:a16="http://schemas.microsoft.com/office/drawing/2014/main" id="{C374A865-EC34-4DB0-BEC9-723C110A77FD}"/>
                </a:ext>
              </a:extLst>
            </p:cNvPr>
            <p:cNvSpPr/>
            <p:nvPr/>
          </p:nvSpPr>
          <p:spPr bwMode="auto">
            <a:xfrm>
              <a:off x="4614989" y="1887249"/>
              <a:ext cx="130479" cy="208467"/>
            </a:xfrm>
            <a:custGeom>
              <a:avLst/>
              <a:gdLst>
                <a:gd name="T0" fmla="*/ 27 w 27"/>
                <a:gd name="T1" fmla="*/ 33 h 43"/>
                <a:gd name="T2" fmla="*/ 16 w 27"/>
                <a:gd name="T3" fmla="*/ 1 h 43"/>
                <a:gd name="T4" fmla="*/ 0 w 27"/>
                <a:gd name="T5" fmla="*/ 13 h 43"/>
                <a:gd name="T6" fmla="*/ 21 w 27"/>
                <a:gd name="T7" fmla="*/ 43 h 43"/>
                <a:gd name="T8" fmla="*/ 27 w 27"/>
                <a:gd name="T9" fmla="*/ 33 h 43"/>
              </a:gdLst>
              <a:ahLst/>
              <a:cxnLst>
                <a:cxn ang="0">
                  <a:pos x="T0" y="T1"/>
                </a:cxn>
                <a:cxn ang="0">
                  <a:pos x="T2" y="T3"/>
                </a:cxn>
                <a:cxn ang="0">
                  <a:pos x="T4" y="T5"/>
                </a:cxn>
                <a:cxn ang="0">
                  <a:pos x="T6" y="T7"/>
                </a:cxn>
                <a:cxn ang="0">
                  <a:pos x="T8" y="T9"/>
                </a:cxn>
              </a:cxnLst>
              <a:rect l="0" t="0" r="r" b="b"/>
              <a:pathLst>
                <a:path w="27" h="43">
                  <a:moveTo>
                    <a:pt x="27" y="33"/>
                  </a:moveTo>
                  <a:cubicBezTo>
                    <a:pt x="27" y="33"/>
                    <a:pt x="24" y="0"/>
                    <a:pt x="16" y="1"/>
                  </a:cubicBezTo>
                  <a:cubicBezTo>
                    <a:pt x="9" y="3"/>
                    <a:pt x="0" y="3"/>
                    <a:pt x="0" y="13"/>
                  </a:cubicBezTo>
                  <a:cubicBezTo>
                    <a:pt x="0" y="23"/>
                    <a:pt x="21" y="43"/>
                    <a:pt x="21" y="43"/>
                  </a:cubicBezTo>
                  <a:lnTo>
                    <a:pt x="27" y="33"/>
                  </a:lnTo>
                  <a:close/>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2" name="iṣḻiďê">
              <a:extLst>
                <a:ext uri="{FF2B5EF4-FFF2-40B4-BE49-F238E27FC236}">
                  <a16:creationId xmlns:a16="http://schemas.microsoft.com/office/drawing/2014/main" id="{9FDD442A-A9E5-4D25-AE0A-A4784F14C4BD}"/>
                </a:ext>
              </a:extLst>
            </p:cNvPr>
            <p:cNvSpPr/>
            <p:nvPr/>
          </p:nvSpPr>
          <p:spPr bwMode="auto">
            <a:xfrm>
              <a:off x="5258385" y="2067220"/>
              <a:ext cx="58491" cy="101984"/>
            </a:xfrm>
            <a:custGeom>
              <a:avLst/>
              <a:gdLst>
                <a:gd name="T0" fmla="*/ 0 w 12"/>
                <a:gd name="T1" fmla="*/ 9 h 21"/>
                <a:gd name="T2" fmla="*/ 9 w 12"/>
                <a:gd name="T3" fmla="*/ 7 h 21"/>
                <a:gd name="T4" fmla="*/ 0 w 12"/>
                <a:gd name="T5" fmla="*/ 18 h 21"/>
              </a:gdLst>
              <a:ahLst/>
              <a:cxnLst>
                <a:cxn ang="0">
                  <a:pos x="T0" y="T1"/>
                </a:cxn>
                <a:cxn ang="0">
                  <a:pos x="T2" y="T3"/>
                </a:cxn>
                <a:cxn ang="0">
                  <a:pos x="T4" y="T5"/>
                </a:cxn>
              </a:cxnLst>
              <a:rect l="0" t="0" r="r" b="b"/>
              <a:pathLst>
                <a:path w="12" h="21">
                  <a:moveTo>
                    <a:pt x="0" y="9"/>
                  </a:moveTo>
                  <a:cubicBezTo>
                    <a:pt x="0" y="9"/>
                    <a:pt x="6" y="0"/>
                    <a:pt x="9" y="7"/>
                  </a:cubicBezTo>
                  <a:cubicBezTo>
                    <a:pt x="12" y="15"/>
                    <a:pt x="1" y="21"/>
                    <a:pt x="0" y="18"/>
                  </a:cubicBezTo>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3" name="iṩḷîdé">
              <a:extLst>
                <a:ext uri="{FF2B5EF4-FFF2-40B4-BE49-F238E27FC236}">
                  <a16:creationId xmlns:a16="http://schemas.microsoft.com/office/drawing/2014/main" id="{AD640021-CE49-4387-971E-C10BEFEA2A58}"/>
                </a:ext>
              </a:extLst>
            </p:cNvPr>
            <p:cNvSpPr/>
            <p:nvPr/>
          </p:nvSpPr>
          <p:spPr bwMode="auto">
            <a:xfrm>
              <a:off x="4982430" y="2299683"/>
              <a:ext cx="358443" cy="589405"/>
            </a:xfrm>
            <a:custGeom>
              <a:avLst/>
              <a:gdLst>
                <a:gd name="T0" fmla="*/ 26 w 74"/>
                <a:gd name="T1" fmla="*/ 4 h 122"/>
                <a:gd name="T2" fmla="*/ 34 w 74"/>
                <a:gd name="T3" fmla="*/ 2 h 122"/>
                <a:gd name="T4" fmla="*/ 58 w 74"/>
                <a:gd name="T5" fmla="*/ 3 h 122"/>
                <a:gd name="T6" fmla="*/ 67 w 74"/>
                <a:gd name="T7" fmla="*/ 7 h 122"/>
                <a:gd name="T8" fmla="*/ 70 w 74"/>
                <a:gd name="T9" fmla="*/ 114 h 122"/>
                <a:gd name="T10" fmla="*/ 64 w 74"/>
                <a:gd name="T11" fmla="*/ 120 h 122"/>
                <a:gd name="T12" fmla="*/ 3 w 74"/>
                <a:gd name="T13" fmla="*/ 112 h 122"/>
                <a:gd name="T14" fmla="*/ 0 w 74"/>
                <a:gd name="T15" fmla="*/ 105 h 122"/>
                <a:gd name="T16" fmla="*/ 26 w 74"/>
                <a:gd name="T17" fmla="*/ 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22">
                  <a:moveTo>
                    <a:pt x="26" y="4"/>
                  </a:moveTo>
                  <a:cubicBezTo>
                    <a:pt x="28" y="1"/>
                    <a:pt x="31" y="0"/>
                    <a:pt x="34" y="2"/>
                  </a:cubicBezTo>
                  <a:cubicBezTo>
                    <a:pt x="37" y="4"/>
                    <a:pt x="44" y="5"/>
                    <a:pt x="58" y="3"/>
                  </a:cubicBezTo>
                  <a:cubicBezTo>
                    <a:pt x="58" y="3"/>
                    <a:pt x="62" y="2"/>
                    <a:pt x="67" y="7"/>
                  </a:cubicBezTo>
                  <a:cubicBezTo>
                    <a:pt x="71" y="10"/>
                    <a:pt x="74" y="92"/>
                    <a:pt x="70" y="114"/>
                  </a:cubicBezTo>
                  <a:cubicBezTo>
                    <a:pt x="70" y="117"/>
                    <a:pt x="67" y="120"/>
                    <a:pt x="64" y="120"/>
                  </a:cubicBezTo>
                  <a:cubicBezTo>
                    <a:pt x="53" y="121"/>
                    <a:pt x="23" y="122"/>
                    <a:pt x="3" y="112"/>
                  </a:cubicBezTo>
                  <a:cubicBezTo>
                    <a:pt x="1" y="111"/>
                    <a:pt x="0" y="108"/>
                    <a:pt x="0" y="105"/>
                  </a:cubicBezTo>
                  <a:cubicBezTo>
                    <a:pt x="2" y="87"/>
                    <a:pt x="13" y="20"/>
                    <a:pt x="26" y="4"/>
                  </a:cubicBezTo>
                </a:path>
              </a:pathLst>
            </a:custGeom>
            <a:solidFill>
              <a:srgbClr val="9488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4" name="îšļîḓe">
              <a:extLst>
                <a:ext uri="{FF2B5EF4-FFF2-40B4-BE49-F238E27FC236}">
                  <a16:creationId xmlns:a16="http://schemas.microsoft.com/office/drawing/2014/main" id="{F9139715-6CC8-4ACD-82A7-0DCF47E3A065}"/>
                </a:ext>
              </a:extLst>
            </p:cNvPr>
            <p:cNvSpPr/>
            <p:nvPr/>
          </p:nvSpPr>
          <p:spPr bwMode="auto">
            <a:xfrm>
              <a:off x="4662981" y="2008730"/>
              <a:ext cx="464925" cy="469425"/>
            </a:xfrm>
            <a:custGeom>
              <a:avLst/>
              <a:gdLst>
                <a:gd name="T0" fmla="*/ 284 w 310"/>
                <a:gd name="T1" fmla="*/ 313 h 313"/>
                <a:gd name="T2" fmla="*/ 110 w 310"/>
                <a:gd name="T3" fmla="*/ 203 h 313"/>
                <a:gd name="T4" fmla="*/ 0 w 310"/>
                <a:gd name="T5" fmla="*/ 26 h 313"/>
                <a:gd name="T6" fmla="*/ 55 w 310"/>
                <a:gd name="T7" fmla="*/ 0 h 313"/>
                <a:gd name="T8" fmla="*/ 155 w 310"/>
                <a:gd name="T9" fmla="*/ 145 h 313"/>
                <a:gd name="T10" fmla="*/ 310 w 310"/>
                <a:gd name="T11" fmla="*/ 197 h 313"/>
                <a:gd name="T12" fmla="*/ 284 w 310"/>
                <a:gd name="T13" fmla="*/ 313 h 313"/>
              </a:gdLst>
              <a:ahLst/>
              <a:cxnLst>
                <a:cxn ang="0">
                  <a:pos x="T0" y="T1"/>
                </a:cxn>
                <a:cxn ang="0">
                  <a:pos x="T2" y="T3"/>
                </a:cxn>
                <a:cxn ang="0">
                  <a:pos x="T4" y="T5"/>
                </a:cxn>
                <a:cxn ang="0">
                  <a:pos x="T6" y="T7"/>
                </a:cxn>
                <a:cxn ang="0">
                  <a:pos x="T8" y="T9"/>
                </a:cxn>
                <a:cxn ang="0">
                  <a:pos x="T10" y="T11"/>
                </a:cxn>
                <a:cxn ang="0">
                  <a:pos x="T12" y="T13"/>
                </a:cxn>
              </a:cxnLst>
              <a:rect l="0" t="0" r="r" b="b"/>
              <a:pathLst>
                <a:path w="310" h="313">
                  <a:moveTo>
                    <a:pt x="284" y="313"/>
                  </a:moveTo>
                  <a:lnTo>
                    <a:pt x="110" y="203"/>
                  </a:lnTo>
                  <a:lnTo>
                    <a:pt x="0" y="26"/>
                  </a:lnTo>
                  <a:lnTo>
                    <a:pt x="55" y="0"/>
                  </a:lnTo>
                  <a:lnTo>
                    <a:pt x="155" y="145"/>
                  </a:lnTo>
                  <a:lnTo>
                    <a:pt x="310" y="197"/>
                  </a:lnTo>
                  <a:lnTo>
                    <a:pt x="284" y="313"/>
                  </a:lnTo>
                  <a:close/>
                </a:path>
              </a:pathLst>
            </a:custGeom>
            <a:solidFill>
              <a:srgbClr val="9488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5" name="îṣļíḍe">
              <a:extLst>
                <a:ext uri="{FF2B5EF4-FFF2-40B4-BE49-F238E27FC236}">
                  <a16:creationId xmlns:a16="http://schemas.microsoft.com/office/drawing/2014/main" id="{B28B3A79-A3BC-45B0-84B9-4B9FC889A8CB}"/>
                </a:ext>
              </a:extLst>
            </p:cNvPr>
            <p:cNvSpPr/>
            <p:nvPr/>
          </p:nvSpPr>
          <p:spPr bwMode="auto">
            <a:xfrm>
              <a:off x="4662981" y="2008730"/>
              <a:ext cx="464925" cy="469425"/>
            </a:xfrm>
            <a:custGeom>
              <a:avLst/>
              <a:gdLst>
                <a:gd name="T0" fmla="*/ 284 w 310"/>
                <a:gd name="T1" fmla="*/ 313 h 313"/>
                <a:gd name="T2" fmla="*/ 110 w 310"/>
                <a:gd name="T3" fmla="*/ 203 h 313"/>
                <a:gd name="T4" fmla="*/ 0 w 310"/>
                <a:gd name="T5" fmla="*/ 26 h 313"/>
                <a:gd name="T6" fmla="*/ 55 w 310"/>
                <a:gd name="T7" fmla="*/ 0 h 313"/>
                <a:gd name="T8" fmla="*/ 155 w 310"/>
                <a:gd name="T9" fmla="*/ 145 h 313"/>
                <a:gd name="T10" fmla="*/ 310 w 310"/>
                <a:gd name="T11" fmla="*/ 197 h 313"/>
                <a:gd name="T12" fmla="*/ 284 w 310"/>
                <a:gd name="T13" fmla="*/ 313 h 313"/>
              </a:gdLst>
              <a:ahLst/>
              <a:cxnLst>
                <a:cxn ang="0">
                  <a:pos x="T0" y="T1"/>
                </a:cxn>
                <a:cxn ang="0">
                  <a:pos x="T2" y="T3"/>
                </a:cxn>
                <a:cxn ang="0">
                  <a:pos x="T4" y="T5"/>
                </a:cxn>
                <a:cxn ang="0">
                  <a:pos x="T6" y="T7"/>
                </a:cxn>
                <a:cxn ang="0">
                  <a:pos x="T8" y="T9"/>
                </a:cxn>
                <a:cxn ang="0">
                  <a:pos x="T10" y="T11"/>
                </a:cxn>
                <a:cxn ang="0">
                  <a:pos x="T12" y="T13"/>
                </a:cxn>
              </a:cxnLst>
              <a:rect l="0" t="0" r="r" b="b"/>
              <a:pathLst>
                <a:path w="310" h="313">
                  <a:moveTo>
                    <a:pt x="284" y="313"/>
                  </a:moveTo>
                  <a:lnTo>
                    <a:pt x="110" y="203"/>
                  </a:lnTo>
                  <a:lnTo>
                    <a:pt x="0" y="26"/>
                  </a:lnTo>
                  <a:lnTo>
                    <a:pt x="55" y="0"/>
                  </a:lnTo>
                  <a:lnTo>
                    <a:pt x="155" y="145"/>
                  </a:lnTo>
                  <a:lnTo>
                    <a:pt x="310" y="197"/>
                  </a:lnTo>
                  <a:lnTo>
                    <a:pt x="284" y="3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6" name="îŝ1îḑe">
              <a:extLst>
                <a:ext uri="{FF2B5EF4-FFF2-40B4-BE49-F238E27FC236}">
                  <a16:creationId xmlns:a16="http://schemas.microsoft.com/office/drawing/2014/main" id="{EC660AA9-A874-4E6F-B28C-0724CC37C4C5}"/>
                </a:ext>
              </a:extLst>
            </p:cNvPr>
            <p:cNvSpPr/>
            <p:nvPr/>
          </p:nvSpPr>
          <p:spPr bwMode="auto">
            <a:xfrm>
              <a:off x="5529841" y="2830597"/>
              <a:ext cx="95984" cy="184471"/>
            </a:xfrm>
            <a:custGeom>
              <a:avLst/>
              <a:gdLst>
                <a:gd name="T0" fmla="*/ 12 w 20"/>
                <a:gd name="T1" fmla="*/ 3 h 38"/>
                <a:gd name="T2" fmla="*/ 16 w 20"/>
                <a:gd name="T3" fmla="*/ 25 h 38"/>
                <a:gd name="T4" fmla="*/ 8 w 20"/>
                <a:gd name="T5" fmla="*/ 30 h 38"/>
                <a:gd name="T6" fmla="*/ 0 w 20"/>
                <a:gd name="T7" fmla="*/ 3 h 38"/>
                <a:gd name="T8" fmla="*/ 12 w 20"/>
                <a:gd name="T9" fmla="*/ 3 h 38"/>
              </a:gdLst>
              <a:ahLst/>
              <a:cxnLst>
                <a:cxn ang="0">
                  <a:pos x="T0" y="T1"/>
                </a:cxn>
                <a:cxn ang="0">
                  <a:pos x="T2" y="T3"/>
                </a:cxn>
                <a:cxn ang="0">
                  <a:pos x="T4" y="T5"/>
                </a:cxn>
                <a:cxn ang="0">
                  <a:pos x="T6" y="T7"/>
                </a:cxn>
                <a:cxn ang="0">
                  <a:pos x="T8" y="T9"/>
                </a:cxn>
              </a:cxnLst>
              <a:rect l="0" t="0" r="r" b="b"/>
              <a:pathLst>
                <a:path w="20" h="38">
                  <a:moveTo>
                    <a:pt x="12" y="3"/>
                  </a:moveTo>
                  <a:cubicBezTo>
                    <a:pt x="19" y="15"/>
                    <a:pt x="11" y="14"/>
                    <a:pt x="16" y="25"/>
                  </a:cubicBezTo>
                  <a:cubicBezTo>
                    <a:pt x="20" y="35"/>
                    <a:pt x="12" y="38"/>
                    <a:pt x="8" y="30"/>
                  </a:cubicBezTo>
                  <a:cubicBezTo>
                    <a:pt x="1" y="19"/>
                    <a:pt x="0" y="3"/>
                    <a:pt x="0" y="3"/>
                  </a:cubicBezTo>
                  <a:cubicBezTo>
                    <a:pt x="0" y="3"/>
                    <a:pt x="11" y="0"/>
                    <a:pt x="12" y="3"/>
                  </a:cubicBezTo>
                  <a:close/>
                </a:path>
              </a:pathLst>
            </a:custGeom>
            <a:solidFill>
              <a:srgbClr val="FAA2C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7" name="ï$ḻíḓe">
              <a:extLst>
                <a:ext uri="{FF2B5EF4-FFF2-40B4-BE49-F238E27FC236}">
                  <a16:creationId xmlns:a16="http://schemas.microsoft.com/office/drawing/2014/main" id="{94E8394B-CB4D-4E77-A9EB-C6E52230CDA0}"/>
                </a:ext>
              </a:extLst>
            </p:cNvPr>
            <p:cNvSpPr/>
            <p:nvPr/>
          </p:nvSpPr>
          <p:spPr bwMode="auto">
            <a:xfrm>
              <a:off x="4929938" y="3136548"/>
              <a:ext cx="71988" cy="38994"/>
            </a:xfrm>
            <a:custGeom>
              <a:avLst/>
              <a:gdLst>
                <a:gd name="T0" fmla="*/ 15 w 15"/>
                <a:gd name="T1" fmla="*/ 0 h 8"/>
                <a:gd name="T2" fmla="*/ 0 w 15"/>
                <a:gd name="T3" fmla="*/ 8 h 8"/>
                <a:gd name="T4" fmla="*/ 0 w 15"/>
                <a:gd name="T5" fmla="*/ 8 h 8"/>
                <a:gd name="T6" fmla="*/ 15 w 15"/>
                <a:gd name="T7" fmla="*/ 0 h 8"/>
              </a:gdLst>
              <a:ahLst/>
              <a:cxnLst>
                <a:cxn ang="0">
                  <a:pos x="T0" y="T1"/>
                </a:cxn>
                <a:cxn ang="0">
                  <a:pos x="T2" y="T3"/>
                </a:cxn>
                <a:cxn ang="0">
                  <a:pos x="T4" y="T5"/>
                </a:cxn>
                <a:cxn ang="0">
                  <a:pos x="T6" y="T7"/>
                </a:cxn>
              </a:cxnLst>
              <a:rect l="0" t="0" r="r" b="b"/>
              <a:pathLst>
                <a:path w="15" h="8">
                  <a:moveTo>
                    <a:pt x="15" y="0"/>
                  </a:moveTo>
                  <a:cubicBezTo>
                    <a:pt x="10" y="4"/>
                    <a:pt x="5" y="6"/>
                    <a:pt x="0" y="8"/>
                  </a:cubicBezTo>
                  <a:cubicBezTo>
                    <a:pt x="0" y="8"/>
                    <a:pt x="0" y="8"/>
                    <a:pt x="0" y="8"/>
                  </a:cubicBezTo>
                  <a:cubicBezTo>
                    <a:pt x="5" y="6"/>
                    <a:pt x="10" y="4"/>
                    <a:pt x="15" y="0"/>
                  </a:cubicBezTo>
                </a:path>
              </a:pathLst>
            </a:custGeom>
            <a:solidFill>
              <a:srgbClr val="65A2E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8" name="íṧlïdé">
              <a:extLst>
                <a:ext uri="{FF2B5EF4-FFF2-40B4-BE49-F238E27FC236}">
                  <a16:creationId xmlns:a16="http://schemas.microsoft.com/office/drawing/2014/main" id="{CB95D3AC-6940-4B6D-816A-3D3D592889B5}"/>
                </a:ext>
              </a:extLst>
            </p:cNvPr>
            <p:cNvSpPr/>
            <p:nvPr/>
          </p:nvSpPr>
          <p:spPr bwMode="auto">
            <a:xfrm>
              <a:off x="4929938" y="2962576"/>
              <a:ext cx="182970" cy="212966"/>
            </a:xfrm>
            <a:custGeom>
              <a:avLst/>
              <a:gdLst>
                <a:gd name="T0" fmla="*/ 30 w 38"/>
                <a:gd name="T1" fmla="*/ 0 h 44"/>
                <a:gd name="T2" fmla="*/ 20 w 38"/>
                <a:gd name="T3" fmla="*/ 21 h 44"/>
                <a:gd name="T4" fmla="*/ 0 w 38"/>
                <a:gd name="T5" fmla="*/ 44 h 44"/>
                <a:gd name="T6" fmla="*/ 15 w 38"/>
                <a:gd name="T7" fmla="*/ 36 h 44"/>
                <a:gd name="T8" fmla="*/ 38 w 38"/>
                <a:gd name="T9" fmla="*/ 19 h 44"/>
                <a:gd name="T10" fmla="*/ 30 w 38"/>
                <a:gd name="T11" fmla="*/ 0 h 44"/>
              </a:gdLst>
              <a:ahLst/>
              <a:cxnLst>
                <a:cxn ang="0">
                  <a:pos x="T0" y="T1"/>
                </a:cxn>
                <a:cxn ang="0">
                  <a:pos x="T2" y="T3"/>
                </a:cxn>
                <a:cxn ang="0">
                  <a:pos x="T4" y="T5"/>
                </a:cxn>
                <a:cxn ang="0">
                  <a:pos x="T6" y="T7"/>
                </a:cxn>
                <a:cxn ang="0">
                  <a:pos x="T8" y="T9"/>
                </a:cxn>
                <a:cxn ang="0">
                  <a:pos x="T10" y="T11"/>
                </a:cxn>
              </a:cxnLst>
              <a:rect l="0" t="0" r="r" b="b"/>
              <a:pathLst>
                <a:path w="38" h="44">
                  <a:moveTo>
                    <a:pt x="30" y="0"/>
                  </a:moveTo>
                  <a:cubicBezTo>
                    <a:pt x="30" y="0"/>
                    <a:pt x="27" y="12"/>
                    <a:pt x="20" y="21"/>
                  </a:cubicBezTo>
                  <a:cubicBezTo>
                    <a:pt x="16" y="27"/>
                    <a:pt x="1" y="44"/>
                    <a:pt x="0" y="44"/>
                  </a:cubicBezTo>
                  <a:cubicBezTo>
                    <a:pt x="5" y="42"/>
                    <a:pt x="10" y="40"/>
                    <a:pt x="15" y="36"/>
                  </a:cubicBezTo>
                  <a:cubicBezTo>
                    <a:pt x="27" y="28"/>
                    <a:pt x="38" y="19"/>
                    <a:pt x="38" y="19"/>
                  </a:cubicBezTo>
                  <a:cubicBezTo>
                    <a:pt x="30" y="0"/>
                    <a:pt x="30" y="0"/>
                    <a:pt x="30" y="0"/>
                  </a:cubicBezTo>
                </a:path>
              </a:pathLst>
            </a:custGeom>
            <a:solidFill>
              <a:srgbClr val="4A10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9" name="îślîḓê">
              <a:extLst>
                <a:ext uri="{FF2B5EF4-FFF2-40B4-BE49-F238E27FC236}">
                  <a16:creationId xmlns:a16="http://schemas.microsoft.com/office/drawing/2014/main" id="{6FE15AFD-F376-4986-9F1E-30864CAE527D}"/>
                </a:ext>
              </a:extLst>
            </p:cNvPr>
            <p:cNvSpPr/>
            <p:nvPr/>
          </p:nvSpPr>
          <p:spPr bwMode="auto">
            <a:xfrm>
              <a:off x="5025922" y="2439160"/>
              <a:ext cx="23996" cy="14998"/>
            </a:xfrm>
            <a:custGeom>
              <a:avLst/>
              <a:gdLst>
                <a:gd name="T0" fmla="*/ 3 w 16"/>
                <a:gd name="T1" fmla="*/ 0 h 10"/>
                <a:gd name="T2" fmla="*/ 0 w 16"/>
                <a:gd name="T3" fmla="*/ 3 h 10"/>
                <a:gd name="T4" fmla="*/ 16 w 16"/>
                <a:gd name="T5" fmla="*/ 10 h 10"/>
                <a:gd name="T6" fmla="*/ 16 w 16"/>
                <a:gd name="T7" fmla="*/ 10 h 10"/>
                <a:gd name="T8" fmla="*/ 3 w 16"/>
                <a:gd name="T9" fmla="*/ 0 h 10"/>
              </a:gdLst>
              <a:ahLst/>
              <a:cxnLst>
                <a:cxn ang="0">
                  <a:pos x="T0" y="T1"/>
                </a:cxn>
                <a:cxn ang="0">
                  <a:pos x="T2" y="T3"/>
                </a:cxn>
                <a:cxn ang="0">
                  <a:pos x="T4" y="T5"/>
                </a:cxn>
                <a:cxn ang="0">
                  <a:pos x="T6" y="T7"/>
                </a:cxn>
                <a:cxn ang="0">
                  <a:pos x="T8" y="T9"/>
                </a:cxn>
              </a:cxnLst>
              <a:rect l="0" t="0" r="r" b="b"/>
              <a:pathLst>
                <a:path w="16" h="10">
                  <a:moveTo>
                    <a:pt x="3" y="0"/>
                  </a:moveTo>
                  <a:lnTo>
                    <a:pt x="0" y="3"/>
                  </a:lnTo>
                  <a:lnTo>
                    <a:pt x="16" y="10"/>
                  </a:lnTo>
                  <a:lnTo>
                    <a:pt x="16" y="10"/>
                  </a:lnTo>
                  <a:lnTo>
                    <a:pt x="3" y="0"/>
                  </a:lnTo>
                  <a:close/>
                </a:path>
              </a:pathLst>
            </a:custGeom>
            <a:solidFill>
              <a:srgbClr val="64B0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ïṡ1îḓé">
              <a:extLst>
                <a:ext uri="{FF2B5EF4-FFF2-40B4-BE49-F238E27FC236}">
                  <a16:creationId xmlns:a16="http://schemas.microsoft.com/office/drawing/2014/main" id="{F8D9CEC7-2CD5-4F8F-982A-CD96A76724C1}"/>
                </a:ext>
              </a:extLst>
            </p:cNvPr>
            <p:cNvSpPr/>
            <p:nvPr/>
          </p:nvSpPr>
          <p:spPr bwMode="auto">
            <a:xfrm>
              <a:off x="5025922" y="2439160"/>
              <a:ext cx="23996" cy="14998"/>
            </a:xfrm>
            <a:custGeom>
              <a:avLst/>
              <a:gdLst>
                <a:gd name="T0" fmla="*/ 3 w 16"/>
                <a:gd name="T1" fmla="*/ 0 h 10"/>
                <a:gd name="T2" fmla="*/ 0 w 16"/>
                <a:gd name="T3" fmla="*/ 3 h 10"/>
                <a:gd name="T4" fmla="*/ 16 w 16"/>
                <a:gd name="T5" fmla="*/ 10 h 10"/>
                <a:gd name="T6" fmla="*/ 16 w 16"/>
                <a:gd name="T7" fmla="*/ 10 h 10"/>
                <a:gd name="T8" fmla="*/ 3 w 16"/>
                <a:gd name="T9" fmla="*/ 0 h 10"/>
              </a:gdLst>
              <a:ahLst/>
              <a:cxnLst>
                <a:cxn ang="0">
                  <a:pos x="T0" y="T1"/>
                </a:cxn>
                <a:cxn ang="0">
                  <a:pos x="T2" y="T3"/>
                </a:cxn>
                <a:cxn ang="0">
                  <a:pos x="T4" y="T5"/>
                </a:cxn>
                <a:cxn ang="0">
                  <a:pos x="T6" y="T7"/>
                </a:cxn>
                <a:cxn ang="0">
                  <a:pos x="T8" y="T9"/>
                </a:cxn>
              </a:cxnLst>
              <a:rect l="0" t="0" r="r" b="b"/>
              <a:pathLst>
                <a:path w="16" h="10">
                  <a:moveTo>
                    <a:pt x="3" y="0"/>
                  </a:moveTo>
                  <a:lnTo>
                    <a:pt x="0" y="3"/>
                  </a:lnTo>
                  <a:lnTo>
                    <a:pt x="16" y="10"/>
                  </a:lnTo>
                  <a:lnTo>
                    <a:pt x="16" y="1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1" name="îṧlïḍe">
              <a:extLst>
                <a:ext uri="{FF2B5EF4-FFF2-40B4-BE49-F238E27FC236}">
                  <a16:creationId xmlns:a16="http://schemas.microsoft.com/office/drawing/2014/main" id="{8194181D-9F90-495B-AB81-3B8BA4055C86}"/>
                </a:ext>
              </a:extLst>
            </p:cNvPr>
            <p:cNvSpPr/>
            <p:nvPr/>
          </p:nvSpPr>
          <p:spPr bwMode="auto">
            <a:xfrm>
              <a:off x="5030422" y="2347675"/>
              <a:ext cx="58491" cy="106483"/>
            </a:xfrm>
            <a:custGeom>
              <a:avLst/>
              <a:gdLst>
                <a:gd name="T0" fmla="*/ 39 w 39"/>
                <a:gd name="T1" fmla="*/ 0 h 71"/>
                <a:gd name="T2" fmla="*/ 0 w 39"/>
                <a:gd name="T3" fmla="*/ 61 h 71"/>
                <a:gd name="T4" fmla="*/ 13 w 39"/>
                <a:gd name="T5" fmla="*/ 71 h 71"/>
                <a:gd name="T6" fmla="*/ 39 w 39"/>
                <a:gd name="T7" fmla="*/ 0 h 71"/>
              </a:gdLst>
              <a:ahLst/>
              <a:cxnLst>
                <a:cxn ang="0">
                  <a:pos x="T0" y="T1"/>
                </a:cxn>
                <a:cxn ang="0">
                  <a:pos x="T2" y="T3"/>
                </a:cxn>
                <a:cxn ang="0">
                  <a:pos x="T4" y="T5"/>
                </a:cxn>
                <a:cxn ang="0">
                  <a:pos x="T6" y="T7"/>
                </a:cxn>
              </a:cxnLst>
              <a:rect l="0" t="0" r="r" b="b"/>
              <a:pathLst>
                <a:path w="39" h="71">
                  <a:moveTo>
                    <a:pt x="39" y="0"/>
                  </a:moveTo>
                  <a:lnTo>
                    <a:pt x="0" y="61"/>
                  </a:lnTo>
                  <a:lnTo>
                    <a:pt x="13" y="71"/>
                  </a:lnTo>
                  <a:lnTo>
                    <a:pt x="39" y="0"/>
                  </a:lnTo>
                  <a:close/>
                </a:path>
              </a:pathLst>
            </a:custGeom>
            <a:solidFill>
              <a:srgbClr val="7164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ïṡḷïḓê">
              <a:extLst>
                <a:ext uri="{FF2B5EF4-FFF2-40B4-BE49-F238E27FC236}">
                  <a16:creationId xmlns:a16="http://schemas.microsoft.com/office/drawing/2014/main" id="{E2B53626-03D3-439D-A3AF-B3C9E02AC7F1}"/>
                </a:ext>
              </a:extLst>
            </p:cNvPr>
            <p:cNvSpPr/>
            <p:nvPr/>
          </p:nvSpPr>
          <p:spPr bwMode="auto">
            <a:xfrm>
              <a:off x="5030422" y="2347675"/>
              <a:ext cx="58491" cy="106483"/>
            </a:xfrm>
            <a:custGeom>
              <a:avLst/>
              <a:gdLst>
                <a:gd name="T0" fmla="*/ 39 w 39"/>
                <a:gd name="T1" fmla="*/ 0 h 71"/>
                <a:gd name="T2" fmla="*/ 0 w 39"/>
                <a:gd name="T3" fmla="*/ 61 h 71"/>
                <a:gd name="T4" fmla="*/ 13 w 39"/>
                <a:gd name="T5" fmla="*/ 71 h 71"/>
                <a:gd name="T6" fmla="*/ 39 w 39"/>
                <a:gd name="T7" fmla="*/ 0 h 71"/>
              </a:gdLst>
              <a:ahLst/>
              <a:cxnLst>
                <a:cxn ang="0">
                  <a:pos x="T0" y="T1"/>
                </a:cxn>
                <a:cxn ang="0">
                  <a:pos x="T2" y="T3"/>
                </a:cxn>
                <a:cxn ang="0">
                  <a:pos x="T4" y="T5"/>
                </a:cxn>
                <a:cxn ang="0">
                  <a:pos x="T6" y="T7"/>
                </a:cxn>
              </a:cxnLst>
              <a:rect l="0" t="0" r="r" b="b"/>
              <a:pathLst>
                <a:path w="39" h="71">
                  <a:moveTo>
                    <a:pt x="39" y="0"/>
                  </a:moveTo>
                  <a:lnTo>
                    <a:pt x="0" y="61"/>
                  </a:lnTo>
                  <a:lnTo>
                    <a:pt x="13" y="71"/>
                  </a:lnTo>
                  <a:lnTo>
                    <a:pt x="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îS1íḋê">
              <a:extLst>
                <a:ext uri="{FF2B5EF4-FFF2-40B4-BE49-F238E27FC236}">
                  <a16:creationId xmlns:a16="http://schemas.microsoft.com/office/drawing/2014/main" id="{4740E9FF-7250-43E8-9A4C-708A513079EE}"/>
                </a:ext>
              </a:extLst>
            </p:cNvPr>
            <p:cNvSpPr/>
            <p:nvPr/>
          </p:nvSpPr>
          <p:spPr bwMode="auto">
            <a:xfrm>
              <a:off x="5268883" y="2313180"/>
              <a:ext cx="338945" cy="566908"/>
            </a:xfrm>
            <a:custGeom>
              <a:avLst/>
              <a:gdLst>
                <a:gd name="T0" fmla="*/ 16 w 226"/>
                <a:gd name="T1" fmla="*/ 0 h 378"/>
                <a:gd name="T2" fmla="*/ 155 w 226"/>
                <a:gd name="T3" fmla="*/ 184 h 378"/>
                <a:gd name="T4" fmla="*/ 226 w 226"/>
                <a:gd name="T5" fmla="*/ 349 h 378"/>
                <a:gd name="T6" fmla="*/ 171 w 226"/>
                <a:gd name="T7" fmla="*/ 378 h 378"/>
                <a:gd name="T8" fmla="*/ 100 w 226"/>
                <a:gd name="T9" fmla="*/ 226 h 378"/>
                <a:gd name="T10" fmla="*/ 0 w 226"/>
                <a:gd name="T11" fmla="*/ 146 h 378"/>
                <a:gd name="T12" fmla="*/ 16 w 226"/>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226" h="378">
                  <a:moveTo>
                    <a:pt x="16" y="0"/>
                  </a:moveTo>
                  <a:lnTo>
                    <a:pt x="155" y="184"/>
                  </a:lnTo>
                  <a:lnTo>
                    <a:pt x="226" y="349"/>
                  </a:lnTo>
                  <a:lnTo>
                    <a:pt x="171" y="378"/>
                  </a:lnTo>
                  <a:lnTo>
                    <a:pt x="100" y="226"/>
                  </a:lnTo>
                  <a:lnTo>
                    <a:pt x="0" y="146"/>
                  </a:lnTo>
                  <a:lnTo>
                    <a:pt x="16" y="0"/>
                  </a:lnTo>
                  <a:close/>
                </a:path>
              </a:pathLst>
            </a:custGeom>
            <a:solidFill>
              <a:srgbClr val="9488F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4" name="ïŝļïḓe">
              <a:extLst>
                <a:ext uri="{FF2B5EF4-FFF2-40B4-BE49-F238E27FC236}">
                  <a16:creationId xmlns:a16="http://schemas.microsoft.com/office/drawing/2014/main" id="{44E7F145-7ED6-46AE-8485-398298861FAE}"/>
                </a:ext>
              </a:extLst>
            </p:cNvPr>
            <p:cNvSpPr/>
            <p:nvPr/>
          </p:nvSpPr>
          <p:spPr bwMode="auto">
            <a:xfrm>
              <a:off x="5268883" y="2313180"/>
              <a:ext cx="338945" cy="566908"/>
            </a:xfrm>
            <a:custGeom>
              <a:avLst/>
              <a:gdLst>
                <a:gd name="T0" fmla="*/ 16 w 226"/>
                <a:gd name="T1" fmla="*/ 0 h 378"/>
                <a:gd name="T2" fmla="*/ 155 w 226"/>
                <a:gd name="T3" fmla="*/ 184 h 378"/>
                <a:gd name="T4" fmla="*/ 226 w 226"/>
                <a:gd name="T5" fmla="*/ 349 h 378"/>
                <a:gd name="T6" fmla="*/ 171 w 226"/>
                <a:gd name="T7" fmla="*/ 378 h 378"/>
                <a:gd name="T8" fmla="*/ 100 w 226"/>
                <a:gd name="T9" fmla="*/ 226 h 378"/>
                <a:gd name="T10" fmla="*/ 0 w 226"/>
                <a:gd name="T11" fmla="*/ 146 h 378"/>
                <a:gd name="T12" fmla="*/ 16 w 226"/>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226" h="378">
                  <a:moveTo>
                    <a:pt x="16" y="0"/>
                  </a:moveTo>
                  <a:lnTo>
                    <a:pt x="155" y="184"/>
                  </a:lnTo>
                  <a:lnTo>
                    <a:pt x="226" y="349"/>
                  </a:lnTo>
                  <a:lnTo>
                    <a:pt x="171" y="378"/>
                  </a:lnTo>
                  <a:lnTo>
                    <a:pt x="100" y="226"/>
                  </a:lnTo>
                  <a:lnTo>
                    <a:pt x="0" y="14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5" name="ïSḻíḓè">
              <a:extLst>
                <a:ext uri="{FF2B5EF4-FFF2-40B4-BE49-F238E27FC236}">
                  <a16:creationId xmlns:a16="http://schemas.microsoft.com/office/drawing/2014/main" id="{A90289DF-5D19-4575-A3F0-FE329BDCADD7}"/>
                </a:ext>
              </a:extLst>
            </p:cNvPr>
            <p:cNvSpPr/>
            <p:nvPr/>
          </p:nvSpPr>
          <p:spPr bwMode="auto">
            <a:xfrm>
              <a:off x="5331873" y="2647627"/>
              <a:ext cx="0" cy="106483"/>
            </a:xfrm>
            <a:custGeom>
              <a:avLst/>
              <a:gdLst>
                <a:gd name="T0" fmla="*/ 0 h 22"/>
                <a:gd name="T1" fmla="*/ 20 h 22"/>
                <a:gd name="T2" fmla="*/ 22 h 22"/>
                <a:gd name="T3" fmla="*/ 0 h 22"/>
              </a:gdLst>
              <a:ahLst/>
              <a:cxnLst>
                <a:cxn ang="0">
                  <a:pos x="0" y="T0"/>
                </a:cxn>
                <a:cxn ang="0">
                  <a:pos x="0" y="T1"/>
                </a:cxn>
                <a:cxn ang="0">
                  <a:pos x="0" y="T2"/>
                </a:cxn>
                <a:cxn ang="0">
                  <a:pos x="0" y="T3"/>
                </a:cxn>
              </a:cxnLst>
              <a:rect l="0" t="0" r="r" b="b"/>
              <a:pathLst>
                <a:path h="22">
                  <a:moveTo>
                    <a:pt x="0" y="0"/>
                  </a:moveTo>
                  <a:cubicBezTo>
                    <a:pt x="0" y="7"/>
                    <a:pt x="0" y="14"/>
                    <a:pt x="0" y="20"/>
                  </a:cubicBezTo>
                  <a:cubicBezTo>
                    <a:pt x="0" y="22"/>
                    <a:pt x="0" y="22"/>
                    <a:pt x="0" y="22"/>
                  </a:cubicBezTo>
                  <a:cubicBezTo>
                    <a:pt x="0" y="0"/>
                    <a:pt x="0" y="0"/>
                    <a:pt x="0" y="0"/>
                  </a:cubicBezTo>
                </a:path>
              </a:pathLst>
            </a:custGeom>
            <a:solidFill>
              <a:srgbClr val="64B0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6" name="ïṩľiḓe">
              <a:extLst>
                <a:ext uri="{FF2B5EF4-FFF2-40B4-BE49-F238E27FC236}">
                  <a16:creationId xmlns:a16="http://schemas.microsoft.com/office/drawing/2014/main" id="{C997C62C-6AD7-4767-A1E2-0B3B69B68ED5}"/>
                </a:ext>
              </a:extLst>
            </p:cNvPr>
            <p:cNvSpPr/>
            <p:nvPr/>
          </p:nvSpPr>
          <p:spPr bwMode="auto">
            <a:xfrm>
              <a:off x="5277881" y="2536645"/>
              <a:ext cx="53991" cy="206967"/>
            </a:xfrm>
            <a:custGeom>
              <a:avLst/>
              <a:gdLst>
                <a:gd name="T0" fmla="*/ 0 w 11"/>
                <a:gd name="T1" fmla="*/ 0 h 43"/>
                <a:gd name="T2" fmla="*/ 11 w 11"/>
                <a:gd name="T3" fmla="*/ 43 h 43"/>
                <a:gd name="T4" fmla="*/ 11 w 11"/>
                <a:gd name="T5" fmla="*/ 23 h 43"/>
                <a:gd name="T6" fmla="*/ 11 w 11"/>
                <a:gd name="T7" fmla="*/ 9 h 43"/>
                <a:gd name="T8" fmla="*/ 0 w 11"/>
                <a:gd name="T9" fmla="*/ 0 h 43"/>
              </a:gdLst>
              <a:ahLst/>
              <a:cxnLst>
                <a:cxn ang="0">
                  <a:pos x="T0" y="T1"/>
                </a:cxn>
                <a:cxn ang="0">
                  <a:pos x="T2" y="T3"/>
                </a:cxn>
                <a:cxn ang="0">
                  <a:pos x="T4" y="T5"/>
                </a:cxn>
                <a:cxn ang="0">
                  <a:pos x="T6" y="T7"/>
                </a:cxn>
                <a:cxn ang="0">
                  <a:pos x="T8" y="T9"/>
                </a:cxn>
              </a:cxnLst>
              <a:rect l="0" t="0" r="r" b="b"/>
              <a:pathLst>
                <a:path w="11" h="43">
                  <a:moveTo>
                    <a:pt x="0" y="0"/>
                  </a:moveTo>
                  <a:cubicBezTo>
                    <a:pt x="11" y="43"/>
                    <a:pt x="11" y="43"/>
                    <a:pt x="11" y="43"/>
                  </a:cubicBezTo>
                  <a:cubicBezTo>
                    <a:pt x="11" y="37"/>
                    <a:pt x="11" y="30"/>
                    <a:pt x="11" y="23"/>
                  </a:cubicBezTo>
                  <a:cubicBezTo>
                    <a:pt x="11" y="9"/>
                    <a:pt x="11" y="9"/>
                    <a:pt x="11" y="9"/>
                  </a:cubicBezTo>
                  <a:cubicBezTo>
                    <a:pt x="0" y="0"/>
                    <a:pt x="0" y="0"/>
                    <a:pt x="0" y="0"/>
                  </a:cubicBezTo>
                </a:path>
              </a:pathLst>
            </a:custGeom>
            <a:solidFill>
              <a:srgbClr val="7164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7" name="ïṥľïdé">
              <a:extLst>
                <a:ext uri="{FF2B5EF4-FFF2-40B4-BE49-F238E27FC236}">
                  <a16:creationId xmlns:a16="http://schemas.microsoft.com/office/drawing/2014/main" id="{4095843A-C8F9-468D-B71D-A5B90B54E71A}"/>
                </a:ext>
              </a:extLst>
            </p:cNvPr>
            <p:cNvSpPr/>
            <p:nvPr/>
          </p:nvSpPr>
          <p:spPr bwMode="auto">
            <a:xfrm>
              <a:off x="5273383" y="2521647"/>
              <a:ext cx="58491" cy="58491"/>
            </a:xfrm>
            <a:custGeom>
              <a:avLst/>
              <a:gdLst>
                <a:gd name="T0" fmla="*/ 0 w 39"/>
                <a:gd name="T1" fmla="*/ 0 h 39"/>
                <a:gd name="T2" fmla="*/ 3 w 39"/>
                <a:gd name="T3" fmla="*/ 10 h 39"/>
                <a:gd name="T4" fmla="*/ 39 w 39"/>
                <a:gd name="T5" fmla="*/ 39 h 39"/>
                <a:gd name="T6" fmla="*/ 39 w 39"/>
                <a:gd name="T7" fmla="*/ 39 h 39"/>
                <a:gd name="T8" fmla="*/ 0 w 39"/>
                <a:gd name="T9" fmla="*/ 0 h 39"/>
              </a:gdLst>
              <a:ahLst/>
              <a:cxnLst>
                <a:cxn ang="0">
                  <a:pos x="T0" y="T1"/>
                </a:cxn>
                <a:cxn ang="0">
                  <a:pos x="T2" y="T3"/>
                </a:cxn>
                <a:cxn ang="0">
                  <a:pos x="T4" y="T5"/>
                </a:cxn>
                <a:cxn ang="0">
                  <a:pos x="T6" y="T7"/>
                </a:cxn>
                <a:cxn ang="0">
                  <a:pos x="T8" y="T9"/>
                </a:cxn>
              </a:cxnLst>
              <a:rect l="0" t="0" r="r" b="b"/>
              <a:pathLst>
                <a:path w="39" h="39">
                  <a:moveTo>
                    <a:pt x="0" y="0"/>
                  </a:moveTo>
                  <a:lnTo>
                    <a:pt x="3" y="10"/>
                  </a:lnTo>
                  <a:lnTo>
                    <a:pt x="39" y="39"/>
                  </a:lnTo>
                  <a:lnTo>
                    <a:pt x="39" y="39"/>
                  </a:lnTo>
                  <a:lnTo>
                    <a:pt x="0" y="0"/>
                  </a:lnTo>
                  <a:close/>
                </a:path>
              </a:pathLst>
            </a:custGeom>
            <a:solidFill>
              <a:srgbClr val="7164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8" name="ïšļíďé">
              <a:extLst>
                <a:ext uri="{FF2B5EF4-FFF2-40B4-BE49-F238E27FC236}">
                  <a16:creationId xmlns:a16="http://schemas.microsoft.com/office/drawing/2014/main" id="{2A84E30F-C6C3-4155-9462-C030EC229F9A}"/>
                </a:ext>
              </a:extLst>
            </p:cNvPr>
            <p:cNvSpPr/>
            <p:nvPr/>
          </p:nvSpPr>
          <p:spPr bwMode="auto">
            <a:xfrm>
              <a:off x="5273383" y="2521647"/>
              <a:ext cx="58491" cy="58491"/>
            </a:xfrm>
            <a:custGeom>
              <a:avLst/>
              <a:gdLst>
                <a:gd name="T0" fmla="*/ 0 w 39"/>
                <a:gd name="T1" fmla="*/ 0 h 39"/>
                <a:gd name="T2" fmla="*/ 3 w 39"/>
                <a:gd name="T3" fmla="*/ 10 h 39"/>
                <a:gd name="T4" fmla="*/ 39 w 39"/>
                <a:gd name="T5" fmla="*/ 39 h 39"/>
                <a:gd name="T6" fmla="*/ 39 w 39"/>
                <a:gd name="T7" fmla="*/ 39 h 39"/>
                <a:gd name="T8" fmla="*/ 0 w 39"/>
                <a:gd name="T9" fmla="*/ 0 h 39"/>
              </a:gdLst>
              <a:ahLst/>
              <a:cxnLst>
                <a:cxn ang="0">
                  <a:pos x="T0" y="T1"/>
                </a:cxn>
                <a:cxn ang="0">
                  <a:pos x="T2" y="T3"/>
                </a:cxn>
                <a:cxn ang="0">
                  <a:pos x="T4" y="T5"/>
                </a:cxn>
                <a:cxn ang="0">
                  <a:pos x="T6" y="T7"/>
                </a:cxn>
                <a:cxn ang="0">
                  <a:pos x="T8" y="T9"/>
                </a:cxn>
              </a:cxnLst>
              <a:rect l="0" t="0" r="r" b="b"/>
              <a:pathLst>
                <a:path w="39" h="39">
                  <a:moveTo>
                    <a:pt x="0" y="0"/>
                  </a:moveTo>
                  <a:lnTo>
                    <a:pt x="3" y="10"/>
                  </a:lnTo>
                  <a:lnTo>
                    <a:pt x="39" y="39"/>
                  </a:lnTo>
                  <a:lnTo>
                    <a:pt x="39" y="3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9" name="ïṥliḑe">
              <a:extLst>
                <a:ext uri="{FF2B5EF4-FFF2-40B4-BE49-F238E27FC236}">
                  <a16:creationId xmlns:a16="http://schemas.microsoft.com/office/drawing/2014/main" id="{208E512D-A228-4B57-B869-16F4FBC50560}"/>
                </a:ext>
              </a:extLst>
            </p:cNvPr>
            <p:cNvSpPr/>
            <p:nvPr/>
          </p:nvSpPr>
          <p:spPr bwMode="auto">
            <a:xfrm>
              <a:off x="4256547" y="3712455"/>
              <a:ext cx="3476438" cy="1765215"/>
            </a:xfrm>
            <a:custGeom>
              <a:avLst/>
              <a:gdLst>
                <a:gd name="T0" fmla="*/ 624 w 718"/>
                <a:gd name="T1" fmla="*/ 314 h 365"/>
                <a:gd name="T2" fmla="*/ 624 w 718"/>
                <a:gd name="T3" fmla="*/ 309 h 365"/>
                <a:gd name="T4" fmla="*/ 607 w 718"/>
                <a:gd name="T5" fmla="*/ 292 h 365"/>
                <a:gd name="T6" fmla="*/ 574 w 718"/>
                <a:gd name="T7" fmla="*/ 292 h 365"/>
                <a:gd name="T8" fmla="*/ 556 w 718"/>
                <a:gd name="T9" fmla="*/ 275 h 365"/>
                <a:gd name="T10" fmla="*/ 539 w 718"/>
                <a:gd name="T11" fmla="*/ 258 h 365"/>
                <a:gd name="T12" fmla="*/ 534 w 718"/>
                <a:gd name="T13" fmla="*/ 258 h 365"/>
                <a:gd name="T14" fmla="*/ 517 w 718"/>
                <a:gd name="T15" fmla="*/ 241 h 365"/>
                <a:gd name="T16" fmla="*/ 517 w 718"/>
                <a:gd name="T17" fmla="*/ 236 h 365"/>
                <a:gd name="T18" fmla="*/ 500 w 718"/>
                <a:gd name="T19" fmla="*/ 219 h 365"/>
                <a:gd name="T20" fmla="*/ 477 w 718"/>
                <a:gd name="T21" fmla="*/ 219 h 365"/>
                <a:gd name="T22" fmla="*/ 460 w 718"/>
                <a:gd name="T23" fmla="*/ 202 h 365"/>
                <a:gd name="T24" fmla="*/ 443 w 718"/>
                <a:gd name="T25" fmla="*/ 185 h 365"/>
                <a:gd name="T26" fmla="*/ 425 w 718"/>
                <a:gd name="T27" fmla="*/ 185 h 365"/>
                <a:gd name="T28" fmla="*/ 408 w 718"/>
                <a:gd name="T29" fmla="*/ 168 h 365"/>
                <a:gd name="T30" fmla="*/ 408 w 718"/>
                <a:gd name="T31" fmla="*/ 163 h 365"/>
                <a:gd name="T32" fmla="*/ 391 w 718"/>
                <a:gd name="T33" fmla="*/ 146 h 365"/>
                <a:gd name="T34" fmla="*/ 357 w 718"/>
                <a:gd name="T35" fmla="*/ 146 h 365"/>
                <a:gd name="T36" fmla="*/ 340 w 718"/>
                <a:gd name="T37" fmla="*/ 129 h 365"/>
                <a:gd name="T38" fmla="*/ 322 w 718"/>
                <a:gd name="T39" fmla="*/ 112 h 365"/>
                <a:gd name="T40" fmla="*/ 314 w 718"/>
                <a:gd name="T41" fmla="*/ 112 h 365"/>
                <a:gd name="T42" fmla="*/ 296 w 718"/>
                <a:gd name="T43" fmla="*/ 95 h 365"/>
                <a:gd name="T44" fmla="*/ 296 w 718"/>
                <a:gd name="T45" fmla="*/ 90 h 365"/>
                <a:gd name="T46" fmla="*/ 279 w 718"/>
                <a:gd name="T47" fmla="*/ 73 h 365"/>
                <a:gd name="T48" fmla="*/ 255 w 718"/>
                <a:gd name="T49" fmla="*/ 73 h 365"/>
                <a:gd name="T50" fmla="*/ 238 w 718"/>
                <a:gd name="T51" fmla="*/ 56 h 365"/>
                <a:gd name="T52" fmla="*/ 221 w 718"/>
                <a:gd name="T53" fmla="*/ 39 h 365"/>
                <a:gd name="T54" fmla="*/ 195 w 718"/>
                <a:gd name="T55" fmla="*/ 39 h 365"/>
                <a:gd name="T56" fmla="*/ 178 w 718"/>
                <a:gd name="T57" fmla="*/ 22 h 365"/>
                <a:gd name="T58" fmla="*/ 178 w 718"/>
                <a:gd name="T59" fmla="*/ 17 h 365"/>
                <a:gd name="T60" fmla="*/ 161 w 718"/>
                <a:gd name="T61" fmla="*/ 0 h 365"/>
                <a:gd name="T62" fmla="*/ 50 w 718"/>
                <a:gd name="T63" fmla="*/ 0 h 365"/>
                <a:gd name="T64" fmla="*/ 0 w 718"/>
                <a:gd name="T65" fmla="*/ 50 h 365"/>
                <a:gd name="T66" fmla="*/ 0 w 718"/>
                <a:gd name="T67" fmla="*/ 315 h 365"/>
                <a:gd name="T68" fmla="*/ 50 w 718"/>
                <a:gd name="T69" fmla="*/ 365 h 365"/>
                <a:gd name="T70" fmla="*/ 556 w 718"/>
                <a:gd name="T71" fmla="*/ 365 h 365"/>
                <a:gd name="T72" fmla="*/ 594 w 718"/>
                <a:gd name="T73" fmla="*/ 365 h 365"/>
                <a:gd name="T74" fmla="*/ 701 w 718"/>
                <a:gd name="T75" fmla="*/ 365 h 365"/>
                <a:gd name="T76" fmla="*/ 718 w 718"/>
                <a:gd name="T77" fmla="*/ 348 h 365"/>
                <a:gd name="T78" fmla="*/ 701 w 718"/>
                <a:gd name="T79" fmla="*/ 331 h 365"/>
                <a:gd name="T80" fmla="*/ 641 w 718"/>
                <a:gd name="T81" fmla="*/ 331 h 365"/>
                <a:gd name="T82" fmla="*/ 624 w 718"/>
                <a:gd name="T83" fmla="*/ 314 h 365"/>
                <a:gd name="T84" fmla="*/ 202 w 718"/>
                <a:gd name="T85" fmla="*/ 74 h 365"/>
                <a:gd name="T86" fmla="*/ 202 w 718"/>
                <a:gd name="T87" fmla="*/ 73 h 365"/>
                <a:gd name="T88" fmla="*/ 202 w 718"/>
                <a:gd name="T89" fmla="*/ 73 h 365"/>
                <a:gd name="T90" fmla="*/ 202 w 718"/>
                <a:gd name="T91" fmla="*/ 74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8" h="365">
                  <a:moveTo>
                    <a:pt x="624" y="314"/>
                  </a:moveTo>
                  <a:cubicBezTo>
                    <a:pt x="624" y="309"/>
                    <a:pt x="624" y="309"/>
                    <a:pt x="624" y="309"/>
                  </a:cubicBezTo>
                  <a:cubicBezTo>
                    <a:pt x="624" y="300"/>
                    <a:pt x="616" y="292"/>
                    <a:pt x="607" y="292"/>
                  </a:cubicBezTo>
                  <a:cubicBezTo>
                    <a:pt x="574" y="292"/>
                    <a:pt x="574" y="292"/>
                    <a:pt x="574" y="292"/>
                  </a:cubicBezTo>
                  <a:cubicBezTo>
                    <a:pt x="564" y="292"/>
                    <a:pt x="556" y="284"/>
                    <a:pt x="556" y="275"/>
                  </a:cubicBezTo>
                  <a:cubicBezTo>
                    <a:pt x="556" y="265"/>
                    <a:pt x="549" y="258"/>
                    <a:pt x="539" y="258"/>
                  </a:cubicBezTo>
                  <a:cubicBezTo>
                    <a:pt x="534" y="258"/>
                    <a:pt x="534" y="258"/>
                    <a:pt x="534" y="258"/>
                  </a:cubicBezTo>
                  <a:cubicBezTo>
                    <a:pt x="524" y="258"/>
                    <a:pt x="517" y="250"/>
                    <a:pt x="517" y="241"/>
                  </a:cubicBezTo>
                  <a:cubicBezTo>
                    <a:pt x="517" y="236"/>
                    <a:pt x="517" y="236"/>
                    <a:pt x="517" y="236"/>
                  </a:cubicBezTo>
                  <a:cubicBezTo>
                    <a:pt x="517" y="227"/>
                    <a:pt x="509" y="219"/>
                    <a:pt x="500" y="219"/>
                  </a:cubicBezTo>
                  <a:cubicBezTo>
                    <a:pt x="477" y="219"/>
                    <a:pt x="477" y="219"/>
                    <a:pt x="477" y="219"/>
                  </a:cubicBezTo>
                  <a:cubicBezTo>
                    <a:pt x="468" y="219"/>
                    <a:pt x="460" y="211"/>
                    <a:pt x="460" y="202"/>
                  </a:cubicBezTo>
                  <a:cubicBezTo>
                    <a:pt x="460" y="192"/>
                    <a:pt x="453" y="185"/>
                    <a:pt x="443" y="185"/>
                  </a:cubicBezTo>
                  <a:cubicBezTo>
                    <a:pt x="425" y="185"/>
                    <a:pt x="425" y="185"/>
                    <a:pt x="425" y="185"/>
                  </a:cubicBezTo>
                  <a:cubicBezTo>
                    <a:pt x="416" y="185"/>
                    <a:pt x="408" y="177"/>
                    <a:pt x="408" y="168"/>
                  </a:cubicBezTo>
                  <a:cubicBezTo>
                    <a:pt x="408" y="163"/>
                    <a:pt x="408" y="163"/>
                    <a:pt x="408" y="163"/>
                  </a:cubicBezTo>
                  <a:cubicBezTo>
                    <a:pt x="408" y="154"/>
                    <a:pt x="401" y="146"/>
                    <a:pt x="391" y="146"/>
                  </a:cubicBezTo>
                  <a:cubicBezTo>
                    <a:pt x="357" y="146"/>
                    <a:pt x="357" y="146"/>
                    <a:pt x="357" y="146"/>
                  </a:cubicBezTo>
                  <a:cubicBezTo>
                    <a:pt x="347" y="146"/>
                    <a:pt x="340" y="138"/>
                    <a:pt x="340" y="129"/>
                  </a:cubicBezTo>
                  <a:cubicBezTo>
                    <a:pt x="340" y="119"/>
                    <a:pt x="332" y="112"/>
                    <a:pt x="322" y="112"/>
                  </a:cubicBezTo>
                  <a:cubicBezTo>
                    <a:pt x="314" y="112"/>
                    <a:pt x="314" y="112"/>
                    <a:pt x="314" y="112"/>
                  </a:cubicBezTo>
                  <a:cubicBezTo>
                    <a:pt x="304" y="112"/>
                    <a:pt x="296" y="104"/>
                    <a:pt x="296" y="95"/>
                  </a:cubicBezTo>
                  <a:cubicBezTo>
                    <a:pt x="296" y="90"/>
                    <a:pt x="296" y="90"/>
                    <a:pt x="296" y="90"/>
                  </a:cubicBezTo>
                  <a:cubicBezTo>
                    <a:pt x="296" y="81"/>
                    <a:pt x="289" y="73"/>
                    <a:pt x="279" y="73"/>
                  </a:cubicBezTo>
                  <a:cubicBezTo>
                    <a:pt x="255" y="73"/>
                    <a:pt x="255" y="73"/>
                    <a:pt x="255" y="73"/>
                  </a:cubicBezTo>
                  <a:cubicBezTo>
                    <a:pt x="246" y="73"/>
                    <a:pt x="238" y="65"/>
                    <a:pt x="238" y="56"/>
                  </a:cubicBezTo>
                  <a:cubicBezTo>
                    <a:pt x="238" y="46"/>
                    <a:pt x="230" y="39"/>
                    <a:pt x="221" y="39"/>
                  </a:cubicBezTo>
                  <a:cubicBezTo>
                    <a:pt x="195" y="39"/>
                    <a:pt x="195" y="39"/>
                    <a:pt x="195" y="39"/>
                  </a:cubicBezTo>
                  <a:cubicBezTo>
                    <a:pt x="186" y="39"/>
                    <a:pt x="178" y="31"/>
                    <a:pt x="178" y="22"/>
                  </a:cubicBezTo>
                  <a:cubicBezTo>
                    <a:pt x="178" y="17"/>
                    <a:pt x="178" y="17"/>
                    <a:pt x="178" y="17"/>
                  </a:cubicBezTo>
                  <a:cubicBezTo>
                    <a:pt x="178" y="8"/>
                    <a:pt x="170" y="0"/>
                    <a:pt x="161" y="0"/>
                  </a:cubicBezTo>
                  <a:cubicBezTo>
                    <a:pt x="50" y="0"/>
                    <a:pt x="50" y="0"/>
                    <a:pt x="50" y="0"/>
                  </a:cubicBezTo>
                  <a:cubicBezTo>
                    <a:pt x="22" y="0"/>
                    <a:pt x="0" y="22"/>
                    <a:pt x="0" y="50"/>
                  </a:cubicBezTo>
                  <a:cubicBezTo>
                    <a:pt x="0" y="315"/>
                    <a:pt x="0" y="315"/>
                    <a:pt x="0" y="315"/>
                  </a:cubicBezTo>
                  <a:cubicBezTo>
                    <a:pt x="0" y="343"/>
                    <a:pt x="22" y="365"/>
                    <a:pt x="50" y="365"/>
                  </a:cubicBezTo>
                  <a:cubicBezTo>
                    <a:pt x="556" y="365"/>
                    <a:pt x="556" y="365"/>
                    <a:pt x="556" y="365"/>
                  </a:cubicBezTo>
                  <a:cubicBezTo>
                    <a:pt x="594" y="365"/>
                    <a:pt x="594" y="365"/>
                    <a:pt x="594" y="365"/>
                  </a:cubicBezTo>
                  <a:cubicBezTo>
                    <a:pt x="701" y="365"/>
                    <a:pt x="701" y="365"/>
                    <a:pt x="701" y="365"/>
                  </a:cubicBezTo>
                  <a:cubicBezTo>
                    <a:pt x="710" y="365"/>
                    <a:pt x="718" y="357"/>
                    <a:pt x="718" y="348"/>
                  </a:cubicBezTo>
                  <a:cubicBezTo>
                    <a:pt x="718" y="338"/>
                    <a:pt x="710" y="331"/>
                    <a:pt x="701" y="331"/>
                  </a:cubicBezTo>
                  <a:cubicBezTo>
                    <a:pt x="641" y="331"/>
                    <a:pt x="641" y="331"/>
                    <a:pt x="641" y="331"/>
                  </a:cubicBezTo>
                  <a:cubicBezTo>
                    <a:pt x="632" y="331"/>
                    <a:pt x="624" y="323"/>
                    <a:pt x="624" y="314"/>
                  </a:cubicBezTo>
                  <a:moveTo>
                    <a:pt x="202" y="74"/>
                  </a:moveTo>
                  <a:cubicBezTo>
                    <a:pt x="202" y="73"/>
                    <a:pt x="202" y="73"/>
                    <a:pt x="202" y="73"/>
                  </a:cubicBezTo>
                  <a:cubicBezTo>
                    <a:pt x="202" y="73"/>
                    <a:pt x="202" y="73"/>
                    <a:pt x="202" y="73"/>
                  </a:cubicBezTo>
                  <a:cubicBezTo>
                    <a:pt x="202" y="74"/>
                    <a:pt x="202" y="74"/>
                    <a:pt x="202" y="74"/>
                  </a:cubicBezTo>
                </a:path>
              </a:pathLst>
            </a:custGeom>
            <a:solidFill>
              <a:srgbClr val="3E70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0" name="išḻídè">
              <a:extLst>
                <a:ext uri="{FF2B5EF4-FFF2-40B4-BE49-F238E27FC236}">
                  <a16:creationId xmlns:a16="http://schemas.microsoft.com/office/drawing/2014/main" id="{AF78E6A5-3032-426F-A6C1-BE6D923CEF80}"/>
                </a:ext>
              </a:extLst>
            </p:cNvPr>
            <p:cNvSpPr/>
            <p:nvPr/>
          </p:nvSpPr>
          <p:spPr bwMode="auto">
            <a:xfrm>
              <a:off x="7131582" y="3736451"/>
              <a:ext cx="97485" cy="158974"/>
            </a:xfrm>
            <a:custGeom>
              <a:avLst/>
              <a:gdLst>
                <a:gd name="T0" fmla="*/ 65 w 65"/>
                <a:gd name="T1" fmla="*/ 0 h 106"/>
                <a:gd name="T2" fmla="*/ 0 w 65"/>
                <a:gd name="T3" fmla="*/ 106 h 106"/>
                <a:gd name="T4" fmla="*/ 26 w 65"/>
                <a:gd name="T5" fmla="*/ 100 h 106"/>
                <a:gd name="T6" fmla="*/ 65 w 65"/>
                <a:gd name="T7" fmla="*/ 0 h 106"/>
              </a:gdLst>
              <a:ahLst/>
              <a:cxnLst>
                <a:cxn ang="0">
                  <a:pos x="T0" y="T1"/>
                </a:cxn>
                <a:cxn ang="0">
                  <a:pos x="T2" y="T3"/>
                </a:cxn>
                <a:cxn ang="0">
                  <a:pos x="T4" y="T5"/>
                </a:cxn>
                <a:cxn ang="0">
                  <a:pos x="T6" y="T7"/>
                </a:cxn>
              </a:cxnLst>
              <a:rect l="0" t="0" r="r" b="b"/>
              <a:pathLst>
                <a:path w="65" h="106">
                  <a:moveTo>
                    <a:pt x="65" y="0"/>
                  </a:moveTo>
                  <a:lnTo>
                    <a:pt x="0" y="106"/>
                  </a:lnTo>
                  <a:lnTo>
                    <a:pt x="26" y="100"/>
                  </a:lnTo>
                  <a:lnTo>
                    <a:pt x="65" y="0"/>
                  </a:lnTo>
                  <a:close/>
                </a:path>
              </a:pathLst>
            </a:custGeom>
            <a:solidFill>
              <a:srgbClr val="1F54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1" name="iṩļîďè">
              <a:extLst>
                <a:ext uri="{FF2B5EF4-FFF2-40B4-BE49-F238E27FC236}">
                  <a16:creationId xmlns:a16="http://schemas.microsoft.com/office/drawing/2014/main" id="{04733CFA-D70C-41FB-9B06-E7A343C8A533}"/>
                </a:ext>
              </a:extLst>
            </p:cNvPr>
            <p:cNvSpPr/>
            <p:nvPr/>
          </p:nvSpPr>
          <p:spPr bwMode="auto">
            <a:xfrm>
              <a:off x="7131582" y="3736451"/>
              <a:ext cx="97485" cy="158974"/>
            </a:xfrm>
            <a:custGeom>
              <a:avLst/>
              <a:gdLst>
                <a:gd name="T0" fmla="*/ 65 w 65"/>
                <a:gd name="T1" fmla="*/ 0 h 106"/>
                <a:gd name="T2" fmla="*/ 0 w 65"/>
                <a:gd name="T3" fmla="*/ 106 h 106"/>
                <a:gd name="T4" fmla="*/ 26 w 65"/>
                <a:gd name="T5" fmla="*/ 100 h 106"/>
                <a:gd name="T6" fmla="*/ 65 w 65"/>
                <a:gd name="T7" fmla="*/ 0 h 106"/>
              </a:gdLst>
              <a:ahLst/>
              <a:cxnLst>
                <a:cxn ang="0">
                  <a:pos x="T0" y="T1"/>
                </a:cxn>
                <a:cxn ang="0">
                  <a:pos x="T2" y="T3"/>
                </a:cxn>
                <a:cxn ang="0">
                  <a:pos x="T4" y="T5"/>
                </a:cxn>
                <a:cxn ang="0">
                  <a:pos x="T6" y="T7"/>
                </a:cxn>
              </a:cxnLst>
              <a:rect l="0" t="0" r="r" b="b"/>
              <a:pathLst>
                <a:path w="65" h="106">
                  <a:moveTo>
                    <a:pt x="65" y="0"/>
                  </a:moveTo>
                  <a:lnTo>
                    <a:pt x="0" y="106"/>
                  </a:lnTo>
                  <a:lnTo>
                    <a:pt x="26" y="100"/>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2" name="íṩliḑé">
              <a:extLst>
                <a:ext uri="{FF2B5EF4-FFF2-40B4-BE49-F238E27FC236}">
                  <a16:creationId xmlns:a16="http://schemas.microsoft.com/office/drawing/2014/main" id="{E54B9B12-3D85-4A94-96E2-2F8BFCADBF13}"/>
                </a:ext>
              </a:extLst>
            </p:cNvPr>
            <p:cNvSpPr/>
            <p:nvPr/>
          </p:nvSpPr>
          <p:spPr bwMode="auto">
            <a:xfrm>
              <a:off x="7466028" y="4079895"/>
              <a:ext cx="4500" cy="52492"/>
            </a:xfrm>
            <a:custGeom>
              <a:avLst/>
              <a:gdLst>
                <a:gd name="T0" fmla="*/ 1 w 1"/>
                <a:gd name="T1" fmla="*/ 0 h 11"/>
                <a:gd name="T2" fmla="*/ 0 w 1"/>
                <a:gd name="T3" fmla="*/ 10 h 11"/>
                <a:gd name="T4" fmla="*/ 1 w 1"/>
                <a:gd name="T5" fmla="*/ 11 h 11"/>
                <a:gd name="T6" fmla="*/ 1 w 1"/>
                <a:gd name="T7" fmla="*/ 0 h 11"/>
              </a:gdLst>
              <a:ahLst/>
              <a:cxnLst>
                <a:cxn ang="0">
                  <a:pos x="T0" y="T1"/>
                </a:cxn>
                <a:cxn ang="0">
                  <a:pos x="T2" y="T3"/>
                </a:cxn>
                <a:cxn ang="0">
                  <a:pos x="T4" y="T5"/>
                </a:cxn>
                <a:cxn ang="0">
                  <a:pos x="T6" y="T7"/>
                </a:cxn>
              </a:cxnLst>
              <a:rect l="0" t="0" r="r" b="b"/>
              <a:pathLst>
                <a:path w="1" h="11">
                  <a:moveTo>
                    <a:pt x="1" y="0"/>
                  </a:moveTo>
                  <a:cubicBezTo>
                    <a:pt x="1" y="4"/>
                    <a:pt x="1" y="7"/>
                    <a:pt x="0" y="10"/>
                  </a:cubicBezTo>
                  <a:cubicBezTo>
                    <a:pt x="1" y="11"/>
                    <a:pt x="1" y="11"/>
                    <a:pt x="1" y="11"/>
                  </a:cubicBezTo>
                  <a:cubicBezTo>
                    <a:pt x="1" y="0"/>
                    <a:pt x="1" y="0"/>
                    <a:pt x="1" y="0"/>
                  </a:cubicBezTo>
                </a:path>
              </a:pathLst>
            </a:custGeom>
            <a:solidFill>
              <a:srgbClr val="75A1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3" name="îşļïďê">
              <a:extLst>
                <a:ext uri="{FF2B5EF4-FFF2-40B4-BE49-F238E27FC236}">
                  <a16:creationId xmlns:a16="http://schemas.microsoft.com/office/drawing/2014/main" id="{57D1E312-A992-45C6-9255-128B8CB05B7B}"/>
                </a:ext>
              </a:extLst>
            </p:cNvPr>
            <p:cNvSpPr/>
            <p:nvPr/>
          </p:nvSpPr>
          <p:spPr bwMode="auto">
            <a:xfrm>
              <a:off x="7413536" y="3914922"/>
              <a:ext cx="56991" cy="212966"/>
            </a:xfrm>
            <a:custGeom>
              <a:avLst/>
              <a:gdLst>
                <a:gd name="T0" fmla="*/ 0 w 12"/>
                <a:gd name="T1" fmla="*/ 0 h 44"/>
                <a:gd name="T2" fmla="*/ 11 w 12"/>
                <a:gd name="T3" fmla="*/ 44 h 44"/>
                <a:gd name="T4" fmla="*/ 12 w 12"/>
                <a:gd name="T5" fmla="*/ 34 h 44"/>
                <a:gd name="T6" fmla="*/ 11 w 12"/>
                <a:gd name="T7" fmla="*/ 9 h 44"/>
                <a:gd name="T8" fmla="*/ 0 w 12"/>
                <a:gd name="T9" fmla="*/ 0 h 44"/>
              </a:gdLst>
              <a:ahLst/>
              <a:cxnLst>
                <a:cxn ang="0">
                  <a:pos x="T0" y="T1"/>
                </a:cxn>
                <a:cxn ang="0">
                  <a:pos x="T2" y="T3"/>
                </a:cxn>
                <a:cxn ang="0">
                  <a:pos x="T4" y="T5"/>
                </a:cxn>
                <a:cxn ang="0">
                  <a:pos x="T6" y="T7"/>
                </a:cxn>
                <a:cxn ang="0">
                  <a:pos x="T8" y="T9"/>
                </a:cxn>
              </a:cxnLst>
              <a:rect l="0" t="0" r="r" b="b"/>
              <a:pathLst>
                <a:path w="12" h="44">
                  <a:moveTo>
                    <a:pt x="0" y="0"/>
                  </a:moveTo>
                  <a:cubicBezTo>
                    <a:pt x="11" y="44"/>
                    <a:pt x="11" y="44"/>
                    <a:pt x="11" y="44"/>
                  </a:cubicBezTo>
                  <a:cubicBezTo>
                    <a:pt x="12" y="41"/>
                    <a:pt x="12" y="38"/>
                    <a:pt x="12" y="34"/>
                  </a:cubicBezTo>
                  <a:cubicBezTo>
                    <a:pt x="11" y="9"/>
                    <a:pt x="11" y="9"/>
                    <a:pt x="11" y="9"/>
                  </a:cubicBezTo>
                  <a:cubicBezTo>
                    <a:pt x="0" y="0"/>
                    <a:pt x="0" y="0"/>
                    <a:pt x="0" y="0"/>
                  </a:cubicBezTo>
                </a:path>
              </a:pathLst>
            </a:custGeom>
            <a:solidFill>
              <a:srgbClr val="1F54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4" name="íṡ1íḍe">
              <a:extLst>
                <a:ext uri="{FF2B5EF4-FFF2-40B4-BE49-F238E27FC236}">
                  <a16:creationId xmlns:a16="http://schemas.microsoft.com/office/drawing/2014/main" id="{F9F30105-0808-4E15-B2BB-973200313B42}"/>
                </a:ext>
              </a:extLst>
            </p:cNvPr>
            <p:cNvSpPr/>
            <p:nvPr/>
          </p:nvSpPr>
          <p:spPr bwMode="auto">
            <a:xfrm>
              <a:off x="7413536" y="3910423"/>
              <a:ext cx="52492" cy="47992"/>
            </a:xfrm>
            <a:custGeom>
              <a:avLst/>
              <a:gdLst>
                <a:gd name="T0" fmla="*/ 0 w 35"/>
                <a:gd name="T1" fmla="*/ 0 h 32"/>
                <a:gd name="T2" fmla="*/ 0 w 35"/>
                <a:gd name="T3" fmla="*/ 3 h 32"/>
                <a:gd name="T4" fmla="*/ 35 w 35"/>
                <a:gd name="T5" fmla="*/ 32 h 32"/>
                <a:gd name="T6" fmla="*/ 35 w 35"/>
                <a:gd name="T7" fmla="*/ 32 h 32"/>
                <a:gd name="T8" fmla="*/ 0 w 35"/>
                <a:gd name="T9" fmla="*/ 0 h 32"/>
              </a:gdLst>
              <a:ahLst/>
              <a:cxnLst>
                <a:cxn ang="0">
                  <a:pos x="T0" y="T1"/>
                </a:cxn>
                <a:cxn ang="0">
                  <a:pos x="T2" y="T3"/>
                </a:cxn>
                <a:cxn ang="0">
                  <a:pos x="T4" y="T5"/>
                </a:cxn>
                <a:cxn ang="0">
                  <a:pos x="T6" y="T7"/>
                </a:cxn>
                <a:cxn ang="0">
                  <a:pos x="T8" y="T9"/>
                </a:cxn>
              </a:cxnLst>
              <a:rect l="0" t="0" r="r" b="b"/>
              <a:pathLst>
                <a:path w="35" h="32">
                  <a:moveTo>
                    <a:pt x="0" y="0"/>
                  </a:moveTo>
                  <a:lnTo>
                    <a:pt x="0" y="3"/>
                  </a:lnTo>
                  <a:lnTo>
                    <a:pt x="35" y="32"/>
                  </a:lnTo>
                  <a:lnTo>
                    <a:pt x="35" y="32"/>
                  </a:lnTo>
                  <a:lnTo>
                    <a:pt x="0" y="0"/>
                  </a:lnTo>
                  <a:close/>
                </a:path>
              </a:pathLst>
            </a:custGeom>
            <a:solidFill>
              <a:srgbClr val="1F54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5" name="iŝḻíḋê">
              <a:extLst>
                <a:ext uri="{FF2B5EF4-FFF2-40B4-BE49-F238E27FC236}">
                  <a16:creationId xmlns:a16="http://schemas.microsoft.com/office/drawing/2014/main" id="{E6527D30-0CCB-4B54-99CB-199D5754DE8F}"/>
                </a:ext>
              </a:extLst>
            </p:cNvPr>
            <p:cNvSpPr/>
            <p:nvPr/>
          </p:nvSpPr>
          <p:spPr bwMode="auto">
            <a:xfrm>
              <a:off x="7413536" y="3910423"/>
              <a:ext cx="52492" cy="47992"/>
            </a:xfrm>
            <a:custGeom>
              <a:avLst/>
              <a:gdLst>
                <a:gd name="T0" fmla="*/ 0 w 35"/>
                <a:gd name="T1" fmla="*/ 0 h 32"/>
                <a:gd name="T2" fmla="*/ 0 w 35"/>
                <a:gd name="T3" fmla="*/ 3 h 32"/>
                <a:gd name="T4" fmla="*/ 35 w 35"/>
                <a:gd name="T5" fmla="*/ 32 h 32"/>
                <a:gd name="T6" fmla="*/ 35 w 35"/>
                <a:gd name="T7" fmla="*/ 32 h 32"/>
                <a:gd name="T8" fmla="*/ 0 w 35"/>
                <a:gd name="T9" fmla="*/ 0 h 32"/>
              </a:gdLst>
              <a:ahLst/>
              <a:cxnLst>
                <a:cxn ang="0">
                  <a:pos x="T0" y="T1"/>
                </a:cxn>
                <a:cxn ang="0">
                  <a:pos x="T2" y="T3"/>
                </a:cxn>
                <a:cxn ang="0">
                  <a:pos x="T4" y="T5"/>
                </a:cxn>
                <a:cxn ang="0">
                  <a:pos x="T6" y="T7"/>
                </a:cxn>
                <a:cxn ang="0">
                  <a:pos x="T8" y="T9"/>
                </a:cxn>
              </a:cxnLst>
              <a:rect l="0" t="0" r="r" b="b"/>
              <a:pathLst>
                <a:path w="35" h="32">
                  <a:moveTo>
                    <a:pt x="0" y="0"/>
                  </a:moveTo>
                  <a:lnTo>
                    <a:pt x="0" y="3"/>
                  </a:lnTo>
                  <a:lnTo>
                    <a:pt x="35" y="32"/>
                  </a:lnTo>
                  <a:lnTo>
                    <a:pt x="35" y="3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custDataLst>
      <p:tags r:id="rId1"/>
    </p:custDataLst>
    <p:extLst>
      <p:ext uri="{BB962C8B-B14F-4D97-AF65-F5344CB8AC3E}">
        <p14:creationId xmlns:p14="http://schemas.microsoft.com/office/powerpoint/2010/main" val="39819897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5.1</a:t>
            </a:r>
            <a:r>
              <a:rPr lang="zh-CN" altLang="en-US" dirty="0"/>
              <a:t> </a:t>
            </a:r>
            <a:r>
              <a:rPr lang="zh-CN" altLang="en-US" dirty="0">
                <a:latin typeface="+mn-lt"/>
                <a:ea typeface="+mn-ea"/>
                <a:cs typeface="+mn-ea"/>
                <a:sym typeface="+mn-lt"/>
              </a:rPr>
              <a:t>组合函数</a:t>
            </a:r>
            <a:r>
              <a:rPr lang="en-US" altLang="zh-CN" dirty="0">
                <a:latin typeface="+mn-lt"/>
                <a:ea typeface="+mn-ea"/>
                <a:cs typeface="+mn-ea"/>
                <a:sym typeface="+mn-lt"/>
              </a:rPr>
              <a:t> </a:t>
            </a:r>
            <a:r>
              <a:rPr lang="en-US" altLang="zh-CN" baseline="30000" dirty="0">
                <a:latin typeface="+mn-lt"/>
                <a:ea typeface="+mn-ea"/>
                <a:cs typeface="+mn-ea"/>
                <a:sym typeface="+mn-lt"/>
              </a:rPr>
              <a:t>[1]</a:t>
            </a:r>
            <a:endParaRPr lang="zh-CN" altLang="en-US" dirty="0"/>
          </a:p>
        </p:txBody>
      </p:sp>
      <p:sp>
        <p:nvSpPr>
          <p:cNvPr id="3" name="页脚占位符 2"/>
          <p:cNvSpPr>
            <a:spLocks noGrp="1"/>
          </p:cNvSpPr>
          <p:nvPr>
            <p:ph type="ftr" sz="quarter" idx="11"/>
          </p:nvPr>
        </p:nvSpPr>
        <p:spPr/>
        <p:txBody>
          <a:bodyPr/>
          <a:lstStyle/>
          <a:p>
            <a:r>
              <a:rPr lang="zh-CN" altLang="en-US"/>
              <a:t>请在插入菜单</a:t>
            </a:r>
            <a:r>
              <a:rPr lang="en-US" altLang="zh-CN"/>
              <a:t>—</a:t>
            </a:r>
            <a:r>
              <a:rPr lang="zh-CN" altLang="en-US"/>
              <a:t>页眉和</a:t>
            </a:r>
            <a:r>
              <a:rPr lang="zh-CN" altLang="en-US" sz="100"/>
              <a:t> </a:t>
            </a:r>
            <a:r>
              <a:rPr lang="zh-CN" altLang="en-US"/>
              <a:t>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1</a:t>
            </a:fld>
            <a:endParaRPr lang="zh-CN" altLang="en-US"/>
          </a:p>
        </p:txBody>
      </p:sp>
      <p:sp>
        <p:nvSpPr>
          <p:cNvPr id="5" name="文本框 4">
            <a:extLst>
              <a:ext uri="{FF2B5EF4-FFF2-40B4-BE49-F238E27FC236}">
                <a16:creationId xmlns:a16="http://schemas.microsoft.com/office/drawing/2014/main" id="{CA84EC29-497F-4066-9DB4-C0D141956A9E}"/>
              </a:ext>
            </a:extLst>
          </p:cNvPr>
          <p:cNvSpPr txBox="1"/>
          <p:nvPr/>
        </p:nvSpPr>
        <p:spPr>
          <a:xfrm>
            <a:off x="1757773" y="1428263"/>
            <a:ext cx="3255662" cy="728533"/>
          </a:xfrm>
          <a:prstGeom prst="rect">
            <a:avLst/>
          </a:prstGeom>
          <a:noFill/>
        </p:spPr>
        <p:txBody>
          <a:bodyPr wrap="square">
            <a:spAutoFit/>
          </a:bodyPr>
          <a:lstStyle/>
          <a:p>
            <a:pPr>
              <a:lnSpc>
                <a:spcPct val="120000"/>
              </a:lnSpc>
              <a:spcBef>
                <a:spcPts val="0"/>
              </a:spcBef>
            </a:pPr>
            <a:r>
              <a:rPr lang="zh-CN" altLang="en-US" b="1" dirty="0">
                <a:cs typeface="+mn-ea"/>
                <a:sym typeface="+mn-lt"/>
              </a:rPr>
              <a:t>注意：</a:t>
            </a:r>
            <a:r>
              <a:rPr lang="zh-CN" altLang="en-US" dirty="0"/>
              <a:t>组合函数的返回并不是函数结果，而仍然是一个函数</a:t>
            </a:r>
            <a:endParaRPr lang="zh-CN" altLang="en-US" dirty="0">
              <a:cs typeface="+mn-ea"/>
              <a:sym typeface="+mn-lt"/>
            </a:endParaRPr>
          </a:p>
        </p:txBody>
      </p:sp>
      <p:pic>
        <p:nvPicPr>
          <p:cNvPr id="6" name="图形 5" descr="信息">
            <a:extLst>
              <a:ext uri="{FF2B5EF4-FFF2-40B4-BE49-F238E27FC236}">
                <a16:creationId xmlns:a16="http://schemas.microsoft.com/office/drawing/2014/main" id="{34F7BC05-6286-4D11-A27D-CB26729833D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9240" y="1428262"/>
            <a:ext cx="728533" cy="728533"/>
          </a:xfrm>
          <a:prstGeom prst="rect">
            <a:avLst/>
          </a:prstGeom>
        </p:spPr>
      </p:pic>
      <p:graphicFrame>
        <p:nvGraphicFramePr>
          <p:cNvPr id="7" name="表格 5">
            <a:extLst>
              <a:ext uri="{FF2B5EF4-FFF2-40B4-BE49-F238E27FC236}">
                <a16:creationId xmlns:a16="http://schemas.microsoft.com/office/drawing/2014/main" id="{79082CAE-3278-4A55-B212-1DF888CDE685}"/>
              </a:ext>
            </a:extLst>
          </p:cNvPr>
          <p:cNvGraphicFramePr>
            <a:graphicFrameLocks noGrp="1"/>
          </p:cNvGraphicFramePr>
          <p:nvPr>
            <p:extLst>
              <p:ext uri="{D42A27DB-BD31-4B8C-83A1-F6EECF244321}">
                <p14:modId xmlns:p14="http://schemas.microsoft.com/office/powerpoint/2010/main" val="491445675"/>
              </p:ext>
            </p:extLst>
          </p:nvPr>
        </p:nvGraphicFramePr>
        <p:xfrm>
          <a:off x="2031205" y="2556359"/>
          <a:ext cx="8127999" cy="2681097"/>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1481192143"/>
                    </a:ext>
                  </a:extLst>
                </a:gridCol>
                <a:gridCol w="2961325">
                  <a:extLst>
                    <a:ext uri="{9D8B030D-6E8A-4147-A177-3AD203B41FA5}">
                      <a16:colId xmlns:a16="http://schemas.microsoft.com/office/drawing/2014/main" val="243235861"/>
                    </a:ext>
                  </a:extLst>
                </a:gridCol>
                <a:gridCol w="2457341">
                  <a:extLst>
                    <a:ext uri="{9D8B030D-6E8A-4147-A177-3AD203B41FA5}">
                      <a16:colId xmlns:a16="http://schemas.microsoft.com/office/drawing/2014/main" val="4115441513"/>
                    </a:ext>
                  </a:extLst>
                </a:gridCol>
              </a:tblGrid>
              <a:tr h="370840">
                <a:tc>
                  <a:txBody>
                    <a:bodyPr/>
                    <a:lstStyle/>
                    <a:p>
                      <a:pPr>
                        <a:lnSpc>
                          <a:spcPct val="120000"/>
                        </a:lnSpc>
                        <a:spcBef>
                          <a:spcPts val="0"/>
                        </a:spcBef>
                        <a:spcAft>
                          <a:spcPts val="0"/>
                        </a:spcAft>
                      </a:pPr>
                      <a:r>
                        <a:rPr lang="zh-CN" altLang="en-US" dirty="0">
                          <a:latin typeface="+mn-lt"/>
                          <a:ea typeface="+mn-ea"/>
                          <a:cs typeface="+mn-ea"/>
                          <a:sym typeface="+mn-lt"/>
                        </a:rPr>
                        <a:t>方法</a:t>
                      </a:r>
                    </a:p>
                  </a:txBody>
                  <a:tcPr/>
                </a:tc>
                <a:tc>
                  <a:txBody>
                    <a:bodyPr/>
                    <a:lstStyle/>
                    <a:p>
                      <a:pPr>
                        <a:lnSpc>
                          <a:spcPct val="120000"/>
                        </a:lnSpc>
                        <a:spcBef>
                          <a:spcPts val="0"/>
                        </a:spcBef>
                        <a:spcAft>
                          <a:spcPts val="0"/>
                        </a:spcAft>
                      </a:pPr>
                      <a:r>
                        <a:rPr lang="zh-CN" altLang="en-US" dirty="0">
                          <a:latin typeface="+mn-lt"/>
                          <a:ea typeface="+mn-ea"/>
                          <a:cs typeface="+mn-ea"/>
                          <a:sym typeface="+mn-lt"/>
                        </a:rPr>
                        <a:t>含义</a:t>
                      </a:r>
                    </a:p>
                  </a:txBody>
                  <a:tcPr/>
                </a:tc>
                <a:tc>
                  <a:txBody>
                    <a:bodyPr/>
                    <a:lstStyle/>
                    <a:p>
                      <a:pPr>
                        <a:lnSpc>
                          <a:spcPct val="120000"/>
                        </a:lnSpc>
                        <a:spcBef>
                          <a:spcPts val="0"/>
                        </a:spcBef>
                        <a:spcAft>
                          <a:spcPts val="0"/>
                        </a:spcAft>
                      </a:pPr>
                      <a:r>
                        <a:rPr lang="zh-CN" altLang="en-US" dirty="0">
                          <a:latin typeface="+mn-lt"/>
                          <a:ea typeface="+mn-ea"/>
                          <a:cs typeface="+mn-ea"/>
                          <a:sym typeface="+mn-lt"/>
                        </a:rPr>
                        <a:t>支持的函数</a:t>
                      </a:r>
                    </a:p>
                  </a:txBody>
                  <a:tcPr/>
                </a:tc>
                <a:extLst>
                  <a:ext uri="{0D108BD9-81ED-4DB2-BD59-A6C34878D82A}">
                    <a16:rowId xmlns:a16="http://schemas.microsoft.com/office/drawing/2014/main" val="818114721"/>
                  </a:ext>
                </a:extLst>
              </a:tr>
              <a:tr h="370840">
                <a:tc>
                  <a:txBody>
                    <a:bodyPr/>
                    <a:lstStyle/>
                    <a:p>
                      <a:pPr>
                        <a:lnSpc>
                          <a:spcPct val="120000"/>
                        </a:lnSpc>
                        <a:spcBef>
                          <a:spcPts val="0"/>
                        </a:spcBef>
                        <a:spcAft>
                          <a:spcPts val="0"/>
                        </a:spcAft>
                      </a:pPr>
                      <a:r>
                        <a:rPr lang="en-US" altLang="zh-CN" dirty="0" err="1">
                          <a:latin typeface="+mn-lt"/>
                          <a:ea typeface="+mn-ea"/>
                          <a:cs typeface="+mn-ea"/>
                          <a:sym typeface="+mn-lt"/>
                        </a:rPr>
                        <a:t>andThen</a:t>
                      </a:r>
                      <a:r>
                        <a:rPr lang="en-US" altLang="zh-CN" dirty="0">
                          <a:latin typeface="+mn-lt"/>
                          <a:ea typeface="+mn-ea"/>
                          <a:cs typeface="+mn-ea"/>
                          <a:sym typeface="+mn-lt"/>
                        </a:rPr>
                        <a:t>(argument)</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先执行自身再执行传入函数</a:t>
                      </a:r>
                    </a:p>
                  </a:txBody>
                  <a:tcPr/>
                </a:tc>
                <a:tc>
                  <a:txBody>
                    <a:bodyPr/>
                    <a:lstStyle/>
                    <a:p>
                      <a:pPr>
                        <a:lnSpc>
                          <a:spcPct val="120000"/>
                        </a:lnSpc>
                        <a:spcBef>
                          <a:spcPts val="0"/>
                        </a:spcBef>
                        <a:spcAft>
                          <a:spcPts val="0"/>
                        </a:spcAft>
                      </a:pPr>
                      <a:r>
                        <a:rPr lang="en-US" altLang="zh-CN" dirty="0">
                          <a:latin typeface="+mn-lt"/>
                          <a:ea typeface="+mn-ea"/>
                          <a:cs typeface="+mn-ea"/>
                          <a:sym typeface="+mn-lt"/>
                        </a:rPr>
                        <a:t>Function</a:t>
                      </a:r>
                      <a:r>
                        <a:rPr lang="zh-CN" altLang="en-US" dirty="0">
                          <a:latin typeface="+mn-lt"/>
                          <a:ea typeface="+mn-ea"/>
                          <a:cs typeface="+mn-ea"/>
                          <a:sym typeface="+mn-lt"/>
                        </a:rPr>
                        <a:t>、</a:t>
                      </a:r>
                      <a:r>
                        <a:rPr lang="en-US" altLang="zh-CN" dirty="0">
                          <a:latin typeface="+mn-lt"/>
                          <a:ea typeface="+mn-ea"/>
                          <a:cs typeface="+mn-ea"/>
                          <a:sym typeface="+mn-lt"/>
                        </a:rPr>
                        <a:t>Consumer</a:t>
                      </a:r>
                      <a:r>
                        <a:rPr lang="zh-CN" altLang="en-US" dirty="0">
                          <a:latin typeface="+mn-lt"/>
                          <a:ea typeface="+mn-ea"/>
                          <a:cs typeface="+mn-ea"/>
                          <a:sym typeface="+mn-lt"/>
                        </a:rPr>
                        <a:t>、</a:t>
                      </a:r>
                      <a:r>
                        <a:rPr lang="en-US" altLang="zh-CN" dirty="0" err="1">
                          <a:latin typeface="+mn-lt"/>
                          <a:ea typeface="+mn-ea"/>
                          <a:cs typeface="+mn-ea"/>
                          <a:sym typeface="+mn-lt"/>
                        </a:rPr>
                        <a:t>BiConsumer</a:t>
                      </a:r>
                      <a:endParaRPr lang="zh-CN" altLang="en-US" dirty="0">
                        <a:latin typeface="+mn-lt"/>
                        <a:ea typeface="+mn-ea"/>
                        <a:cs typeface="+mn-ea"/>
                        <a:sym typeface="+mn-lt"/>
                      </a:endParaRPr>
                    </a:p>
                  </a:txBody>
                  <a:tcPr/>
                </a:tc>
                <a:extLst>
                  <a:ext uri="{0D108BD9-81ED-4DB2-BD59-A6C34878D82A}">
                    <a16:rowId xmlns:a16="http://schemas.microsoft.com/office/drawing/2014/main" val="1433224924"/>
                  </a:ext>
                </a:extLst>
              </a:tr>
              <a:tr h="370840">
                <a:tc>
                  <a:txBody>
                    <a:bodyPr/>
                    <a:lstStyle/>
                    <a:p>
                      <a:pPr>
                        <a:lnSpc>
                          <a:spcPct val="120000"/>
                        </a:lnSpc>
                        <a:spcBef>
                          <a:spcPts val="0"/>
                        </a:spcBef>
                        <a:spcAft>
                          <a:spcPts val="0"/>
                        </a:spcAft>
                      </a:pPr>
                      <a:r>
                        <a:rPr lang="en-US" altLang="zh-CN" dirty="0">
                          <a:latin typeface="+mn-lt"/>
                          <a:ea typeface="+mn-ea"/>
                          <a:cs typeface="+mn-ea"/>
                          <a:sym typeface="+mn-lt"/>
                        </a:rPr>
                        <a:t>compose(argument)</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先执行传入函数再执行自身</a:t>
                      </a:r>
                    </a:p>
                  </a:txBody>
                  <a:tcPr/>
                </a:tc>
                <a:tc>
                  <a:txBody>
                    <a:bodyPr/>
                    <a:lstStyle/>
                    <a:p>
                      <a:pPr>
                        <a:lnSpc>
                          <a:spcPct val="120000"/>
                        </a:lnSpc>
                        <a:spcBef>
                          <a:spcPts val="0"/>
                        </a:spcBef>
                        <a:spcAft>
                          <a:spcPts val="0"/>
                        </a:spcAft>
                      </a:pPr>
                      <a:r>
                        <a:rPr lang="en-US" altLang="zh-CN" dirty="0">
                          <a:latin typeface="+mn-lt"/>
                          <a:ea typeface="+mn-ea"/>
                          <a:cs typeface="+mn-ea"/>
                          <a:sym typeface="+mn-lt"/>
                        </a:rPr>
                        <a:t>Function</a:t>
                      </a:r>
                      <a:endParaRPr lang="zh-CN" altLang="en-US" dirty="0">
                        <a:latin typeface="+mn-lt"/>
                        <a:ea typeface="+mn-ea"/>
                        <a:cs typeface="+mn-ea"/>
                        <a:sym typeface="+mn-lt"/>
                      </a:endParaRPr>
                    </a:p>
                  </a:txBody>
                  <a:tcPr/>
                </a:tc>
                <a:extLst>
                  <a:ext uri="{0D108BD9-81ED-4DB2-BD59-A6C34878D82A}">
                    <a16:rowId xmlns:a16="http://schemas.microsoft.com/office/drawing/2014/main" val="2512604326"/>
                  </a:ext>
                </a:extLst>
              </a:tr>
              <a:tr h="370840">
                <a:tc>
                  <a:txBody>
                    <a:bodyPr/>
                    <a:lstStyle/>
                    <a:p>
                      <a:pPr>
                        <a:lnSpc>
                          <a:spcPct val="120000"/>
                        </a:lnSpc>
                        <a:spcBef>
                          <a:spcPts val="0"/>
                        </a:spcBef>
                        <a:spcAft>
                          <a:spcPts val="0"/>
                        </a:spcAft>
                      </a:pPr>
                      <a:r>
                        <a:rPr lang="en-US" altLang="zh-CN" dirty="0">
                          <a:latin typeface="+mn-lt"/>
                          <a:ea typeface="+mn-ea"/>
                          <a:cs typeface="+mn-ea"/>
                          <a:sym typeface="+mn-lt"/>
                        </a:rPr>
                        <a:t>and(argument)</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自身和传入函数</a:t>
                      </a:r>
                      <a:r>
                        <a:rPr lang="zh-CN" altLang="en-US" sz="1800" b="1" i="0" kern="1200" dirty="0">
                          <a:solidFill>
                            <a:schemeClr val="dk1"/>
                          </a:solidFill>
                          <a:effectLst/>
                          <a:latin typeface="+mn-lt"/>
                          <a:ea typeface="+mn-ea"/>
                          <a:cs typeface="+mn-ea"/>
                          <a:sym typeface="+mn-lt"/>
                        </a:rPr>
                        <a:t>逻辑与</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en-US" altLang="zh-CN" dirty="0">
                          <a:latin typeface="+mn-lt"/>
                          <a:ea typeface="+mn-ea"/>
                          <a:cs typeface="+mn-ea"/>
                          <a:sym typeface="+mn-lt"/>
                        </a:rPr>
                        <a:t>Predicate</a:t>
                      </a:r>
                      <a:endParaRPr lang="zh-CN" altLang="en-US" dirty="0">
                        <a:latin typeface="+mn-lt"/>
                        <a:ea typeface="+mn-ea"/>
                        <a:cs typeface="+mn-ea"/>
                        <a:sym typeface="+mn-lt"/>
                      </a:endParaRPr>
                    </a:p>
                  </a:txBody>
                  <a:tcPr/>
                </a:tc>
                <a:extLst>
                  <a:ext uri="{0D108BD9-81ED-4DB2-BD59-A6C34878D82A}">
                    <a16:rowId xmlns:a16="http://schemas.microsoft.com/office/drawing/2014/main" val="1977284880"/>
                  </a:ext>
                </a:extLst>
              </a:tr>
              <a:tr h="370840">
                <a:tc>
                  <a:txBody>
                    <a:bodyPr/>
                    <a:lstStyle/>
                    <a:p>
                      <a:pPr>
                        <a:lnSpc>
                          <a:spcPct val="120000"/>
                        </a:lnSpc>
                        <a:spcBef>
                          <a:spcPts val="0"/>
                        </a:spcBef>
                        <a:spcAft>
                          <a:spcPts val="0"/>
                        </a:spcAft>
                      </a:pPr>
                      <a:r>
                        <a:rPr lang="en-US" altLang="zh-CN" dirty="0">
                          <a:latin typeface="+mn-lt"/>
                          <a:ea typeface="+mn-ea"/>
                          <a:cs typeface="+mn-ea"/>
                          <a:sym typeface="+mn-lt"/>
                        </a:rPr>
                        <a:t>or(argument)</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自身和传入函数</a:t>
                      </a:r>
                      <a:r>
                        <a:rPr lang="zh-CN" altLang="en-US" sz="1800" b="1" i="0" kern="1200" dirty="0">
                          <a:solidFill>
                            <a:schemeClr val="dk1"/>
                          </a:solidFill>
                          <a:effectLst/>
                          <a:latin typeface="+mn-lt"/>
                          <a:ea typeface="+mn-ea"/>
                          <a:cs typeface="+mn-ea"/>
                          <a:sym typeface="+mn-lt"/>
                        </a:rPr>
                        <a:t>逻辑或</a:t>
                      </a:r>
                      <a:endParaRPr lang="zh-CN" altLang="en-US" dirty="0">
                        <a:latin typeface="+mn-lt"/>
                        <a:ea typeface="+mn-ea"/>
                        <a:cs typeface="+mn-ea"/>
                        <a:sym typeface="+mn-lt"/>
                      </a:endParaRPr>
                    </a:p>
                  </a:txBody>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altLang="zh-CN" dirty="0">
                          <a:latin typeface="+mn-lt"/>
                          <a:ea typeface="+mn-ea"/>
                          <a:cs typeface="+mn-ea"/>
                          <a:sym typeface="+mn-lt"/>
                        </a:rPr>
                        <a:t>Predicate</a:t>
                      </a:r>
                      <a:endParaRPr lang="zh-CN" altLang="en-US" dirty="0">
                        <a:latin typeface="+mn-lt"/>
                        <a:ea typeface="+mn-ea"/>
                        <a:cs typeface="+mn-ea"/>
                        <a:sym typeface="+mn-lt"/>
                      </a:endParaRPr>
                    </a:p>
                  </a:txBody>
                  <a:tcPr/>
                </a:tc>
                <a:extLst>
                  <a:ext uri="{0D108BD9-81ED-4DB2-BD59-A6C34878D82A}">
                    <a16:rowId xmlns:a16="http://schemas.microsoft.com/office/drawing/2014/main" val="896058146"/>
                  </a:ext>
                </a:extLst>
              </a:tr>
              <a:tr h="370840">
                <a:tc>
                  <a:txBody>
                    <a:bodyPr/>
                    <a:lstStyle/>
                    <a:p>
                      <a:pPr>
                        <a:lnSpc>
                          <a:spcPct val="120000"/>
                        </a:lnSpc>
                        <a:spcBef>
                          <a:spcPts val="0"/>
                        </a:spcBef>
                        <a:spcAft>
                          <a:spcPts val="0"/>
                        </a:spcAft>
                      </a:pPr>
                      <a:r>
                        <a:rPr lang="en-US" altLang="zh-CN" dirty="0">
                          <a:latin typeface="+mn-lt"/>
                          <a:ea typeface="+mn-ea"/>
                          <a:cs typeface="+mn-ea"/>
                          <a:sym typeface="+mn-lt"/>
                        </a:rPr>
                        <a:t>negate()</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自身</a:t>
                      </a:r>
                      <a:r>
                        <a:rPr lang="zh-CN" altLang="en-US" sz="1800" b="1" i="0" kern="1200" dirty="0">
                          <a:solidFill>
                            <a:schemeClr val="dk1"/>
                          </a:solidFill>
                          <a:effectLst/>
                          <a:latin typeface="+mn-lt"/>
                          <a:ea typeface="+mn-ea"/>
                          <a:cs typeface="+mn-ea"/>
                          <a:sym typeface="+mn-lt"/>
                        </a:rPr>
                        <a:t>逻辑非</a:t>
                      </a:r>
                      <a:endParaRPr lang="zh-CN" altLang="en-US" dirty="0">
                        <a:latin typeface="+mn-lt"/>
                        <a:ea typeface="+mn-ea"/>
                        <a:cs typeface="+mn-ea"/>
                        <a:sym typeface="+mn-lt"/>
                      </a:endParaRPr>
                    </a:p>
                  </a:txBody>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altLang="zh-CN" dirty="0">
                          <a:latin typeface="+mn-lt"/>
                          <a:ea typeface="+mn-ea"/>
                          <a:cs typeface="+mn-ea"/>
                          <a:sym typeface="+mn-lt"/>
                        </a:rPr>
                        <a:t>Predicate</a:t>
                      </a:r>
                      <a:endParaRPr lang="zh-CN" altLang="en-US" dirty="0">
                        <a:latin typeface="+mn-lt"/>
                        <a:ea typeface="+mn-ea"/>
                        <a:cs typeface="+mn-ea"/>
                        <a:sym typeface="+mn-lt"/>
                      </a:endParaRPr>
                    </a:p>
                  </a:txBody>
                  <a:tcPr/>
                </a:tc>
                <a:extLst>
                  <a:ext uri="{0D108BD9-81ED-4DB2-BD59-A6C34878D82A}">
                    <a16:rowId xmlns:a16="http://schemas.microsoft.com/office/drawing/2014/main" val="3720126944"/>
                  </a:ext>
                </a:extLst>
              </a:tr>
            </a:tbl>
          </a:graphicData>
        </a:graphic>
      </p:graphicFrame>
    </p:spTree>
    <p:custDataLst>
      <p:tags r:id="rId1"/>
    </p:custDataLst>
    <p:extLst>
      <p:ext uri="{BB962C8B-B14F-4D97-AF65-F5344CB8AC3E}">
        <p14:creationId xmlns:p14="http://schemas.microsoft.com/office/powerpoint/2010/main" val="31041351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占位符 5"/>
          <p:cNvSpPr>
            <a:spLocks noGrp="1"/>
          </p:cNvSpPr>
          <p:nvPr>
            <p:ph type="body" idx="1"/>
          </p:nvPr>
        </p:nvSpPr>
        <p:spPr>
          <a:xfrm>
            <a:off x="3027861" y="4098389"/>
            <a:ext cx="4275956" cy="383157"/>
          </a:xfrm>
        </p:spPr>
        <p:txBody>
          <a:bodyPr/>
          <a:lstStyle/>
          <a:p>
            <a:pPr lvl="0"/>
            <a:r>
              <a:rPr lang="zh-CN" altLang="en-US" dirty="0"/>
              <a:t>函数式编程的主角登场了</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639609" y="320928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6</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8" name="标题 4">
            <a:extLst>
              <a:ext uri="{FF2B5EF4-FFF2-40B4-BE49-F238E27FC236}">
                <a16:creationId xmlns:a16="http://schemas.microsoft.com/office/drawing/2014/main" id="{F1988474-3AE4-49A9-B724-736A68D399A9}"/>
              </a:ext>
            </a:extLst>
          </p:cNvPr>
          <p:cNvSpPr>
            <a:spLocks noGrp="1"/>
          </p:cNvSpPr>
          <p:nvPr>
            <p:ph type="title"/>
          </p:nvPr>
        </p:nvSpPr>
        <p:spPr>
          <a:xfrm>
            <a:off x="3106687" y="3203039"/>
            <a:ext cx="3546362" cy="895350"/>
          </a:xfrm>
        </p:spPr>
        <p:txBody>
          <a:bodyPr>
            <a:normAutofit/>
          </a:bodyPr>
          <a:lstStyle/>
          <a:p>
            <a:r>
              <a:rPr lang="zh-CN" altLang="en-US" sz="3600" dirty="0"/>
              <a:t>流</a:t>
            </a:r>
          </a:p>
        </p:txBody>
      </p:sp>
    </p:spTree>
    <p:custDataLst>
      <p:tags r:id="rId1"/>
    </p:custDataLst>
    <p:extLst>
      <p:ext uri="{BB962C8B-B14F-4D97-AF65-F5344CB8AC3E}">
        <p14:creationId xmlns:p14="http://schemas.microsoft.com/office/powerpoint/2010/main" val="3341870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ea typeface="+mn-ea"/>
                <a:cs typeface="+mn-ea"/>
                <a:sym typeface="+mn-lt"/>
              </a:rPr>
              <a:t>6.1 Java</a:t>
            </a:r>
            <a:r>
              <a:rPr lang="zh-CN" altLang="en-US" dirty="0">
                <a:latin typeface="+mn-lt"/>
                <a:ea typeface="+mn-ea"/>
                <a:cs typeface="+mn-ea"/>
                <a:sym typeface="+mn-lt"/>
              </a:rPr>
              <a:t>集合类框架</a:t>
            </a:r>
            <a:endParaRPr lang="zh-CN" altLang="en-US" dirty="0"/>
          </a:p>
        </p:txBody>
      </p:sp>
      <p:sp>
        <p:nvSpPr>
          <p:cNvPr id="3" name="页脚占位符 2"/>
          <p:cNvSpPr>
            <a:spLocks noGrp="1"/>
          </p:cNvSpPr>
          <p:nvPr>
            <p:ph type="ftr" sz="quarter" idx="11"/>
          </p:nvPr>
        </p:nvSpPr>
        <p:spPr/>
        <p:txBody>
          <a:bodyPr/>
          <a:lstStyle/>
          <a:p>
            <a:r>
              <a:rPr lang="zh-CN" altLang="en-US"/>
              <a:t>请在插入菜单</a:t>
            </a:r>
            <a:r>
              <a:rPr lang="en-US" altLang="zh-CN"/>
              <a:t>—</a:t>
            </a:r>
            <a:r>
              <a:rPr lang="zh-CN" altLang="en-US"/>
              <a:t>页眉和</a:t>
            </a:r>
            <a:r>
              <a:rPr lang="zh-CN" altLang="en-US" sz="100"/>
              <a:t> </a:t>
            </a:r>
            <a:r>
              <a:rPr lang="zh-CN" altLang="en-US"/>
              <a:t>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23</a:t>
            </a:fld>
            <a:endParaRPr lang="zh-CN" altLang="en-US"/>
          </a:p>
        </p:txBody>
      </p:sp>
      <p:pic>
        <p:nvPicPr>
          <p:cNvPr id="185" name="内容占位符 3">
            <a:extLst>
              <a:ext uri="{FF2B5EF4-FFF2-40B4-BE49-F238E27FC236}">
                <a16:creationId xmlns:a16="http://schemas.microsoft.com/office/drawing/2014/main" id="{90E7B578-7F8D-4B11-A1CE-FDA32E8F5D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7405" y="1638884"/>
            <a:ext cx="10515600" cy="4346448"/>
          </a:xfrm>
          <a:prstGeom prst="rect">
            <a:avLst/>
          </a:prstGeom>
        </p:spPr>
      </p:pic>
    </p:spTree>
    <p:custDataLst>
      <p:tags r:id="rId1"/>
    </p:custDataLst>
    <p:extLst>
      <p:ext uri="{BB962C8B-B14F-4D97-AF65-F5344CB8AC3E}">
        <p14:creationId xmlns:p14="http://schemas.microsoft.com/office/powerpoint/2010/main" val="12528191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2055026-27BB-453F-AD7F-FB2C5C0B13EB}"/>
              </a:ext>
            </a:extLst>
          </p:cNvPr>
          <p:cNvSpPr>
            <a:spLocks noGrp="1"/>
          </p:cNvSpPr>
          <p:nvPr>
            <p:ph type="title"/>
          </p:nvPr>
        </p:nvSpPr>
        <p:spPr/>
        <p:txBody>
          <a:bodyPr/>
          <a:lstStyle/>
          <a:p>
            <a:r>
              <a:rPr lang="zh-CN" altLang="en-US" dirty="0"/>
              <a:t>流的利弊</a:t>
            </a:r>
          </a:p>
        </p:txBody>
      </p:sp>
      <p:sp>
        <p:nvSpPr>
          <p:cNvPr id="3" name="页脚占位符 2">
            <a:extLst>
              <a:ext uri="{FF2B5EF4-FFF2-40B4-BE49-F238E27FC236}">
                <a16:creationId xmlns:a16="http://schemas.microsoft.com/office/drawing/2014/main" id="{123A7D44-5E1E-42EA-A017-D126003480D8}"/>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734D8CF7-5F63-4067-A197-6A01E71F1E57}"/>
              </a:ext>
            </a:extLst>
          </p:cNvPr>
          <p:cNvSpPr>
            <a:spLocks noGrp="1"/>
          </p:cNvSpPr>
          <p:nvPr>
            <p:ph type="sldNum" sz="quarter" idx="12"/>
          </p:nvPr>
        </p:nvSpPr>
        <p:spPr/>
        <p:txBody>
          <a:bodyPr/>
          <a:lstStyle/>
          <a:p>
            <a:fld id="{5DD3DB80-B894-403A-B48E-6FDC1A72010E}" type="slidenum">
              <a:rPr lang="zh-CN" altLang="en-US" smtClean="0"/>
              <a:pPr/>
              <a:t>24</a:t>
            </a:fld>
            <a:endParaRPr lang="zh-CN" altLang="en-US"/>
          </a:p>
        </p:txBody>
      </p:sp>
      <p:grpSp>
        <p:nvGrpSpPr>
          <p:cNvPr id="8" name="íṣlîḑè">
            <a:extLst>
              <a:ext uri="{FF2B5EF4-FFF2-40B4-BE49-F238E27FC236}">
                <a16:creationId xmlns:a16="http://schemas.microsoft.com/office/drawing/2014/main" id="{EE3CDD0A-1BCD-4C92-BBD3-2D75EF7D61B2}"/>
              </a:ext>
            </a:extLst>
          </p:cNvPr>
          <p:cNvGrpSpPr/>
          <p:nvPr/>
        </p:nvGrpSpPr>
        <p:grpSpPr>
          <a:xfrm>
            <a:off x="671514" y="1130300"/>
            <a:ext cx="2882900" cy="4287593"/>
            <a:chOff x="669926" y="1431954"/>
            <a:chExt cx="2882900" cy="4287593"/>
          </a:xfrm>
        </p:grpSpPr>
        <p:sp>
          <p:nvSpPr>
            <p:cNvPr id="22" name="íṧḻïḍé">
              <a:extLst>
                <a:ext uri="{FF2B5EF4-FFF2-40B4-BE49-F238E27FC236}">
                  <a16:creationId xmlns:a16="http://schemas.microsoft.com/office/drawing/2014/main" id="{D0C64FFA-94ED-4B12-8CF5-F695C930F56D}"/>
                </a:ext>
              </a:extLst>
            </p:cNvPr>
            <p:cNvSpPr/>
            <p:nvPr/>
          </p:nvSpPr>
          <p:spPr bwMode="auto">
            <a:xfrm>
              <a:off x="673100" y="2278307"/>
              <a:ext cx="2861327" cy="88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t</a:t>
              </a:r>
              <a:r>
                <a:rPr lang="en-US" altLang="zh-CN" sz="100" dirty="0"/>
                <a:t> </a:t>
              </a:r>
              <a:r>
                <a:rPr lang="en-US" altLang="zh-CN" sz="1100" dirty="0"/>
                <a:t>he</a:t>
              </a:r>
              <a:r>
                <a:rPr lang="en-US" altLang="zh-CN" sz="100" dirty="0"/>
                <a:t> </a:t>
              </a:r>
              <a:r>
                <a:rPr lang="en-US" altLang="zh-CN" sz="1100" dirty="0"/>
                <a:t> only option to retain text.</a:t>
              </a:r>
            </a:p>
            <a:p>
              <a:pPr marL="171450" indent="-171450">
                <a:lnSpc>
                  <a:spcPct val="150000"/>
                </a:lnSpc>
                <a:buFont typeface="Arial" panose="020B0604020202020204" pitchFamily="34" charset="0"/>
                <a:buChar char="•"/>
              </a:pPr>
              <a:r>
                <a:rPr lang="en-US" altLang="zh-CN" sz="1100" dirty="0"/>
                <a:t>……</a:t>
              </a:r>
            </a:p>
          </p:txBody>
        </p:sp>
        <p:sp>
          <p:nvSpPr>
            <p:cNvPr id="23" name="îṩļiḑé">
              <a:extLst>
                <a:ext uri="{FF2B5EF4-FFF2-40B4-BE49-F238E27FC236}">
                  <a16:creationId xmlns:a16="http://schemas.microsoft.com/office/drawing/2014/main" id="{906E83CA-C2CF-4BB5-94E3-E2BA5ABC6EF8}"/>
                </a:ext>
              </a:extLst>
            </p:cNvPr>
            <p:cNvSpPr/>
            <p:nvPr/>
          </p:nvSpPr>
          <p:spPr bwMode="auto">
            <a:xfrm>
              <a:off x="673100" y="3555563"/>
              <a:ext cx="2861327" cy="88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a:t>
              </a:r>
              <a:r>
                <a:rPr lang="en-US" altLang="zh-CN" sz="1100"/>
                <a:t>the </a:t>
              </a:r>
              <a:r>
                <a:rPr lang="en-US" altLang="zh-CN" sz="100"/>
                <a:t> </a:t>
              </a:r>
              <a:r>
                <a:rPr lang="en-US" altLang="zh-CN" sz="1100"/>
                <a:t>only </a:t>
              </a:r>
              <a:r>
                <a:rPr lang="en-US" altLang="zh-CN" sz="1100" dirty="0"/>
                <a:t>option </a:t>
              </a:r>
              <a:r>
                <a:rPr lang="en-US" altLang="zh-CN" sz="1100"/>
                <a:t>to re</a:t>
              </a:r>
              <a:r>
                <a:rPr lang="en-US" altLang="zh-CN" sz="100"/>
                <a:t> </a:t>
              </a:r>
              <a:r>
                <a:rPr lang="en-US" altLang="zh-CN" sz="1100"/>
                <a:t>tain </a:t>
              </a:r>
              <a:r>
                <a:rPr lang="en-US" altLang="zh-CN" sz="1100" dirty="0"/>
                <a:t>text.</a:t>
              </a:r>
            </a:p>
            <a:p>
              <a:pPr marL="171450" indent="-171450">
                <a:lnSpc>
                  <a:spcPct val="150000"/>
                </a:lnSpc>
                <a:buFont typeface="Arial" panose="020B0604020202020204" pitchFamily="34" charset="0"/>
                <a:buChar char="•"/>
              </a:pPr>
              <a:r>
                <a:rPr lang="en-US" altLang="zh-CN" sz="1100" dirty="0"/>
                <a:t>……</a:t>
              </a:r>
            </a:p>
          </p:txBody>
        </p:sp>
        <p:sp>
          <p:nvSpPr>
            <p:cNvPr id="24" name="iṩ1ïdê">
              <a:extLst>
                <a:ext uri="{FF2B5EF4-FFF2-40B4-BE49-F238E27FC236}">
                  <a16:creationId xmlns:a16="http://schemas.microsoft.com/office/drawing/2014/main" id="{F4350EA9-9077-41CC-A634-CD53FF70F7F1}"/>
                </a:ext>
              </a:extLst>
            </p:cNvPr>
            <p:cNvSpPr/>
            <p:nvPr/>
          </p:nvSpPr>
          <p:spPr bwMode="auto">
            <a:xfrm>
              <a:off x="673100" y="4832817"/>
              <a:ext cx="2861327" cy="88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a:t>
              </a:r>
              <a:r>
                <a:rPr lang="en-US" altLang="zh-CN" sz="1100"/>
                <a:t>the </a:t>
              </a:r>
              <a:r>
                <a:rPr lang="en-US" altLang="zh-CN" sz="100"/>
                <a:t> </a:t>
              </a:r>
              <a:r>
                <a:rPr lang="en-US" altLang="zh-CN" sz="1100"/>
                <a:t>only </a:t>
              </a:r>
              <a:r>
                <a:rPr lang="en-US" altLang="zh-CN" sz="1100" dirty="0"/>
                <a:t>option to re</a:t>
              </a:r>
              <a:r>
                <a:rPr lang="en-US" altLang="zh-CN" sz="100" dirty="0"/>
                <a:t> </a:t>
              </a:r>
              <a:r>
                <a:rPr lang="en-US" altLang="zh-CN" sz="1100" dirty="0" err="1"/>
                <a:t>tain</a:t>
              </a:r>
              <a:r>
                <a:rPr lang="en-US" altLang="zh-CN" sz="1100" dirty="0"/>
                <a:t> text.</a:t>
              </a:r>
            </a:p>
            <a:p>
              <a:pPr marL="171450" indent="-171450">
                <a:lnSpc>
                  <a:spcPct val="150000"/>
                </a:lnSpc>
                <a:buFont typeface="Arial" panose="020B0604020202020204" pitchFamily="34" charset="0"/>
                <a:buChar char="•"/>
              </a:pPr>
              <a:r>
                <a:rPr lang="en-US" altLang="zh-CN" sz="1100" dirty="0"/>
                <a:t>……</a:t>
              </a:r>
            </a:p>
          </p:txBody>
        </p:sp>
        <p:grpSp>
          <p:nvGrpSpPr>
            <p:cNvPr id="25" name="ïṩḻîḑe">
              <a:extLst>
                <a:ext uri="{FF2B5EF4-FFF2-40B4-BE49-F238E27FC236}">
                  <a16:creationId xmlns:a16="http://schemas.microsoft.com/office/drawing/2014/main" id="{5DBA1EAB-BBAF-4298-B82D-DAB88C07632D}"/>
                </a:ext>
              </a:extLst>
            </p:cNvPr>
            <p:cNvGrpSpPr/>
            <p:nvPr/>
          </p:nvGrpSpPr>
          <p:grpSpPr>
            <a:xfrm>
              <a:off x="669926" y="1431954"/>
              <a:ext cx="2882900" cy="609344"/>
              <a:chOff x="3408785" y="1785222"/>
              <a:chExt cx="2882900" cy="609344"/>
            </a:xfrm>
          </p:grpSpPr>
          <p:sp>
            <p:nvSpPr>
              <p:cNvPr id="28" name="îṩḻíḍê">
                <a:extLst>
                  <a:ext uri="{FF2B5EF4-FFF2-40B4-BE49-F238E27FC236}">
                    <a16:creationId xmlns:a16="http://schemas.microsoft.com/office/drawing/2014/main" id="{87926B5C-A1AE-412C-863D-141852F57BEA}"/>
                  </a:ext>
                </a:extLst>
              </p:cNvPr>
              <p:cNvSpPr/>
              <p:nvPr/>
            </p:nvSpPr>
            <p:spPr>
              <a:xfrm>
                <a:off x="3408785" y="1838610"/>
                <a:ext cx="2882900" cy="502569"/>
              </a:xfrm>
              <a:prstGeom prst="rect">
                <a:avLst/>
              </a:prstGeom>
              <a:solidFill>
                <a:schemeClr val="accent1"/>
              </a:solidFill>
              <a:ln w="12700" cap="flat">
                <a:noFill/>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29" name="ïšḻíďe">
                <a:extLst>
                  <a:ext uri="{FF2B5EF4-FFF2-40B4-BE49-F238E27FC236}">
                    <a16:creationId xmlns:a16="http://schemas.microsoft.com/office/drawing/2014/main" id="{57D00C22-EDFC-401E-8BC2-A2A9C15C04DB}"/>
                  </a:ext>
                </a:extLst>
              </p:cNvPr>
              <p:cNvSpPr/>
              <p:nvPr/>
            </p:nvSpPr>
            <p:spPr>
              <a:xfrm>
                <a:off x="4641825" y="1857429"/>
                <a:ext cx="1630809" cy="464930"/>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b="1" i="1" dirty="0">
                    <a:solidFill>
                      <a:schemeClr val="bg1"/>
                    </a:solidFill>
                  </a:rPr>
                  <a:t>优点</a:t>
                </a:r>
                <a:endParaRPr lang="en-US" altLang="zh-CN" b="1" i="1" dirty="0">
                  <a:solidFill>
                    <a:schemeClr val="bg1"/>
                  </a:solidFill>
                </a:endParaRPr>
              </a:p>
            </p:txBody>
          </p:sp>
          <p:grpSp>
            <p:nvGrpSpPr>
              <p:cNvPr id="30" name="ïṡľiḑè">
                <a:extLst>
                  <a:ext uri="{FF2B5EF4-FFF2-40B4-BE49-F238E27FC236}">
                    <a16:creationId xmlns:a16="http://schemas.microsoft.com/office/drawing/2014/main" id="{C01B5E4C-956A-44B0-9B75-82D5F7AE84C8}"/>
                  </a:ext>
                </a:extLst>
              </p:cNvPr>
              <p:cNvGrpSpPr/>
              <p:nvPr/>
            </p:nvGrpSpPr>
            <p:grpSpPr>
              <a:xfrm>
                <a:off x="3816187" y="1785222"/>
                <a:ext cx="609344" cy="609344"/>
                <a:chOff x="2223502" y="1981401"/>
                <a:chExt cx="591416" cy="591416"/>
              </a:xfrm>
            </p:grpSpPr>
            <p:sp>
              <p:nvSpPr>
                <p:cNvPr id="31" name="ïSļîḓé">
                  <a:extLst>
                    <a:ext uri="{FF2B5EF4-FFF2-40B4-BE49-F238E27FC236}">
                      <a16:creationId xmlns:a16="http://schemas.microsoft.com/office/drawing/2014/main" id="{4BEF61D8-8E84-4C08-B65F-6601CB8A7912}"/>
                    </a:ext>
                  </a:extLst>
                </p:cNvPr>
                <p:cNvSpPr/>
                <p:nvPr/>
              </p:nvSpPr>
              <p:spPr>
                <a:xfrm>
                  <a:off x="2223502" y="1981401"/>
                  <a:ext cx="591416" cy="59141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cap="flat">
                  <a:solidFill>
                    <a:schemeClr val="bg1"/>
                  </a:solidFill>
                  <a:prstDash val="solid"/>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32" name="ïṧľîḓê">
                  <a:extLst>
                    <a:ext uri="{FF2B5EF4-FFF2-40B4-BE49-F238E27FC236}">
                      <a16:creationId xmlns:a16="http://schemas.microsoft.com/office/drawing/2014/main" id="{941DB408-3576-47F3-8D4A-C5A31A3E8798}"/>
                    </a:ext>
                  </a:extLst>
                </p:cNvPr>
                <p:cNvSpPr/>
                <p:nvPr/>
              </p:nvSpPr>
              <p:spPr>
                <a:xfrm>
                  <a:off x="2304185" y="2062084"/>
                  <a:ext cx="430050" cy="4300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solidFill>
                <a:ln w="57150" cap="flat">
                  <a:noFill/>
                  <a:prstDash val="solid"/>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grpSp>
        </p:grpSp>
        <p:cxnSp>
          <p:nvCxnSpPr>
            <p:cNvPr id="26" name="直接连接符 25">
              <a:extLst>
                <a:ext uri="{FF2B5EF4-FFF2-40B4-BE49-F238E27FC236}">
                  <a16:creationId xmlns:a16="http://schemas.microsoft.com/office/drawing/2014/main" id="{BC772E67-19ED-4718-99C0-99074F19B3F1}"/>
                </a:ext>
              </a:extLst>
            </p:cNvPr>
            <p:cNvCxnSpPr>
              <a:cxnSpLocks/>
            </p:cNvCxnSpPr>
            <p:nvPr/>
          </p:nvCxnSpPr>
          <p:spPr>
            <a:xfrm>
              <a:off x="673100" y="3360300"/>
              <a:ext cx="2861327"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A04B1B11-50C0-4AA9-96A9-66A09879BE1A}"/>
                </a:ext>
              </a:extLst>
            </p:cNvPr>
            <p:cNvCxnSpPr>
              <a:cxnSpLocks/>
            </p:cNvCxnSpPr>
            <p:nvPr/>
          </p:nvCxnSpPr>
          <p:spPr>
            <a:xfrm>
              <a:off x="673100" y="4637556"/>
              <a:ext cx="2861327"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9" name="íšḻîḋe">
            <a:extLst>
              <a:ext uri="{FF2B5EF4-FFF2-40B4-BE49-F238E27FC236}">
                <a16:creationId xmlns:a16="http://schemas.microsoft.com/office/drawing/2014/main" id="{EFB3DF54-4BC7-4123-A69F-2441791BA969}"/>
              </a:ext>
            </a:extLst>
          </p:cNvPr>
          <p:cNvGrpSpPr/>
          <p:nvPr/>
        </p:nvGrpSpPr>
        <p:grpSpPr>
          <a:xfrm>
            <a:off x="8637588" y="1130300"/>
            <a:ext cx="2882900" cy="4287593"/>
            <a:chOff x="669926" y="1431954"/>
            <a:chExt cx="2882900" cy="4287593"/>
          </a:xfrm>
        </p:grpSpPr>
        <p:sp>
          <p:nvSpPr>
            <p:cNvPr id="10" name="ïšḷíḓè">
              <a:extLst>
                <a:ext uri="{FF2B5EF4-FFF2-40B4-BE49-F238E27FC236}">
                  <a16:creationId xmlns:a16="http://schemas.microsoft.com/office/drawing/2014/main" id="{03D54DA9-90DD-407B-9851-0E4FD5F5B409}"/>
                </a:ext>
              </a:extLst>
            </p:cNvPr>
            <p:cNvSpPr/>
            <p:nvPr/>
          </p:nvSpPr>
          <p:spPr bwMode="auto">
            <a:xfrm>
              <a:off x="673100" y="2278307"/>
              <a:ext cx="2861327" cy="88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a:t>
              </a:r>
              <a:r>
                <a:rPr lang="en-US" altLang="zh-CN" sz="1100"/>
                <a:t>the </a:t>
              </a:r>
              <a:r>
                <a:rPr lang="en-US" altLang="zh-CN" sz="100"/>
                <a:t> </a:t>
              </a:r>
              <a:r>
                <a:rPr lang="en-US" altLang="zh-CN" sz="1100"/>
                <a:t>only </a:t>
              </a:r>
              <a:r>
                <a:rPr lang="en-US" altLang="zh-CN" sz="1100" dirty="0"/>
                <a:t>option to retain text.</a:t>
              </a:r>
            </a:p>
            <a:p>
              <a:pPr marL="171450" indent="-171450">
                <a:lnSpc>
                  <a:spcPct val="150000"/>
                </a:lnSpc>
                <a:buFont typeface="Arial" panose="020B0604020202020204" pitchFamily="34" charset="0"/>
                <a:buChar char="•"/>
              </a:pPr>
              <a:r>
                <a:rPr lang="en-US" altLang="zh-CN" sz="1100" dirty="0"/>
                <a:t>……</a:t>
              </a:r>
            </a:p>
          </p:txBody>
        </p:sp>
        <p:sp>
          <p:nvSpPr>
            <p:cNvPr id="11" name="iSľïdé">
              <a:extLst>
                <a:ext uri="{FF2B5EF4-FFF2-40B4-BE49-F238E27FC236}">
                  <a16:creationId xmlns:a16="http://schemas.microsoft.com/office/drawing/2014/main" id="{40250717-3D82-48E0-8845-E23033037273}"/>
                </a:ext>
              </a:extLst>
            </p:cNvPr>
            <p:cNvSpPr/>
            <p:nvPr/>
          </p:nvSpPr>
          <p:spPr bwMode="auto">
            <a:xfrm>
              <a:off x="673100" y="3555563"/>
              <a:ext cx="2861327" cy="88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a:t>
              </a:r>
              <a:r>
                <a:rPr lang="en-US" altLang="zh-CN" sz="1100"/>
                <a:t>the </a:t>
              </a:r>
              <a:r>
                <a:rPr lang="en-US" altLang="zh-CN" sz="100"/>
                <a:t> </a:t>
              </a:r>
              <a:r>
                <a:rPr lang="en-US" altLang="zh-CN" sz="1100"/>
                <a:t>only </a:t>
              </a:r>
              <a:r>
                <a:rPr lang="en-US" altLang="zh-CN" sz="1100" dirty="0"/>
                <a:t>option </a:t>
              </a:r>
              <a:r>
                <a:rPr lang="en-US" altLang="zh-CN" sz="1100"/>
                <a:t>to retain </a:t>
              </a:r>
              <a:r>
                <a:rPr lang="en-US" altLang="zh-CN" sz="1100" dirty="0"/>
                <a:t>text.</a:t>
              </a:r>
            </a:p>
            <a:p>
              <a:pPr marL="171450" indent="-171450">
                <a:lnSpc>
                  <a:spcPct val="150000"/>
                </a:lnSpc>
                <a:buFont typeface="Arial" panose="020B0604020202020204" pitchFamily="34" charset="0"/>
                <a:buChar char="•"/>
              </a:pPr>
              <a:r>
                <a:rPr lang="en-US" altLang="zh-CN" sz="1100" dirty="0"/>
                <a:t>……</a:t>
              </a:r>
            </a:p>
          </p:txBody>
        </p:sp>
        <p:sp>
          <p:nvSpPr>
            <p:cNvPr id="12" name="î$ļídè">
              <a:extLst>
                <a:ext uri="{FF2B5EF4-FFF2-40B4-BE49-F238E27FC236}">
                  <a16:creationId xmlns:a16="http://schemas.microsoft.com/office/drawing/2014/main" id="{C1E87E06-41B7-4B0D-88E6-AE71EB1A7EEA}"/>
                </a:ext>
              </a:extLst>
            </p:cNvPr>
            <p:cNvSpPr/>
            <p:nvPr/>
          </p:nvSpPr>
          <p:spPr bwMode="auto">
            <a:xfrm>
              <a:off x="673100" y="4832817"/>
              <a:ext cx="2861327" cy="88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a:t>
              </a:r>
              <a:r>
                <a:rPr lang="en-US" altLang="zh-CN" sz="1100"/>
                <a:t>. C</a:t>
              </a:r>
              <a:r>
                <a:rPr lang="en-US" altLang="zh-CN" sz="100"/>
                <a:t> </a:t>
              </a:r>
              <a:r>
                <a:rPr lang="en-US" altLang="zh-CN" sz="1100"/>
                <a:t>hoose </a:t>
              </a:r>
              <a:r>
                <a:rPr lang="en-US" altLang="zh-CN" sz="1100" dirty="0"/>
                <a:t>the only option to re</a:t>
              </a:r>
              <a:r>
                <a:rPr lang="en-US" altLang="zh-CN" sz="1100" dirty="0" err="1"/>
                <a:t>tain</a:t>
              </a:r>
              <a:r>
                <a:rPr lang="en-US" altLang="zh-CN" sz="1100" dirty="0"/>
                <a:t> text.</a:t>
              </a:r>
            </a:p>
            <a:p>
              <a:pPr marL="171450" indent="-171450">
                <a:lnSpc>
                  <a:spcPct val="150000"/>
                </a:lnSpc>
                <a:buFont typeface="Arial" panose="020B0604020202020204" pitchFamily="34" charset="0"/>
                <a:buChar char="•"/>
              </a:pPr>
              <a:r>
                <a:rPr lang="en-US" altLang="zh-CN" sz="1100" dirty="0"/>
                <a:t>……</a:t>
              </a:r>
            </a:p>
          </p:txBody>
        </p:sp>
        <p:grpSp>
          <p:nvGrpSpPr>
            <p:cNvPr id="13" name="íSľiḍè">
              <a:extLst>
                <a:ext uri="{FF2B5EF4-FFF2-40B4-BE49-F238E27FC236}">
                  <a16:creationId xmlns:a16="http://schemas.microsoft.com/office/drawing/2014/main" id="{9EEF239D-43AD-40B6-BCFF-7DFBBD946994}"/>
                </a:ext>
              </a:extLst>
            </p:cNvPr>
            <p:cNvGrpSpPr/>
            <p:nvPr/>
          </p:nvGrpSpPr>
          <p:grpSpPr>
            <a:xfrm>
              <a:off x="669926" y="1431954"/>
              <a:ext cx="2882900" cy="609344"/>
              <a:chOff x="3408785" y="1785222"/>
              <a:chExt cx="2882900" cy="609344"/>
            </a:xfrm>
          </p:grpSpPr>
          <p:sp>
            <p:nvSpPr>
              <p:cNvPr id="16" name="ïṡḷíďè">
                <a:extLst>
                  <a:ext uri="{FF2B5EF4-FFF2-40B4-BE49-F238E27FC236}">
                    <a16:creationId xmlns:a16="http://schemas.microsoft.com/office/drawing/2014/main" id="{46C2D7CB-7FD4-41AB-9EBA-7EB738A09FE4}"/>
                  </a:ext>
                </a:extLst>
              </p:cNvPr>
              <p:cNvSpPr/>
              <p:nvPr/>
            </p:nvSpPr>
            <p:spPr>
              <a:xfrm>
                <a:off x="3408785" y="1838610"/>
                <a:ext cx="2882900" cy="502569"/>
              </a:xfrm>
              <a:prstGeom prst="rect">
                <a:avLst/>
              </a:prstGeom>
              <a:solidFill>
                <a:schemeClr val="accent1"/>
              </a:solidFill>
              <a:ln w="12700" cap="flat">
                <a:noFill/>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17" name="î$ḷiḓe">
                <a:extLst>
                  <a:ext uri="{FF2B5EF4-FFF2-40B4-BE49-F238E27FC236}">
                    <a16:creationId xmlns:a16="http://schemas.microsoft.com/office/drawing/2014/main" id="{E020ACBE-D18A-497B-9A33-D9758F1B9651}"/>
                  </a:ext>
                </a:extLst>
              </p:cNvPr>
              <p:cNvSpPr/>
              <p:nvPr/>
            </p:nvSpPr>
            <p:spPr>
              <a:xfrm>
                <a:off x="4641825" y="1857429"/>
                <a:ext cx="1630809" cy="464930"/>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b="1" i="1" dirty="0">
                    <a:solidFill>
                      <a:schemeClr val="bg1"/>
                    </a:solidFill>
                  </a:rPr>
                  <a:t>缺点</a:t>
                </a:r>
                <a:endParaRPr lang="en-US" altLang="zh-CN" b="1" i="1" dirty="0">
                  <a:solidFill>
                    <a:schemeClr val="bg1"/>
                  </a:solidFill>
                </a:endParaRPr>
              </a:p>
            </p:txBody>
          </p:sp>
          <p:grpSp>
            <p:nvGrpSpPr>
              <p:cNvPr id="18" name="iS1îḍé">
                <a:extLst>
                  <a:ext uri="{FF2B5EF4-FFF2-40B4-BE49-F238E27FC236}">
                    <a16:creationId xmlns:a16="http://schemas.microsoft.com/office/drawing/2014/main" id="{CC61CE07-224E-4B8E-B795-622823423CDB}"/>
                  </a:ext>
                </a:extLst>
              </p:cNvPr>
              <p:cNvGrpSpPr/>
              <p:nvPr/>
            </p:nvGrpSpPr>
            <p:grpSpPr>
              <a:xfrm>
                <a:off x="3816187" y="1785222"/>
                <a:ext cx="609344" cy="609344"/>
                <a:chOff x="2223502" y="1981401"/>
                <a:chExt cx="591416" cy="591416"/>
              </a:xfrm>
            </p:grpSpPr>
            <p:sp>
              <p:nvSpPr>
                <p:cNvPr id="19" name="îSļíḑê">
                  <a:extLst>
                    <a:ext uri="{FF2B5EF4-FFF2-40B4-BE49-F238E27FC236}">
                      <a16:creationId xmlns:a16="http://schemas.microsoft.com/office/drawing/2014/main" id="{85D0CEFB-1806-4521-9988-5A69EC749386}"/>
                    </a:ext>
                  </a:extLst>
                </p:cNvPr>
                <p:cNvSpPr/>
                <p:nvPr/>
              </p:nvSpPr>
              <p:spPr>
                <a:xfrm>
                  <a:off x="2223502" y="1981401"/>
                  <a:ext cx="591416" cy="59141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cap="flat">
                  <a:solidFill>
                    <a:schemeClr val="bg1"/>
                  </a:solidFill>
                  <a:prstDash val="solid"/>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1" name="išḷïďé">
                  <a:extLst>
                    <a:ext uri="{FF2B5EF4-FFF2-40B4-BE49-F238E27FC236}">
                      <a16:creationId xmlns:a16="http://schemas.microsoft.com/office/drawing/2014/main" id="{B3A6D918-6BB0-4CD8-A05A-681ED6C73EC3}"/>
                    </a:ext>
                  </a:extLst>
                </p:cNvPr>
                <p:cNvSpPr/>
                <p:nvPr/>
              </p:nvSpPr>
              <p:spPr>
                <a:xfrm>
                  <a:off x="2398844" y="2137758"/>
                  <a:ext cx="240726" cy="278696"/>
                </a:xfrm>
                <a:custGeom>
                  <a:avLst/>
                  <a:gdLst>
                    <a:gd name="T0" fmla="*/ 372171 w 604011"/>
                    <a:gd name="T1" fmla="*/ 372171 w 604011"/>
                    <a:gd name="T2" fmla="*/ 372171 w 604011"/>
                    <a:gd name="T3" fmla="*/ 372171 w 604011"/>
                    <a:gd name="T4" fmla="*/ 372171 w 604011"/>
                    <a:gd name="T5" fmla="*/ 372171 w 604011"/>
                    <a:gd name="T6" fmla="*/ 372171 w 604011"/>
                    <a:gd name="T7" fmla="*/ 372171 w 604011"/>
                    <a:gd name="T8" fmla="*/ 372171 w 604011"/>
                    <a:gd name="T9" fmla="*/ 372171 w 604011"/>
                    <a:gd name="T10" fmla="*/ 372171 w 604011"/>
                    <a:gd name="T11" fmla="*/ 372171 w 604011"/>
                    <a:gd name="T12" fmla="*/ 372171 w 604011"/>
                    <a:gd name="T13" fmla="*/ 372171 w 604011"/>
                    <a:gd name="T14" fmla="*/ 372171 w 604011"/>
                    <a:gd name="T15" fmla="*/ 372171 w 604011"/>
                    <a:gd name="T16" fmla="*/ 372171 w 604011"/>
                    <a:gd name="T17" fmla="*/ 372171 w 604011"/>
                    <a:gd name="T18" fmla="*/ 372171 w 604011"/>
                    <a:gd name="T19" fmla="*/ 372171 w 604011"/>
                    <a:gd name="T20" fmla="*/ 372171 w 604011"/>
                    <a:gd name="T21" fmla="*/ 372171 w 604011"/>
                    <a:gd name="T22" fmla="*/ 372171 w 604011"/>
                    <a:gd name="T23" fmla="*/ 372171 w 604011"/>
                    <a:gd name="T24" fmla="*/ 372171 w 604011"/>
                    <a:gd name="T25" fmla="*/ 372171 w 604011"/>
                    <a:gd name="T26" fmla="*/ 372171 w 604011"/>
                    <a:gd name="T27" fmla="*/ 372171 w 604011"/>
                    <a:gd name="T28" fmla="*/ 372171 w 604011"/>
                    <a:gd name="T29" fmla="*/ 372171 w 604011"/>
                    <a:gd name="T30" fmla="*/ 372171 w 604011"/>
                    <a:gd name="T31" fmla="*/ 372171 w 604011"/>
                    <a:gd name="T32" fmla="*/ 372171 w 604011"/>
                    <a:gd name="T33" fmla="*/ 372171 w 604011"/>
                    <a:gd name="T34" fmla="*/ 372171 w 604011"/>
                    <a:gd name="T35" fmla="*/ 372171 w 604011"/>
                    <a:gd name="T36" fmla="*/ 372171 w 604011"/>
                    <a:gd name="T37" fmla="*/ 372171 w 604011"/>
                    <a:gd name="T38" fmla="*/ 372171 w 604011"/>
                    <a:gd name="T39" fmla="*/ 372171 w 604011"/>
                    <a:gd name="T40" fmla="*/ 372171 w 604011"/>
                    <a:gd name="T41" fmla="*/ 372171 w 604011"/>
                    <a:gd name="T42" fmla="*/ 372171 w 604011"/>
                    <a:gd name="T43" fmla="*/ 372171 w 604011"/>
                    <a:gd name="T44" fmla="*/ 372171 w 604011"/>
                    <a:gd name="T45" fmla="*/ 372171 w 604011"/>
                    <a:gd name="T46" fmla="*/ 372171 w 604011"/>
                    <a:gd name="T47" fmla="*/ 372171 w 604011"/>
                    <a:gd name="T48" fmla="*/ 372171 w 604011"/>
                    <a:gd name="T49" fmla="*/ 372171 w 604011"/>
                    <a:gd name="T50" fmla="*/ 372171 w 604011"/>
                    <a:gd name="T51" fmla="*/ 372171 w 604011"/>
                    <a:gd name="T52" fmla="*/ 372171 w 604011"/>
                    <a:gd name="T53" fmla="*/ 372171 w 604011"/>
                    <a:gd name="T54" fmla="*/ 372171 w 604011"/>
                    <a:gd name="T55" fmla="*/ 372171 w 604011"/>
                    <a:gd name="T56" fmla="*/ 372171 w 604011"/>
                    <a:gd name="T57" fmla="*/ 372171 w 604011"/>
                    <a:gd name="T58" fmla="*/ 372171 w 604011"/>
                    <a:gd name="T59" fmla="*/ 372171 w 604011"/>
                    <a:gd name="T60" fmla="*/ 372171 w 604011"/>
                    <a:gd name="T61" fmla="*/ 372171 w 604011"/>
                    <a:gd name="T62" fmla="*/ 372171 w 604011"/>
                    <a:gd name="T63" fmla="*/ 372171 w 604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0" h="638">
                      <a:moveTo>
                        <a:pt x="489" y="343"/>
                      </a:moveTo>
                      <a:lnTo>
                        <a:pt x="474" y="372"/>
                      </a:lnTo>
                      <a:cubicBezTo>
                        <a:pt x="490" y="387"/>
                        <a:pt x="500" y="408"/>
                        <a:pt x="500" y="431"/>
                      </a:cubicBezTo>
                      <a:cubicBezTo>
                        <a:pt x="500" y="472"/>
                        <a:pt x="470" y="506"/>
                        <a:pt x="430" y="512"/>
                      </a:cubicBezTo>
                      <a:lnTo>
                        <a:pt x="429" y="536"/>
                      </a:lnTo>
                      <a:cubicBezTo>
                        <a:pt x="449" y="544"/>
                        <a:pt x="463" y="563"/>
                        <a:pt x="463" y="585"/>
                      </a:cubicBezTo>
                      <a:cubicBezTo>
                        <a:pt x="463" y="614"/>
                        <a:pt x="439" y="638"/>
                        <a:pt x="410" y="638"/>
                      </a:cubicBezTo>
                      <a:cubicBezTo>
                        <a:pt x="381" y="638"/>
                        <a:pt x="357" y="614"/>
                        <a:pt x="357" y="585"/>
                      </a:cubicBezTo>
                      <a:cubicBezTo>
                        <a:pt x="357" y="560"/>
                        <a:pt x="374" y="539"/>
                        <a:pt x="398" y="534"/>
                      </a:cubicBezTo>
                      <a:lnTo>
                        <a:pt x="399" y="511"/>
                      </a:lnTo>
                      <a:cubicBezTo>
                        <a:pt x="391" y="509"/>
                        <a:pt x="384" y="506"/>
                        <a:pt x="378" y="503"/>
                      </a:cubicBezTo>
                      <a:lnTo>
                        <a:pt x="350" y="527"/>
                      </a:lnTo>
                      <a:cubicBezTo>
                        <a:pt x="353" y="533"/>
                        <a:pt x="354" y="540"/>
                        <a:pt x="354" y="548"/>
                      </a:cubicBezTo>
                      <a:cubicBezTo>
                        <a:pt x="354" y="577"/>
                        <a:pt x="331" y="601"/>
                        <a:pt x="301" y="601"/>
                      </a:cubicBezTo>
                      <a:cubicBezTo>
                        <a:pt x="272" y="601"/>
                        <a:pt x="248" y="577"/>
                        <a:pt x="248" y="548"/>
                      </a:cubicBezTo>
                      <a:cubicBezTo>
                        <a:pt x="248" y="519"/>
                        <a:pt x="272" y="495"/>
                        <a:pt x="301" y="495"/>
                      </a:cubicBezTo>
                      <a:cubicBezTo>
                        <a:pt x="312" y="495"/>
                        <a:pt x="321" y="498"/>
                        <a:pt x="329" y="503"/>
                      </a:cubicBezTo>
                      <a:lnTo>
                        <a:pt x="354" y="482"/>
                      </a:lnTo>
                      <a:cubicBezTo>
                        <a:pt x="343" y="468"/>
                        <a:pt x="336" y="450"/>
                        <a:pt x="336" y="431"/>
                      </a:cubicBezTo>
                      <a:cubicBezTo>
                        <a:pt x="336" y="421"/>
                        <a:pt x="338" y="410"/>
                        <a:pt x="342" y="401"/>
                      </a:cubicBezTo>
                      <a:lnTo>
                        <a:pt x="275" y="335"/>
                      </a:lnTo>
                      <a:cubicBezTo>
                        <a:pt x="257" y="346"/>
                        <a:pt x="236" y="352"/>
                        <a:pt x="214" y="352"/>
                      </a:cubicBezTo>
                      <a:cubicBezTo>
                        <a:pt x="198" y="352"/>
                        <a:pt x="183" y="349"/>
                        <a:pt x="170" y="343"/>
                      </a:cubicBezTo>
                      <a:lnTo>
                        <a:pt x="146" y="377"/>
                      </a:lnTo>
                      <a:cubicBezTo>
                        <a:pt x="151" y="385"/>
                        <a:pt x="153" y="393"/>
                        <a:pt x="153" y="402"/>
                      </a:cubicBezTo>
                      <a:cubicBezTo>
                        <a:pt x="153" y="431"/>
                        <a:pt x="129" y="455"/>
                        <a:pt x="100" y="455"/>
                      </a:cubicBezTo>
                      <a:cubicBezTo>
                        <a:pt x="71" y="455"/>
                        <a:pt x="47" y="431"/>
                        <a:pt x="47" y="402"/>
                      </a:cubicBezTo>
                      <a:cubicBezTo>
                        <a:pt x="47" y="373"/>
                        <a:pt x="71" y="349"/>
                        <a:pt x="100" y="349"/>
                      </a:cubicBezTo>
                      <a:cubicBezTo>
                        <a:pt x="103" y="349"/>
                        <a:pt x="105" y="350"/>
                        <a:pt x="107" y="350"/>
                      </a:cubicBezTo>
                      <a:lnTo>
                        <a:pt x="130" y="317"/>
                      </a:lnTo>
                      <a:cubicBezTo>
                        <a:pt x="108" y="295"/>
                        <a:pt x="95" y="266"/>
                        <a:pt x="95" y="233"/>
                      </a:cubicBezTo>
                      <a:cubicBezTo>
                        <a:pt x="95" y="223"/>
                        <a:pt x="96" y="214"/>
                        <a:pt x="98" y="205"/>
                      </a:cubicBezTo>
                      <a:lnTo>
                        <a:pt x="81" y="195"/>
                      </a:lnTo>
                      <a:cubicBezTo>
                        <a:pt x="73" y="201"/>
                        <a:pt x="63" y="204"/>
                        <a:pt x="53" y="204"/>
                      </a:cubicBezTo>
                      <a:cubicBezTo>
                        <a:pt x="23" y="204"/>
                        <a:pt x="0" y="180"/>
                        <a:pt x="0" y="151"/>
                      </a:cubicBezTo>
                      <a:cubicBezTo>
                        <a:pt x="0" y="122"/>
                        <a:pt x="23" y="98"/>
                        <a:pt x="53" y="98"/>
                      </a:cubicBezTo>
                      <a:cubicBezTo>
                        <a:pt x="82" y="98"/>
                        <a:pt x="106" y="122"/>
                        <a:pt x="106" y="151"/>
                      </a:cubicBezTo>
                      <a:cubicBezTo>
                        <a:pt x="106" y="152"/>
                        <a:pt x="105" y="153"/>
                        <a:pt x="105" y="154"/>
                      </a:cubicBezTo>
                      <a:lnTo>
                        <a:pt x="119" y="162"/>
                      </a:lnTo>
                      <a:cubicBezTo>
                        <a:pt x="140" y="133"/>
                        <a:pt x="175" y="114"/>
                        <a:pt x="214" y="114"/>
                      </a:cubicBezTo>
                      <a:cubicBezTo>
                        <a:pt x="222" y="114"/>
                        <a:pt x="230" y="115"/>
                        <a:pt x="238" y="116"/>
                      </a:cubicBezTo>
                      <a:lnTo>
                        <a:pt x="251" y="87"/>
                      </a:lnTo>
                      <a:cubicBezTo>
                        <a:pt x="243" y="78"/>
                        <a:pt x="238" y="66"/>
                        <a:pt x="238" y="53"/>
                      </a:cubicBezTo>
                      <a:cubicBezTo>
                        <a:pt x="238" y="24"/>
                        <a:pt x="262" y="0"/>
                        <a:pt x="291" y="0"/>
                      </a:cubicBezTo>
                      <a:cubicBezTo>
                        <a:pt x="320" y="0"/>
                        <a:pt x="344" y="24"/>
                        <a:pt x="344" y="53"/>
                      </a:cubicBezTo>
                      <a:cubicBezTo>
                        <a:pt x="344" y="81"/>
                        <a:pt x="322" y="104"/>
                        <a:pt x="295" y="105"/>
                      </a:cubicBezTo>
                      <a:lnTo>
                        <a:pt x="282" y="135"/>
                      </a:lnTo>
                      <a:cubicBezTo>
                        <a:pt x="291" y="141"/>
                        <a:pt x="298" y="148"/>
                        <a:pt x="305" y="156"/>
                      </a:cubicBezTo>
                      <a:lnTo>
                        <a:pt x="370" y="127"/>
                      </a:lnTo>
                      <a:cubicBezTo>
                        <a:pt x="372" y="99"/>
                        <a:pt x="395" y="77"/>
                        <a:pt x="423" y="77"/>
                      </a:cubicBezTo>
                      <a:cubicBezTo>
                        <a:pt x="452" y="77"/>
                        <a:pt x="476" y="101"/>
                        <a:pt x="476" y="130"/>
                      </a:cubicBezTo>
                      <a:cubicBezTo>
                        <a:pt x="476" y="159"/>
                        <a:pt x="452" y="183"/>
                        <a:pt x="423" y="183"/>
                      </a:cubicBezTo>
                      <a:cubicBezTo>
                        <a:pt x="411" y="183"/>
                        <a:pt x="399" y="178"/>
                        <a:pt x="390" y="171"/>
                      </a:cubicBezTo>
                      <a:lnTo>
                        <a:pt x="328" y="198"/>
                      </a:lnTo>
                      <a:cubicBezTo>
                        <a:pt x="331" y="209"/>
                        <a:pt x="333" y="221"/>
                        <a:pt x="333" y="233"/>
                      </a:cubicBezTo>
                      <a:cubicBezTo>
                        <a:pt x="333" y="253"/>
                        <a:pt x="328" y="272"/>
                        <a:pt x="319" y="289"/>
                      </a:cubicBezTo>
                      <a:lnTo>
                        <a:pt x="386" y="356"/>
                      </a:lnTo>
                      <a:cubicBezTo>
                        <a:pt x="396" y="352"/>
                        <a:pt x="407" y="349"/>
                        <a:pt x="418" y="349"/>
                      </a:cubicBezTo>
                      <a:cubicBezTo>
                        <a:pt x="428" y="349"/>
                        <a:pt x="438" y="351"/>
                        <a:pt x="448" y="355"/>
                      </a:cubicBezTo>
                      <a:lnTo>
                        <a:pt x="461" y="329"/>
                      </a:lnTo>
                      <a:cubicBezTo>
                        <a:pt x="451" y="319"/>
                        <a:pt x="444" y="306"/>
                        <a:pt x="444" y="291"/>
                      </a:cubicBezTo>
                      <a:cubicBezTo>
                        <a:pt x="444" y="262"/>
                        <a:pt x="468" y="238"/>
                        <a:pt x="497" y="238"/>
                      </a:cubicBezTo>
                      <a:cubicBezTo>
                        <a:pt x="526" y="238"/>
                        <a:pt x="550" y="262"/>
                        <a:pt x="550" y="291"/>
                      </a:cubicBezTo>
                      <a:cubicBezTo>
                        <a:pt x="550" y="320"/>
                        <a:pt x="527" y="344"/>
                        <a:pt x="497" y="344"/>
                      </a:cubicBezTo>
                      <a:cubicBezTo>
                        <a:pt x="494" y="344"/>
                        <a:pt x="492" y="344"/>
                        <a:pt x="489" y="343"/>
                      </a:cubicBezTo>
                      <a:close/>
                    </a:path>
                  </a:pathLst>
                </a:custGeom>
                <a:solidFill>
                  <a:schemeClr val="accent1"/>
                </a:solidFill>
                <a:ln w="3175">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354"/>
                  <a:endParaRPr lang="zh-CN" altLang="en-US" sz="2000" b="1" i="1">
                    <a:solidFill>
                      <a:schemeClr val="tx1"/>
                    </a:solidFill>
                  </a:endParaRPr>
                </a:p>
              </p:txBody>
            </p:sp>
          </p:grpSp>
        </p:grpSp>
        <p:cxnSp>
          <p:nvCxnSpPr>
            <p:cNvPr id="14" name="直接连接符 13">
              <a:extLst>
                <a:ext uri="{FF2B5EF4-FFF2-40B4-BE49-F238E27FC236}">
                  <a16:creationId xmlns:a16="http://schemas.microsoft.com/office/drawing/2014/main" id="{C4FBBDB8-65D0-4C1E-99D7-057F8783F14E}"/>
                </a:ext>
              </a:extLst>
            </p:cNvPr>
            <p:cNvCxnSpPr>
              <a:cxnSpLocks/>
            </p:cNvCxnSpPr>
            <p:nvPr/>
          </p:nvCxnSpPr>
          <p:spPr>
            <a:xfrm>
              <a:off x="673100" y="3360300"/>
              <a:ext cx="2861327"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F4542824-E380-439C-9073-DAF85299C41B}"/>
                </a:ext>
              </a:extLst>
            </p:cNvPr>
            <p:cNvCxnSpPr>
              <a:cxnSpLocks/>
            </p:cNvCxnSpPr>
            <p:nvPr/>
          </p:nvCxnSpPr>
          <p:spPr>
            <a:xfrm>
              <a:off x="673100" y="4637556"/>
              <a:ext cx="2861327"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pic>
        <p:nvPicPr>
          <p:cNvPr id="329" name="图形 328" descr="天使表情，没有填充">
            <a:extLst>
              <a:ext uri="{FF2B5EF4-FFF2-40B4-BE49-F238E27FC236}">
                <a16:creationId xmlns:a16="http://schemas.microsoft.com/office/drawing/2014/main" id="{4D79A3F5-A325-47DB-A0CB-1D456D6921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2295" y="1223960"/>
            <a:ext cx="474538" cy="474538"/>
          </a:xfrm>
          <a:prstGeom prst="rect">
            <a:avLst/>
          </a:prstGeom>
        </p:spPr>
      </p:pic>
      <p:pic>
        <p:nvPicPr>
          <p:cNvPr id="331" name="图形 330" descr="魔鬼表情，实心填充">
            <a:extLst>
              <a:ext uri="{FF2B5EF4-FFF2-40B4-BE49-F238E27FC236}">
                <a16:creationId xmlns:a16="http://schemas.microsoft.com/office/drawing/2014/main" id="{8A726FE1-D38D-4E23-8D9E-1C7076A837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12257" y="1214632"/>
            <a:ext cx="471625" cy="471625"/>
          </a:xfrm>
          <a:prstGeom prst="rect">
            <a:avLst/>
          </a:prstGeom>
        </p:spPr>
      </p:pic>
      <p:grpSp>
        <p:nvGrpSpPr>
          <p:cNvPr id="334" name="e688544b-9924-4d9e-b498-c52495deba7b"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07CAB19-38BC-4274-954E-F8F6DC8A4AEE}"/>
              </a:ext>
            </a:extLst>
          </p:cNvPr>
          <p:cNvGrpSpPr>
            <a:grpSpLocks noChangeAspect="1"/>
          </p:cNvGrpSpPr>
          <p:nvPr>
            <p:custDataLst>
              <p:tags r:id="rId2"/>
            </p:custDataLst>
          </p:nvPr>
        </p:nvGrpSpPr>
        <p:grpSpPr>
          <a:xfrm>
            <a:off x="3442026" y="1991822"/>
            <a:ext cx="5292725" cy="3943075"/>
            <a:chOff x="3449638" y="1457463"/>
            <a:chExt cx="5292725" cy="3943075"/>
          </a:xfrm>
        </p:grpSpPr>
        <p:sp>
          <p:nvSpPr>
            <p:cNvPr id="335" name="íŝliďè">
              <a:extLst>
                <a:ext uri="{FF2B5EF4-FFF2-40B4-BE49-F238E27FC236}">
                  <a16:creationId xmlns:a16="http://schemas.microsoft.com/office/drawing/2014/main" id="{8C9C8E1C-3BB7-4773-8E8B-55432AC6AA12}"/>
                </a:ext>
              </a:extLst>
            </p:cNvPr>
            <p:cNvSpPr/>
            <p:nvPr/>
          </p:nvSpPr>
          <p:spPr bwMode="auto">
            <a:xfrm>
              <a:off x="3449638" y="4924649"/>
              <a:ext cx="5292725"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6" name="îśḻïďe">
              <a:extLst>
                <a:ext uri="{FF2B5EF4-FFF2-40B4-BE49-F238E27FC236}">
                  <a16:creationId xmlns:a16="http://schemas.microsoft.com/office/drawing/2014/main" id="{61AC0256-2E91-45A8-B307-14F5E837D9F0}"/>
                </a:ext>
              </a:extLst>
            </p:cNvPr>
            <p:cNvSpPr/>
            <p:nvPr/>
          </p:nvSpPr>
          <p:spPr bwMode="auto">
            <a:xfrm>
              <a:off x="3449638" y="4924649"/>
              <a:ext cx="5292725" cy="2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7" name="îşlîḑê">
              <a:extLst>
                <a:ext uri="{FF2B5EF4-FFF2-40B4-BE49-F238E27FC236}">
                  <a16:creationId xmlns:a16="http://schemas.microsoft.com/office/drawing/2014/main" id="{670FCD9A-5B6D-4F1F-915F-88F1D69B769B}"/>
                </a:ext>
              </a:extLst>
            </p:cNvPr>
            <p:cNvSpPr/>
            <p:nvPr/>
          </p:nvSpPr>
          <p:spPr bwMode="auto">
            <a:xfrm>
              <a:off x="4004655" y="5094052"/>
              <a:ext cx="349951"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8" name="íŝľïḋé">
              <a:extLst>
                <a:ext uri="{FF2B5EF4-FFF2-40B4-BE49-F238E27FC236}">
                  <a16:creationId xmlns:a16="http://schemas.microsoft.com/office/drawing/2014/main" id="{4CE222A0-E499-4942-A704-74B355006FB8}"/>
                </a:ext>
              </a:extLst>
            </p:cNvPr>
            <p:cNvSpPr/>
            <p:nvPr/>
          </p:nvSpPr>
          <p:spPr bwMode="auto">
            <a:xfrm>
              <a:off x="4880646" y="5123029"/>
              <a:ext cx="471431"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9" name="ïṧḻîḋé">
              <a:extLst>
                <a:ext uri="{FF2B5EF4-FFF2-40B4-BE49-F238E27FC236}">
                  <a16:creationId xmlns:a16="http://schemas.microsoft.com/office/drawing/2014/main" id="{01793E8B-63A2-43A7-A63E-99E21969D16A}"/>
                </a:ext>
              </a:extLst>
            </p:cNvPr>
            <p:cNvSpPr/>
            <p:nvPr/>
          </p:nvSpPr>
          <p:spPr bwMode="auto">
            <a:xfrm>
              <a:off x="4364637" y="4995977"/>
              <a:ext cx="746710"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0" name="iṡḻïḓê">
              <a:extLst>
                <a:ext uri="{FF2B5EF4-FFF2-40B4-BE49-F238E27FC236}">
                  <a16:creationId xmlns:a16="http://schemas.microsoft.com/office/drawing/2014/main" id="{B7475C1A-8E36-415E-AF3F-6559153A0994}"/>
                </a:ext>
              </a:extLst>
            </p:cNvPr>
            <p:cNvSpPr/>
            <p:nvPr/>
          </p:nvSpPr>
          <p:spPr bwMode="auto">
            <a:xfrm>
              <a:off x="8078125" y="5014923"/>
              <a:ext cx="134854"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1" name="í$ḻíďê">
              <a:extLst>
                <a:ext uri="{FF2B5EF4-FFF2-40B4-BE49-F238E27FC236}">
                  <a16:creationId xmlns:a16="http://schemas.microsoft.com/office/drawing/2014/main" id="{431CC7E7-2917-4B0C-8F8E-63682940150F}"/>
                </a:ext>
              </a:extLst>
            </p:cNvPr>
            <p:cNvSpPr/>
            <p:nvPr/>
          </p:nvSpPr>
          <p:spPr bwMode="auto">
            <a:xfrm>
              <a:off x="7593321" y="5014923"/>
              <a:ext cx="388958"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2" name="íṣlíḍè">
              <a:extLst>
                <a:ext uri="{FF2B5EF4-FFF2-40B4-BE49-F238E27FC236}">
                  <a16:creationId xmlns:a16="http://schemas.microsoft.com/office/drawing/2014/main" id="{EB7BB1FB-D53A-42B9-9A34-3CCB53961E41}"/>
                </a:ext>
              </a:extLst>
            </p:cNvPr>
            <p:cNvSpPr/>
            <p:nvPr/>
          </p:nvSpPr>
          <p:spPr bwMode="auto">
            <a:xfrm>
              <a:off x="6384097" y="5057274"/>
              <a:ext cx="327661" cy="222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3" name="iŝľiḋê">
              <a:extLst>
                <a:ext uri="{FF2B5EF4-FFF2-40B4-BE49-F238E27FC236}">
                  <a16:creationId xmlns:a16="http://schemas.microsoft.com/office/drawing/2014/main" id="{9314B93C-1C03-4B6A-B3AC-285DDD50D0FD}"/>
                </a:ext>
              </a:extLst>
            </p:cNvPr>
            <p:cNvSpPr/>
            <p:nvPr/>
          </p:nvSpPr>
          <p:spPr bwMode="auto">
            <a:xfrm>
              <a:off x="3854199" y="1457463"/>
              <a:ext cx="2164344" cy="2993527"/>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close/>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lnTo>
                    <a:pt x="23" y="1"/>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4" name="íṩľîḋe">
              <a:extLst>
                <a:ext uri="{FF2B5EF4-FFF2-40B4-BE49-F238E27FC236}">
                  <a16:creationId xmlns:a16="http://schemas.microsoft.com/office/drawing/2014/main" id="{162C76F1-91C4-48C5-A8C9-C661EFF1E014}"/>
                </a:ext>
              </a:extLst>
            </p:cNvPr>
            <p:cNvSpPr/>
            <p:nvPr/>
          </p:nvSpPr>
          <p:spPr bwMode="auto">
            <a:xfrm>
              <a:off x="6143367" y="1457463"/>
              <a:ext cx="2164344" cy="2993527"/>
            </a:xfrm>
            <a:custGeom>
              <a:avLst/>
              <a:gdLst>
                <a:gd name="T0" fmla="*/ 795 w 818"/>
                <a:gd name="T1" fmla="*/ 1131 h 1131"/>
                <a:gd name="T2" fmla="*/ 23 w 818"/>
                <a:gd name="T3" fmla="*/ 1131 h 1131"/>
                <a:gd name="T4" fmla="*/ 0 w 818"/>
                <a:gd name="T5" fmla="*/ 1108 h 1131"/>
                <a:gd name="T6" fmla="*/ 0 w 818"/>
                <a:gd name="T7" fmla="*/ 23 h 1131"/>
                <a:gd name="T8" fmla="*/ 23 w 818"/>
                <a:gd name="T9" fmla="*/ 0 h 1131"/>
                <a:gd name="T10" fmla="*/ 795 w 818"/>
                <a:gd name="T11" fmla="*/ 0 h 1131"/>
                <a:gd name="T12" fmla="*/ 818 w 818"/>
                <a:gd name="T13" fmla="*/ 23 h 1131"/>
                <a:gd name="T14" fmla="*/ 818 w 818"/>
                <a:gd name="T15" fmla="*/ 1108 h 1131"/>
                <a:gd name="T16" fmla="*/ 795 w 818"/>
                <a:gd name="T17" fmla="*/ 1131 h 1131"/>
                <a:gd name="T18" fmla="*/ 23 w 818"/>
                <a:gd name="T19" fmla="*/ 1 h 1131"/>
                <a:gd name="T20" fmla="*/ 1 w 818"/>
                <a:gd name="T21" fmla="*/ 23 h 1131"/>
                <a:gd name="T22" fmla="*/ 1 w 818"/>
                <a:gd name="T23" fmla="*/ 1108 h 1131"/>
                <a:gd name="T24" fmla="*/ 23 w 818"/>
                <a:gd name="T25" fmla="*/ 1130 h 1131"/>
                <a:gd name="T26" fmla="*/ 795 w 818"/>
                <a:gd name="T27" fmla="*/ 1130 h 1131"/>
                <a:gd name="T28" fmla="*/ 817 w 818"/>
                <a:gd name="T29" fmla="*/ 1108 h 1131"/>
                <a:gd name="T30" fmla="*/ 817 w 818"/>
                <a:gd name="T31" fmla="*/ 23 h 1131"/>
                <a:gd name="T32" fmla="*/ 795 w 818"/>
                <a:gd name="T33" fmla="*/ 1 h 1131"/>
                <a:gd name="T34" fmla="*/ 23 w 818"/>
                <a:gd name="T3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8" h="1131">
                  <a:moveTo>
                    <a:pt x="795" y="1131"/>
                  </a:moveTo>
                  <a:cubicBezTo>
                    <a:pt x="23" y="1131"/>
                    <a:pt x="23" y="1131"/>
                    <a:pt x="23" y="1131"/>
                  </a:cubicBezTo>
                  <a:cubicBezTo>
                    <a:pt x="10" y="1131"/>
                    <a:pt x="0" y="1121"/>
                    <a:pt x="0" y="1108"/>
                  </a:cubicBezTo>
                  <a:cubicBezTo>
                    <a:pt x="0" y="23"/>
                    <a:pt x="0" y="23"/>
                    <a:pt x="0" y="23"/>
                  </a:cubicBezTo>
                  <a:cubicBezTo>
                    <a:pt x="0" y="10"/>
                    <a:pt x="10" y="0"/>
                    <a:pt x="23" y="0"/>
                  </a:cubicBezTo>
                  <a:cubicBezTo>
                    <a:pt x="795" y="0"/>
                    <a:pt x="795" y="0"/>
                    <a:pt x="795" y="0"/>
                  </a:cubicBezTo>
                  <a:cubicBezTo>
                    <a:pt x="808" y="0"/>
                    <a:pt x="818" y="10"/>
                    <a:pt x="818" y="23"/>
                  </a:cubicBezTo>
                  <a:cubicBezTo>
                    <a:pt x="818" y="1108"/>
                    <a:pt x="818" y="1108"/>
                    <a:pt x="818" y="1108"/>
                  </a:cubicBezTo>
                  <a:cubicBezTo>
                    <a:pt x="818" y="1121"/>
                    <a:pt x="808" y="1131"/>
                    <a:pt x="795" y="1131"/>
                  </a:cubicBezTo>
                  <a:moveTo>
                    <a:pt x="23" y="1"/>
                  </a:moveTo>
                  <a:cubicBezTo>
                    <a:pt x="11" y="1"/>
                    <a:pt x="1" y="11"/>
                    <a:pt x="1" y="23"/>
                  </a:cubicBezTo>
                  <a:cubicBezTo>
                    <a:pt x="1" y="1108"/>
                    <a:pt x="1" y="1108"/>
                    <a:pt x="1" y="1108"/>
                  </a:cubicBezTo>
                  <a:cubicBezTo>
                    <a:pt x="1" y="1120"/>
                    <a:pt x="11" y="1130"/>
                    <a:pt x="23" y="1130"/>
                  </a:cubicBezTo>
                  <a:cubicBezTo>
                    <a:pt x="795" y="1130"/>
                    <a:pt x="795" y="1130"/>
                    <a:pt x="795" y="1130"/>
                  </a:cubicBezTo>
                  <a:cubicBezTo>
                    <a:pt x="807" y="1130"/>
                    <a:pt x="817" y="1120"/>
                    <a:pt x="817" y="1108"/>
                  </a:cubicBezTo>
                  <a:cubicBezTo>
                    <a:pt x="817" y="23"/>
                    <a:pt x="817" y="23"/>
                    <a:pt x="817" y="23"/>
                  </a:cubicBezTo>
                  <a:cubicBezTo>
                    <a:pt x="817" y="11"/>
                    <a:pt x="807" y="1"/>
                    <a:pt x="795" y="1"/>
                  </a:cubicBezTo>
                  <a:cubicBezTo>
                    <a:pt x="23" y="1"/>
                    <a:pt x="23" y="1"/>
                    <a:pt x="23" y="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5" name="ísḻíḓé">
              <a:extLst>
                <a:ext uri="{FF2B5EF4-FFF2-40B4-BE49-F238E27FC236}">
                  <a16:creationId xmlns:a16="http://schemas.microsoft.com/office/drawing/2014/main" id="{3A66D2AA-199D-4CD4-BD7D-6836EEB10F0A}"/>
                </a:ext>
              </a:extLst>
            </p:cNvPr>
            <p:cNvSpPr/>
            <p:nvPr/>
          </p:nvSpPr>
          <p:spPr bwMode="auto">
            <a:xfrm>
              <a:off x="4568588" y="1819673"/>
              <a:ext cx="3090488" cy="123374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6" name="iṧlíḋè">
              <a:extLst>
                <a:ext uri="{FF2B5EF4-FFF2-40B4-BE49-F238E27FC236}">
                  <a16:creationId xmlns:a16="http://schemas.microsoft.com/office/drawing/2014/main" id="{208024E0-9AA5-4DF5-ABD9-762CD3DE4EEA}"/>
                </a:ext>
              </a:extLst>
            </p:cNvPr>
            <p:cNvSpPr/>
            <p:nvPr/>
          </p:nvSpPr>
          <p:spPr bwMode="auto">
            <a:xfrm>
              <a:off x="4568588" y="1819673"/>
              <a:ext cx="3090488" cy="1233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7" name="išḷíḓé">
              <a:extLst>
                <a:ext uri="{FF2B5EF4-FFF2-40B4-BE49-F238E27FC236}">
                  <a16:creationId xmlns:a16="http://schemas.microsoft.com/office/drawing/2014/main" id="{4A36FCBF-9615-4A7B-8F79-D84E7E86CB8D}"/>
                </a:ext>
              </a:extLst>
            </p:cNvPr>
            <p:cNvSpPr/>
            <p:nvPr/>
          </p:nvSpPr>
          <p:spPr bwMode="auto">
            <a:xfrm>
              <a:off x="4531811" y="1819673"/>
              <a:ext cx="36779" cy="1233743"/>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8" name="íṩlíḍé">
              <a:extLst>
                <a:ext uri="{FF2B5EF4-FFF2-40B4-BE49-F238E27FC236}">
                  <a16:creationId xmlns:a16="http://schemas.microsoft.com/office/drawing/2014/main" id="{3F0506FC-5836-48F6-B1A1-56DA0E96F11F}"/>
                </a:ext>
              </a:extLst>
            </p:cNvPr>
            <p:cNvSpPr/>
            <p:nvPr/>
          </p:nvSpPr>
          <p:spPr bwMode="auto">
            <a:xfrm>
              <a:off x="4680038" y="1931123"/>
              <a:ext cx="2868704" cy="10108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9" name="iş1iḍè">
              <a:extLst>
                <a:ext uri="{FF2B5EF4-FFF2-40B4-BE49-F238E27FC236}">
                  <a16:creationId xmlns:a16="http://schemas.microsoft.com/office/drawing/2014/main" id="{9CE854A1-AF07-4B7E-B801-3CBB7E57A485}"/>
                </a:ext>
              </a:extLst>
            </p:cNvPr>
            <p:cNvSpPr/>
            <p:nvPr/>
          </p:nvSpPr>
          <p:spPr bwMode="auto">
            <a:xfrm>
              <a:off x="4680038" y="1931123"/>
              <a:ext cx="2868704" cy="101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0" name="îṣḻïdê">
              <a:extLst>
                <a:ext uri="{FF2B5EF4-FFF2-40B4-BE49-F238E27FC236}">
                  <a16:creationId xmlns:a16="http://schemas.microsoft.com/office/drawing/2014/main" id="{838A6065-0B99-497C-AF58-9C554F5C6358}"/>
                </a:ext>
              </a:extLst>
            </p:cNvPr>
            <p:cNvSpPr/>
            <p:nvPr/>
          </p:nvSpPr>
          <p:spPr bwMode="auto">
            <a:xfrm>
              <a:off x="6601423" y="1931123"/>
              <a:ext cx="624116" cy="1010845"/>
            </a:xfrm>
            <a:custGeom>
              <a:avLst/>
              <a:gdLst>
                <a:gd name="T0" fmla="*/ 0 w 560"/>
                <a:gd name="T1" fmla="*/ 907 h 907"/>
                <a:gd name="T2" fmla="*/ 144 w 560"/>
                <a:gd name="T3" fmla="*/ 907 h 907"/>
                <a:gd name="T4" fmla="*/ 560 w 560"/>
                <a:gd name="T5" fmla="*/ 0 h 907"/>
                <a:gd name="T6" fmla="*/ 415 w 560"/>
                <a:gd name="T7" fmla="*/ 0 h 907"/>
                <a:gd name="T8" fmla="*/ 0 w 560"/>
                <a:gd name="T9" fmla="*/ 907 h 907"/>
              </a:gdLst>
              <a:ahLst/>
              <a:cxnLst>
                <a:cxn ang="0">
                  <a:pos x="T0" y="T1"/>
                </a:cxn>
                <a:cxn ang="0">
                  <a:pos x="T2" y="T3"/>
                </a:cxn>
                <a:cxn ang="0">
                  <a:pos x="T4" y="T5"/>
                </a:cxn>
                <a:cxn ang="0">
                  <a:pos x="T6" y="T7"/>
                </a:cxn>
                <a:cxn ang="0">
                  <a:pos x="T8" y="T9"/>
                </a:cxn>
              </a:cxnLst>
              <a:rect l="0" t="0" r="r" b="b"/>
              <a:pathLst>
                <a:path w="560" h="907">
                  <a:moveTo>
                    <a:pt x="0" y="907"/>
                  </a:moveTo>
                  <a:lnTo>
                    <a:pt x="144" y="907"/>
                  </a:lnTo>
                  <a:lnTo>
                    <a:pt x="560" y="0"/>
                  </a:lnTo>
                  <a:lnTo>
                    <a:pt x="415" y="0"/>
                  </a:lnTo>
                  <a:lnTo>
                    <a:pt x="0" y="90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1" name="iSḷîḋé">
              <a:extLst>
                <a:ext uri="{FF2B5EF4-FFF2-40B4-BE49-F238E27FC236}">
                  <a16:creationId xmlns:a16="http://schemas.microsoft.com/office/drawing/2014/main" id="{F805BCB8-D124-4DAB-A038-F8B951147319}"/>
                </a:ext>
              </a:extLst>
            </p:cNvPr>
            <p:cNvSpPr/>
            <p:nvPr/>
          </p:nvSpPr>
          <p:spPr bwMode="auto">
            <a:xfrm>
              <a:off x="6372952" y="1931123"/>
              <a:ext cx="625231" cy="1010845"/>
            </a:xfrm>
            <a:custGeom>
              <a:avLst/>
              <a:gdLst>
                <a:gd name="T0" fmla="*/ 0 w 561"/>
                <a:gd name="T1" fmla="*/ 907 h 907"/>
                <a:gd name="T2" fmla="*/ 145 w 561"/>
                <a:gd name="T3" fmla="*/ 907 h 907"/>
                <a:gd name="T4" fmla="*/ 561 w 561"/>
                <a:gd name="T5" fmla="*/ 0 h 907"/>
                <a:gd name="T6" fmla="*/ 416 w 561"/>
                <a:gd name="T7" fmla="*/ 0 h 907"/>
                <a:gd name="T8" fmla="*/ 0 w 561"/>
                <a:gd name="T9" fmla="*/ 907 h 907"/>
              </a:gdLst>
              <a:ahLst/>
              <a:cxnLst>
                <a:cxn ang="0">
                  <a:pos x="T0" y="T1"/>
                </a:cxn>
                <a:cxn ang="0">
                  <a:pos x="T2" y="T3"/>
                </a:cxn>
                <a:cxn ang="0">
                  <a:pos x="T4" y="T5"/>
                </a:cxn>
                <a:cxn ang="0">
                  <a:pos x="T6" y="T7"/>
                </a:cxn>
                <a:cxn ang="0">
                  <a:pos x="T8" y="T9"/>
                </a:cxn>
              </a:cxnLst>
              <a:rect l="0" t="0" r="r" b="b"/>
              <a:pathLst>
                <a:path w="561" h="907">
                  <a:moveTo>
                    <a:pt x="0" y="907"/>
                  </a:moveTo>
                  <a:lnTo>
                    <a:pt x="145" y="907"/>
                  </a:lnTo>
                  <a:lnTo>
                    <a:pt x="561" y="0"/>
                  </a:lnTo>
                  <a:lnTo>
                    <a:pt x="416" y="0"/>
                  </a:lnTo>
                  <a:lnTo>
                    <a:pt x="0" y="90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2" name="íṧľidè">
              <a:extLst>
                <a:ext uri="{FF2B5EF4-FFF2-40B4-BE49-F238E27FC236}">
                  <a16:creationId xmlns:a16="http://schemas.microsoft.com/office/drawing/2014/main" id="{EACE52FF-B6D5-4552-8ED0-EAA367031D70}"/>
                </a:ext>
              </a:extLst>
            </p:cNvPr>
            <p:cNvSpPr/>
            <p:nvPr/>
          </p:nvSpPr>
          <p:spPr bwMode="auto">
            <a:xfrm>
              <a:off x="6372952" y="1931123"/>
              <a:ext cx="625231" cy="1010845"/>
            </a:xfrm>
            <a:custGeom>
              <a:avLst/>
              <a:gdLst>
                <a:gd name="T0" fmla="*/ 0 w 561"/>
                <a:gd name="T1" fmla="*/ 907 h 907"/>
                <a:gd name="T2" fmla="*/ 145 w 561"/>
                <a:gd name="T3" fmla="*/ 907 h 907"/>
                <a:gd name="T4" fmla="*/ 561 w 561"/>
                <a:gd name="T5" fmla="*/ 0 h 907"/>
                <a:gd name="T6" fmla="*/ 416 w 561"/>
                <a:gd name="T7" fmla="*/ 0 h 907"/>
                <a:gd name="T8" fmla="*/ 0 w 561"/>
                <a:gd name="T9" fmla="*/ 907 h 907"/>
              </a:gdLst>
              <a:ahLst/>
              <a:cxnLst>
                <a:cxn ang="0">
                  <a:pos x="T0" y="T1"/>
                </a:cxn>
                <a:cxn ang="0">
                  <a:pos x="T2" y="T3"/>
                </a:cxn>
                <a:cxn ang="0">
                  <a:pos x="T4" y="T5"/>
                </a:cxn>
                <a:cxn ang="0">
                  <a:pos x="T6" y="T7"/>
                </a:cxn>
                <a:cxn ang="0">
                  <a:pos x="T8" y="T9"/>
                </a:cxn>
              </a:cxnLst>
              <a:rect l="0" t="0" r="r" b="b"/>
              <a:pathLst>
                <a:path w="561" h="907">
                  <a:moveTo>
                    <a:pt x="0" y="907"/>
                  </a:moveTo>
                  <a:lnTo>
                    <a:pt x="145" y="907"/>
                  </a:lnTo>
                  <a:lnTo>
                    <a:pt x="561" y="0"/>
                  </a:lnTo>
                  <a:lnTo>
                    <a:pt x="416" y="0"/>
                  </a:lnTo>
                  <a:lnTo>
                    <a:pt x="0" y="9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3" name="işḷïḋê">
              <a:extLst>
                <a:ext uri="{FF2B5EF4-FFF2-40B4-BE49-F238E27FC236}">
                  <a16:creationId xmlns:a16="http://schemas.microsoft.com/office/drawing/2014/main" id="{16D7DED3-ADCB-488B-B51B-0D65E8EAA870}"/>
                </a:ext>
              </a:extLst>
            </p:cNvPr>
            <p:cNvSpPr/>
            <p:nvPr/>
          </p:nvSpPr>
          <p:spPr bwMode="auto">
            <a:xfrm>
              <a:off x="4878417" y="1931123"/>
              <a:ext cx="627460" cy="1010845"/>
            </a:xfrm>
            <a:custGeom>
              <a:avLst/>
              <a:gdLst>
                <a:gd name="T0" fmla="*/ 0 w 563"/>
                <a:gd name="T1" fmla="*/ 907 h 907"/>
                <a:gd name="T2" fmla="*/ 145 w 563"/>
                <a:gd name="T3" fmla="*/ 907 h 907"/>
                <a:gd name="T4" fmla="*/ 563 w 563"/>
                <a:gd name="T5" fmla="*/ 0 h 907"/>
                <a:gd name="T6" fmla="*/ 418 w 563"/>
                <a:gd name="T7" fmla="*/ 0 h 907"/>
                <a:gd name="T8" fmla="*/ 0 w 563"/>
                <a:gd name="T9" fmla="*/ 907 h 907"/>
              </a:gdLst>
              <a:ahLst/>
              <a:cxnLst>
                <a:cxn ang="0">
                  <a:pos x="T0" y="T1"/>
                </a:cxn>
                <a:cxn ang="0">
                  <a:pos x="T2" y="T3"/>
                </a:cxn>
                <a:cxn ang="0">
                  <a:pos x="T4" y="T5"/>
                </a:cxn>
                <a:cxn ang="0">
                  <a:pos x="T6" y="T7"/>
                </a:cxn>
                <a:cxn ang="0">
                  <a:pos x="T8" y="T9"/>
                </a:cxn>
              </a:cxnLst>
              <a:rect l="0" t="0" r="r" b="b"/>
              <a:pathLst>
                <a:path w="563" h="907">
                  <a:moveTo>
                    <a:pt x="0" y="907"/>
                  </a:moveTo>
                  <a:lnTo>
                    <a:pt x="145" y="907"/>
                  </a:lnTo>
                  <a:lnTo>
                    <a:pt x="563" y="0"/>
                  </a:lnTo>
                  <a:lnTo>
                    <a:pt x="418" y="0"/>
                  </a:lnTo>
                  <a:lnTo>
                    <a:pt x="0" y="90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4" name="ïşļídê">
              <a:extLst>
                <a:ext uri="{FF2B5EF4-FFF2-40B4-BE49-F238E27FC236}">
                  <a16:creationId xmlns:a16="http://schemas.microsoft.com/office/drawing/2014/main" id="{5F2B9C4D-2028-4358-AADC-E25F854FA6E6}"/>
                </a:ext>
              </a:extLst>
            </p:cNvPr>
            <p:cNvSpPr/>
            <p:nvPr/>
          </p:nvSpPr>
          <p:spPr bwMode="auto">
            <a:xfrm>
              <a:off x="7016014" y="3486954"/>
              <a:ext cx="945090" cy="1437695"/>
            </a:xfrm>
            <a:custGeom>
              <a:avLst/>
              <a:gdLst>
                <a:gd name="T0" fmla="*/ 848 w 848"/>
                <a:gd name="T1" fmla="*/ 1290 h 1290"/>
                <a:gd name="T2" fmla="*/ 69 w 848"/>
                <a:gd name="T3" fmla="*/ 1290 h 1290"/>
                <a:gd name="T4" fmla="*/ 0 w 848"/>
                <a:gd name="T5" fmla="*/ 0 h 1290"/>
                <a:gd name="T6" fmla="*/ 779 w 848"/>
                <a:gd name="T7" fmla="*/ 0 h 1290"/>
                <a:gd name="T8" fmla="*/ 848 w 848"/>
                <a:gd name="T9" fmla="*/ 1290 h 1290"/>
              </a:gdLst>
              <a:ahLst/>
              <a:cxnLst>
                <a:cxn ang="0">
                  <a:pos x="T0" y="T1"/>
                </a:cxn>
                <a:cxn ang="0">
                  <a:pos x="T2" y="T3"/>
                </a:cxn>
                <a:cxn ang="0">
                  <a:pos x="T4" y="T5"/>
                </a:cxn>
                <a:cxn ang="0">
                  <a:pos x="T6" y="T7"/>
                </a:cxn>
                <a:cxn ang="0">
                  <a:pos x="T8" y="T9"/>
                </a:cxn>
              </a:cxnLst>
              <a:rect l="0" t="0" r="r" b="b"/>
              <a:pathLst>
                <a:path w="848" h="1290">
                  <a:moveTo>
                    <a:pt x="848" y="1290"/>
                  </a:moveTo>
                  <a:lnTo>
                    <a:pt x="69" y="1290"/>
                  </a:lnTo>
                  <a:lnTo>
                    <a:pt x="0" y="0"/>
                  </a:lnTo>
                  <a:lnTo>
                    <a:pt x="779" y="0"/>
                  </a:lnTo>
                  <a:lnTo>
                    <a:pt x="848" y="129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5" name="íSlïḓé">
              <a:extLst>
                <a:ext uri="{FF2B5EF4-FFF2-40B4-BE49-F238E27FC236}">
                  <a16:creationId xmlns:a16="http://schemas.microsoft.com/office/drawing/2014/main" id="{40C9FCE4-1923-4504-A69F-C1F5F8FDB69F}"/>
                </a:ext>
              </a:extLst>
            </p:cNvPr>
            <p:cNvSpPr/>
            <p:nvPr/>
          </p:nvSpPr>
          <p:spPr bwMode="auto">
            <a:xfrm>
              <a:off x="7016014" y="3486954"/>
              <a:ext cx="945090" cy="1437695"/>
            </a:xfrm>
            <a:custGeom>
              <a:avLst/>
              <a:gdLst>
                <a:gd name="T0" fmla="*/ 848 w 848"/>
                <a:gd name="T1" fmla="*/ 1290 h 1290"/>
                <a:gd name="T2" fmla="*/ 69 w 848"/>
                <a:gd name="T3" fmla="*/ 1290 h 1290"/>
                <a:gd name="T4" fmla="*/ 0 w 848"/>
                <a:gd name="T5" fmla="*/ 0 h 1290"/>
                <a:gd name="T6" fmla="*/ 779 w 848"/>
                <a:gd name="T7" fmla="*/ 0 h 1290"/>
                <a:gd name="T8" fmla="*/ 848 w 848"/>
                <a:gd name="T9" fmla="*/ 1290 h 1290"/>
              </a:gdLst>
              <a:ahLst/>
              <a:cxnLst>
                <a:cxn ang="0">
                  <a:pos x="T0" y="T1"/>
                </a:cxn>
                <a:cxn ang="0">
                  <a:pos x="T2" y="T3"/>
                </a:cxn>
                <a:cxn ang="0">
                  <a:pos x="T4" y="T5"/>
                </a:cxn>
                <a:cxn ang="0">
                  <a:pos x="T6" y="T7"/>
                </a:cxn>
                <a:cxn ang="0">
                  <a:pos x="T8" y="T9"/>
                </a:cxn>
              </a:cxnLst>
              <a:rect l="0" t="0" r="r" b="b"/>
              <a:pathLst>
                <a:path w="848" h="1290">
                  <a:moveTo>
                    <a:pt x="848" y="1290"/>
                  </a:moveTo>
                  <a:lnTo>
                    <a:pt x="69" y="1290"/>
                  </a:lnTo>
                  <a:lnTo>
                    <a:pt x="0" y="0"/>
                  </a:lnTo>
                  <a:lnTo>
                    <a:pt x="779" y="0"/>
                  </a:lnTo>
                  <a:lnTo>
                    <a:pt x="848" y="12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6" name="í$ḷïḍé">
              <a:extLst>
                <a:ext uri="{FF2B5EF4-FFF2-40B4-BE49-F238E27FC236}">
                  <a16:creationId xmlns:a16="http://schemas.microsoft.com/office/drawing/2014/main" id="{F98989B8-29DD-49EA-A620-31C2D5BA7D71}"/>
                </a:ext>
              </a:extLst>
            </p:cNvPr>
            <p:cNvSpPr/>
            <p:nvPr/>
          </p:nvSpPr>
          <p:spPr bwMode="auto">
            <a:xfrm>
              <a:off x="7042762" y="3486954"/>
              <a:ext cx="947319" cy="1437695"/>
            </a:xfrm>
            <a:custGeom>
              <a:avLst/>
              <a:gdLst>
                <a:gd name="T0" fmla="*/ 850 w 850"/>
                <a:gd name="T1" fmla="*/ 1290 h 1290"/>
                <a:gd name="T2" fmla="*/ 69 w 850"/>
                <a:gd name="T3" fmla="*/ 1290 h 1290"/>
                <a:gd name="T4" fmla="*/ 0 w 850"/>
                <a:gd name="T5" fmla="*/ 0 h 1290"/>
                <a:gd name="T6" fmla="*/ 779 w 850"/>
                <a:gd name="T7" fmla="*/ 0 h 1290"/>
                <a:gd name="T8" fmla="*/ 850 w 850"/>
                <a:gd name="T9" fmla="*/ 1290 h 1290"/>
              </a:gdLst>
              <a:ahLst/>
              <a:cxnLst>
                <a:cxn ang="0">
                  <a:pos x="T0" y="T1"/>
                </a:cxn>
                <a:cxn ang="0">
                  <a:pos x="T2" y="T3"/>
                </a:cxn>
                <a:cxn ang="0">
                  <a:pos x="T4" y="T5"/>
                </a:cxn>
                <a:cxn ang="0">
                  <a:pos x="T6" y="T7"/>
                </a:cxn>
                <a:cxn ang="0">
                  <a:pos x="T8" y="T9"/>
                </a:cxn>
              </a:cxnLst>
              <a:rect l="0" t="0" r="r" b="b"/>
              <a:pathLst>
                <a:path w="850" h="1290">
                  <a:moveTo>
                    <a:pt x="850" y="1290"/>
                  </a:moveTo>
                  <a:lnTo>
                    <a:pt x="69" y="1290"/>
                  </a:lnTo>
                  <a:lnTo>
                    <a:pt x="0" y="0"/>
                  </a:lnTo>
                  <a:lnTo>
                    <a:pt x="779" y="0"/>
                  </a:lnTo>
                  <a:lnTo>
                    <a:pt x="850" y="1290"/>
                  </a:ln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7" name="ïŝlîḋé">
              <a:extLst>
                <a:ext uri="{FF2B5EF4-FFF2-40B4-BE49-F238E27FC236}">
                  <a16:creationId xmlns:a16="http://schemas.microsoft.com/office/drawing/2014/main" id="{81984F5D-CD1E-49E0-A7E9-6237F8765718}"/>
                </a:ext>
              </a:extLst>
            </p:cNvPr>
            <p:cNvSpPr/>
            <p:nvPr/>
          </p:nvSpPr>
          <p:spPr bwMode="auto">
            <a:xfrm>
              <a:off x="7042762" y="3486954"/>
              <a:ext cx="947319" cy="1437695"/>
            </a:xfrm>
            <a:custGeom>
              <a:avLst/>
              <a:gdLst>
                <a:gd name="T0" fmla="*/ 850 w 850"/>
                <a:gd name="T1" fmla="*/ 1290 h 1290"/>
                <a:gd name="T2" fmla="*/ 69 w 850"/>
                <a:gd name="T3" fmla="*/ 1290 h 1290"/>
                <a:gd name="T4" fmla="*/ 0 w 850"/>
                <a:gd name="T5" fmla="*/ 0 h 1290"/>
                <a:gd name="T6" fmla="*/ 779 w 850"/>
                <a:gd name="T7" fmla="*/ 0 h 1290"/>
                <a:gd name="T8" fmla="*/ 850 w 850"/>
                <a:gd name="T9" fmla="*/ 1290 h 1290"/>
              </a:gdLst>
              <a:ahLst/>
              <a:cxnLst>
                <a:cxn ang="0">
                  <a:pos x="T0" y="T1"/>
                </a:cxn>
                <a:cxn ang="0">
                  <a:pos x="T2" y="T3"/>
                </a:cxn>
                <a:cxn ang="0">
                  <a:pos x="T4" y="T5"/>
                </a:cxn>
                <a:cxn ang="0">
                  <a:pos x="T6" y="T7"/>
                </a:cxn>
                <a:cxn ang="0">
                  <a:pos x="T8" y="T9"/>
                </a:cxn>
              </a:cxnLst>
              <a:rect l="0" t="0" r="r" b="b"/>
              <a:pathLst>
                <a:path w="850" h="1290">
                  <a:moveTo>
                    <a:pt x="850" y="1290"/>
                  </a:moveTo>
                  <a:lnTo>
                    <a:pt x="69" y="1290"/>
                  </a:lnTo>
                  <a:lnTo>
                    <a:pt x="0" y="0"/>
                  </a:lnTo>
                  <a:lnTo>
                    <a:pt x="779" y="0"/>
                  </a:lnTo>
                  <a:lnTo>
                    <a:pt x="850" y="12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8" name="işḷïďé">
              <a:extLst>
                <a:ext uri="{FF2B5EF4-FFF2-40B4-BE49-F238E27FC236}">
                  <a16:creationId xmlns:a16="http://schemas.microsoft.com/office/drawing/2014/main" id="{396FCCDC-79E0-4058-9B8F-7981FB272F9F}"/>
                </a:ext>
              </a:extLst>
            </p:cNvPr>
            <p:cNvSpPr/>
            <p:nvPr/>
          </p:nvSpPr>
          <p:spPr bwMode="auto">
            <a:xfrm>
              <a:off x="7458468" y="3635181"/>
              <a:ext cx="115907" cy="1141240"/>
            </a:xfrm>
            <a:custGeom>
              <a:avLst/>
              <a:gdLst>
                <a:gd name="T0" fmla="*/ 21 w 44"/>
                <a:gd name="T1" fmla="*/ 431 h 431"/>
                <a:gd name="T2" fmla="*/ 8 w 44"/>
                <a:gd name="T3" fmla="*/ 431 h 431"/>
                <a:gd name="T4" fmla="*/ 0 w 44"/>
                <a:gd name="T5" fmla="*/ 422 h 431"/>
                <a:gd name="T6" fmla="*/ 14 w 44"/>
                <a:gd name="T7" fmla="*/ 8 h 431"/>
                <a:gd name="T8" fmla="*/ 23 w 44"/>
                <a:gd name="T9" fmla="*/ 0 h 431"/>
                <a:gd name="T10" fmla="*/ 35 w 44"/>
                <a:gd name="T11" fmla="*/ 0 h 431"/>
                <a:gd name="T12" fmla="*/ 44 w 44"/>
                <a:gd name="T13" fmla="*/ 9 h 431"/>
                <a:gd name="T14" fmla="*/ 29 w 44"/>
                <a:gd name="T15" fmla="*/ 422 h 431"/>
                <a:gd name="T16" fmla="*/ 21 w 44"/>
                <a:gd name="T17"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31">
                  <a:moveTo>
                    <a:pt x="21" y="431"/>
                  </a:moveTo>
                  <a:cubicBezTo>
                    <a:pt x="8" y="431"/>
                    <a:pt x="8" y="431"/>
                    <a:pt x="8" y="431"/>
                  </a:cubicBezTo>
                  <a:cubicBezTo>
                    <a:pt x="4" y="431"/>
                    <a:pt x="0" y="427"/>
                    <a:pt x="0" y="422"/>
                  </a:cubicBezTo>
                  <a:cubicBezTo>
                    <a:pt x="14" y="8"/>
                    <a:pt x="14" y="8"/>
                    <a:pt x="14" y="8"/>
                  </a:cubicBezTo>
                  <a:cubicBezTo>
                    <a:pt x="15" y="3"/>
                    <a:pt x="18" y="0"/>
                    <a:pt x="23" y="0"/>
                  </a:cubicBezTo>
                  <a:cubicBezTo>
                    <a:pt x="35" y="0"/>
                    <a:pt x="35" y="0"/>
                    <a:pt x="35" y="0"/>
                  </a:cubicBezTo>
                  <a:cubicBezTo>
                    <a:pt x="40" y="0"/>
                    <a:pt x="44" y="4"/>
                    <a:pt x="44" y="9"/>
                  </a:cubicBezTo>
                  <a:cubicBezTo>
                    <a:pt x="29" y="422"/>
                    <a:pt x="29" y="422"/>
                    <a:pt x="29" y="422"/>
                  </a:cubicBezTo>
                  <a:cubicBezTo>
                    <a:pt x="29" y="427"/>
                    <a:pt x="25" y="431"/>
                    <a:pt x="21" y="43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9" name="îŝliďe">
              <a:extLst>
                <a:ext uri="{FF2B5EF4-FFF2-40B4-BE49-F238E27FC236}">
                  <a16:creationId xmlns:a16="http://schemas.microsoft.com/office/drawing/2014/main" id="{D2F85217-21BC-4F63-ACE8-2F54913BA86E}"/>
                </a:ext>
              </a:extLst>
            </p:cNvPr>
            <p:cNvSpPr/>
            <p:nvPr/>
          </p:nvSpPr>
          <p:spPr bwMode="auto">
            <a:xfrm>
              <a:off x="7662419" y="3635181"/>
              <a:ext cx="115907" cy="1141240"/>
            </a:xfrm>
            <a:custGeom>
              <a:avLst/>
              <a:gdLst>
                <a:gd name="T0" fmla="*/ 21 w 44"/>
                <a:gd name="T1" fmla="*/ 431 h 431"/>
                <a:gd name="T2" fmla="*/ 9 w 44"/>
                <a:gd name="T3" fmla="*/ 431 h 431"/>
                <a:gd name="T4" fmla="*/ 0 w 44"/>
                <a:gd name="T5" fmla="*/ 422 h 431"/>
                <a:gd name="T6" fmla="*/ 15 w 44"/>
                <a:gd name="T7" fmla="*/ 8 h 431"/>
                <a:gd name="T8" fmla="*/ 24 w 44"/>
                <a:gd name="T9" fmla="*/ 0 h 431"/>
                <a:gd name="T10" fmla="*/ 36 w 44"/>
                <a:gd name="T11" fmla="*/ 0 h 431"/>
                <a:gd name="T12" fmla="*/ 44 w 44"/>
                <a:gd name="T13" fmla="*/ 9 h 431"/>
                <a:gd name="T14" fmla="*/ 30 w 44"/>
                <a:gd name="T15" fmla="*/ 422 h 431"/>
                <a:gd name="T16" fmla="*/ 21 w 44"/>
                <a:gd name="T17"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31">
                  <a:moveTo>
                    <a:pt x="21" y="431"/>
                  </a:moveTo>
                  <a:cubicBezTo>
                    <a:pt x="9" y="431"/>
                    <a:pt x="9" y="431"/>
                    <a:pt x="9" y="431"/>
                  </a:cubicBezTo>
                  <a:cubicBezTo>
                    <a:pt x="4" y="431"/>
                    <a:pt x="0" y="427"/>
                    <a:pt x="0" y="422"/>
                  </a:cubicBezTo>
                  <a:cubicBezTo>
                    <a:pt x="15" y="8"/>
                    <a:pt x="15" y="8"/>
                    <a:pt x="15" y="8"/>
                  </a:cubicBezTo>
                  <a:cubicBezTo>
                    <a:pt x="15" y="3"/>
                    <a:pt x="19" y="0"/>
                    <a:pt x="24" y="0"/>
                  </a:cubicBezTo>
                  <a:cubicBezTo>
                    <a:pt x="36" y="0"/>
                    <a:pt x="36" y="0"/>
                    <a:pt x="36" y="0"/>
                  </a:cubicBezTo>
                  <a:cubicBezTo>
                    <a:pt x="40" y="0"/>
                    <a:pt x="44" y="4"/>
                    <a:pt x="44" y="9"/>
                  </a:cubicBezTo>
                  <a:cubicBezTo>
                    <a:pt x="30" y="422"/>
                    <a:pt x="30" y="422"/>
                    <a:pt x="30" y="422"/>
                  </a:cubicBezTo>
                  <a:cubicBezTo>
                    <a:pt x="30" y="427"/>
                    <a:pt x="26" y="431"/>
                    <a:pt x="21" y="43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0" name="iŝḻïḋe">
              <a:extLst>
                <a:ext uri="{FF2B5EF4-FFF2-40B4-BE49-F238E27FC236}">
                  <a16:creationId xmlns:a16="http://schemas.microsoft.com/office/drawing/2014/main" id="{D1A45A56-66E8-4711-8C79-F3ACDF29BD46}"/>
                </a:ext>
              </a:extLst>
            </p:cNvPr>
            <p:cNvSpPr/>
            <p:nvPr/>
          </p:nvSpPr>
          <p:spPr bwMode="auto">
            <a:xfrm>
              <a:off x="7252286" y="3635181"/>
              <a:ext cx="115907" cy="1141240"/>
            </a:xfrm>
            <a:custGeom>
              <a:avLst/>
              <a:gdLst>
                <a:gd name="T0" fmla="*/ 21 w 44"/>
                <a:gd name="T1" fmla="*/ 431 h 431"/>
                <a:gd name="T2" fmla="*/ 9 w 44"/>
                <a:gd name="T3" fmla="*/ 431 h 431"/>
                <a:gd name="T4" fmla="*/ 0 w 44"/>
                <a:gd name="T5" fmla="*/ 422 h 431"/>
                <a:gd name="T6" fmla="*/ 15 w 44"/>
                <a:gd name="T7" fmla="*/ 8 h 431"/>
                <a:gd name="T8" fmla="*/ 23 w 44"/>
                <a:gd name="T9" fmla="*/ 0 h 431"/>
                <a:gd name="T10" fmla="*/ 35 w 44"/>
                <a:gd name="T11" fmla="*/ 0 h 431"/>
                <a:gd name="T12" fmla="*/ 44 w 44"/>
                <a:gd name="T13" fmla="*/ 9 h 431"/>
                <a:gd name="T14" fmla="*/ 30 w 44"/>
                <a:gd name="T15" fmla="*/ 422 h 431"/>
                <a:gd name="T16" fmla="*/ 21 w 44"/>
                <a:gd name="T17"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31">
                  <a:moveTo>
                    <a:pt x="21" y="431"/>
                  </a:moveTo>
                  <a:cubicBezTo>
                    <a:pt x="9" y="431"/>
                    <a:pt x="9" y="431"/>
                    <a:pt x="9" y="431"/>
                  </a:cubicBezTo>
                  <a:cubicBezTo>
                    <a:pt x="4" y="431"/>
                    <a:pt x="0" y="427"/>
                    <a:pt x="0" y="422"/>
                  </a:cubicBezTo>
                  <a:cubicBezTo>
                    <a:pt x="15" y="8"/>
                    <a:pt x="15" y="8"/>
                    <a:pt x="15" y="8"/>
                  </a:cubicBezTo>
                  <a:cubicBezTo>
                    <a:pt x="15" y="3"/>
                    <a:pt x="19" y="0"/>
                    <a:pt x="23" y="0"/>
                  </a:cubicBezTo>
                  <a:cubicBezTo>
                    <a:pt x="35" y="0"/>
                    <a:pt x="35" y="0"/>
                    <a:pt x="35" y="0"/>
                  </a:cubicBezTo>
                  <a:cubicBezTo>
                    <a:pt x="40" y="0"/>
                    <a:pt x="44" y="4"/>
                    <a:pt x="44" y="9"/>
                  </a:cubicBezTo>
                  <a:cubicBezTo>
                    <a:pt x="30" y="422"/>
                    <a:pt x="30" y="422"/>
                    <a:pt x="30" y="422"/>
                  </a:cubicBezTo>
                  <a:cubicBezTo>
                    <a:pt x="29" y="427"/>
                    <a:pt x="26" y="431"/>
                    <a:pt x="21" y="43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1" name="íṡḻïḓê">
              <a:extLst>
                <a:ext uri="{FF2B5EF4-FFF2-40B4-BE49-F238E27FC236}">
                  <a16:creationId xmlns:a16="http://schemas.microsoft.com/office/drawing/2014/main" id="{0EC2FC0C-64C1-48F2-B8CF-BCC83A922714}"/>
                </a:ext>
              </a:extLst>
            </p:cNvPr>
            <p:cNvSpPr/>
            <p:nvPr/>
          </p:nvSpPr>
          <p:spPr bwMode="auto">
            <a:xfrm>
              <a:off x="4200806" y="3738829"/>
              <a:ext cx="196151" cy="112452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2" name="îśļiďé">
              <a:extLst>
                <a:ext uri="{FF2B5EF4-FFF2-40B4-BE49-F238E27FC236}">
                  <a16:creationId xmlns:a16="http://schemas.microsoft.com/office/drawing/2014/main" id="{B13B8FB3-25E2-42A1-867E-EACD61F63DF7}"/>
                </a:ext>
              </a:extLst>
            </p:cNvPr>
            <p:cNvSpPr/>
            <p:nvPr/>
          </p:nvSpPr>
          <p:spPr bwMode="auto">
            <a:xfrm>
              <a:off x="4237585" y="4863352"/>
              <a:ext cx="2159886" cy="61297"/>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3" name="î$ḷide">
              <a:extLst>
                <a:ext uri="{FF2B5EF4-FFF2-40B4-BE49-F238E27FC236}">
                  <a16:creationId xmlns:a16="http://schemas.microsoft.com/office/drawing/2014/main" id="{FB463D1A-C595-4D88-BD0C-949DC14AC117}"/>
                </a:ext>
              </a:extLst>
            </p:cNvPr>
            <p:cNvSpPr/>
            <p:nvPr/>
          </p:nvSpPr>
          <p:spPr bwMode="auto">
            <a:xfrm>
              <a:off x="4237585" y="4863352"/>
              <a:ext cx="2159886" cy="61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4" name="iṥ1ïḋe">
              <a:extLst>
                <a:ext uri="{FF2B5EF4-FFF2-40B4-BE49-F238E27FC236}">
                  <a16:creationId xmlns:a16="http://schemas.microsoft.com/office/drawing/2014/main" id="{37AF25A9-8859-445B-B94A-11C82C404466}"/>
                </a:ext>
              </a:extLst>
            </p:cNvPr>
            <p:cNvSpPr/>
            <p:nvPr/>
          </p:nvSpPr>
          <p:spPr bwMode="auto">
            <a:xfrm>
              <a:off x="4396957" y="3738829"/>
              <a:ext cx="2037292" cy="112452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5" name="íślîḑé">
              <a:extLst>
                <a:ext uri="{FF2B5EF4-FFF2-40B4-BE49-F238E27FC236}">
                  <a16:creationId xmlns:a16="http://schemas.microsoft.com/office/drawing/2014/main" id="{EFD261EC-557B-4816-AFE9-AB5EC08F8EA5}"/>
                </a:ext>
              </a:extLst>
            </p:cNvPr>
            <p:cNvSpPr/>
            <p:nvPr/>
          </p:nvSpPr>
          <p:spPr bwMode="auto">
            <a:xfrm>
              <a:off x="4396957" y="3738829"/>
              <a:ext cx="2037292" cy="1124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6" name="ïšľiḋê">
              <a:extLst>
                <a:ext uri="{FF2B5EF4-FFF2-40B4-BE49-F238E27FC236}">
                  <a16:creationId xmlns:a16="http://schemas.microsoft.com/office/drawing/2014/main" id="{BF3AF6FB-328E-418F-ADF6-1015626EF26B}"/>
                </a:ext>
              </a:extLst>
            </p:cNvPr>
            <p:cNvSpPr/>
            <p:nvPr/>
          </p:nvSpPr>
          <p:spPr bwMode="auto">
            <a:xfrm>
              <a:off x="4177402" y="3688677"/>
              <a:ext cx="200609" cy="5015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7" name="îṩlïḋé">
              <a:extLst>
                <a:ext uri="{FF2B5EF4-FFF2-40B4-BE49-F238E27FC236}">
                  <a16:creationId xmlns:a16="http://schemas.microsoft.com/office/drawing/2014/main" id="{268AF504-CA86-4DE8-AD74-D63C5648E704}"/>
                </a:ext>
              </a:extLst>
            </p:cNvPr>
            <p:cNvSpPr/>
            <p:nvPr/>
          </p:nvSpPr>
          <p:spPr bwMode="auto">
            <a:xfrm>
              <a:off x="4378011" y="3688677"/>
              <a:ext cx="2082987" cy="50153"/>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8" name="ïṥḷîḍê">
              <a:extLst>
                <a:ext uri="{FF2B5EF4-FFF2-40B4-BE49-F238E27FC236}">
                  <a16:creationId xmlns:a16="http://schemas.microsoft.com/office/drawing/2014/main" id="{C9686ACA-8480-4442-9695-2B2A05BA5239}"/>
                </a:ext>
              </a:extLst>
            </p:cNvPr>
            <p:cNvSpPr/>
            <p:nvPr/>
          </p:nvSpPr>
          <p:spPr bwMode="auto">
            <a:xfrm>
              <a:off x="4378011" y="3688677"/>
              <a:ext cx="2082987" cy="50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9" name="ísļîďê">
              <a:extLst>
                <a:ext uri="{FF2B5EF4-FFF2-40B4-BE49-F238E27FC236}">
                  <a16:creationId xmlns:a16="http://schemas.microsoft.com/office/drawing/2014/main" id="{88C3510F-9D84-44B8-8F02-A3A990EA77C6}"/>
                </a:ext>
              </a:extLst>
            </p:cNvPr>
            <p:cNvSpPr/>
            <p:nvPr/>
          </p:nvSpPr>
          <p:spPr bwMode="auto">
            <a:xfrm>
              <a:off x="4468284" y="3846935"/>
              <a:ext cx="1896866" cy="323203"/>
            </a:xfrm>
            <a:custGeom>
              <a:avLst/>
              <a:gdLst>
                <a:gd name="T0" fmla="*/ 1702 w 1702"/>
                <a:gd name="T1" fmla="*/ 290 h 290"/>
                <a:gd name="T2" fmla="*/ 0 w 1702"/>
                <a:gd name="T3" fmla="*/ 290 h 290"/>
                <a:gd name="T4" fmla="*/ 0 w 1702"/>
                <a:gd name="T5" fmla="*/ 0 h 290"/>
                <a:gd name="T6" fmla="*/ 1702 w 1702"/>
                <a:gd name="T7" fmla="*/ 0 h 290"/>
                <a:gd name="T8" fmla="*/ 1702 w 1702"/>
                <a:gd name="T9" fmla="*/ 290 h 290"/>
                <a:gd name="T10" fmla="*/ 12 w 1702"/>
                <a:gd name="T11" fmla="*/ 278 h 290"/>
                <a:gd name="T12" fmla="*/ 1690 w 1702"/>
                <a:gd name="T13" fmla="*/ 278 h 290"/>
                <a:gd name="T14" fmla="*/ 1690 w 1702"/>
                <a:gd name="T15" fmla="*/ 12 h 290"/>
                <a:gd name="T16" fmla="*/ 12 w 1702"/>
                <a:gd name="T17" fmla="*/ 12 h 290"/>
                <a:gd name="T18" fmla="*/ 12 w 1702"/>
                <a:gd name="T19" fmla="*/ 27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2" h="290">
                  <a:moveTo>
                    <a:pt x="1702" y="290"/>
                  </a:moveTo>
                  <a:lnTo>
                    <a:pt x="0" y="290"/>
                  </a:lnTo>
                  <a:lnTo>
                    <a:pt x="0" y="0"/>
                  </a:lnTo>
                  <a:lnTo>
                    <a:pt x="1702" y="0"/>
                  </a:lnTo>
                  <a:lnTo>
                    <a:pt x="1702" y="290"/>
                  </a:lnTo>
                  <a:close/>
                  <a:moveTo>
                    <a:pt x="12" y="278"/>
                  </a:moveTo>
                  <a:lnTo>
                    <a:pt x="1690" y="278"/>
                  </a:lnTo>
                  <a:lnTo>
                    <a:pt x="1690" y="12"/>
                  </a:lnTo>
                  <a:lnTo>
                    <a:pt x="12" y="12"/>
                  </a:lnTo>
                  <a:lnTo>
                    <a:pt x="12" y="27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0" name="iṣ1ïḍè">
              <a:extLst>
                <a:ext uri="{FF2B5EF4-FFF2-40B4-BE49-F238E27FC236}">
                  <a16:creationId xmlns:a16="http://schemas.microsoft.com/office/drawing/2014/main" id="{96220EC1-EE55-4456-AC8C-DD5E379CCE4D}"/>
                </a:ext>
              </a:extLst>
            </p:cNvPr>
            <p:cNvSpPr/>
            <p:nvPr/>
          </p:nvSpPr>
          <p:spPr bwMode="auto">
            <a:xfrm>
              <a:off x="4468284" y="3846935"/>
              <a:ext cx="1896866" cy="323203"/>
            </a:xfrm>
            <a:custGeom>
              <a:avLst/>
              <a:gdLst>
                <a:gd name="T0" fmla="*/ 1702 w 1702"/>
                <a:gd name="T1" fmla="*/ 290 h 290"/>
                <a:gd name="T2" fmla="*/ 0 w 1702"/>
                <a:gd name="T3" fmla="*/ 290 h 290"/>
                <a:gd name="T4" fmla="*/ 0 w 1702"/>
                <a:gd name="T5" fmla="*/ 0 h 290"/>
                <a:gd name="T6" fmla="*/ 1702 w 1702"/>
                <a:gd name="T7" fmla="*/ 0 h 290"/>
                <a:gd name="T8" fmla="*/ 1702 w 1702"/>
                <a:gd name="T9" fmla="*/ 290 h 290"/>
                <a:gd name="T10" fmla="*/ 12 w 1702"/>
                <a:gd name="T11" fmla="*/ 278 h 290"/>
                <a:gd name="T12" fmla="*/ 1690 w 1702"/>
                <a:gd name="T13" fmla="*/ 278 h 290"/>
                <a:gd name="T14" fmla="*/ 1690 w 1702"/>
                <a:gd name="T15" fmla="*/ 12 h 290"/>
                <a:gd name="T16" fmla="*/ 12 w 1702"/>
                <a:gd name="T17" fmla="*/ 12 h 290"/>
                <a:gd name="T18" fmla="*/ 12 w 1702"/>
                <a:gd name="T19" fmla="*/ 27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2" h="290">
                  <a:moveTo>
                    <a:pt x="1702" y="290"/>
                  </a:moveTo>
                  <a:lnTo>
                    <a:pt x="0" y="290"/>
                  </a:lnTo>
                  <a:lnTo>
                    <a:pt x="0" y="0"/>
                  </a:lnTo>
                  <a:lnTo>
                    <a:pt x="1702" y="0"/>
                  </a:lnTo>
                  <a:lnTo>
                    <a:pt x="1702" y="290"/>
                  </a:lnTo>
                  <a:moveTo>
                    <a:pt x="12" y="278"/>
                  </a:moveTo>
                  <a:lnTo>
                    <a:pt x="1690" y="278"/>
                  </a:lnTo>
                  <a:lnTo>
                    <a:pt x="1690" y="12"/>
                  </a:lnTo>
                  <a:lnTo>
                    <a:pt x="12" y="12"/>
                  </a:lnTo>
                  <a:lnTo>
                    <a:pt x="12" y="2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1" name="îşļïḋe">
              <a:extLst>
                <a:ext uri="{FF2B5EF4-FFF2-40B4-BE49-F238E27FC236}">
                  <a16:creationId xmlns:a16="http://schemas.microsoft.com/office/drawing/2014/main" id="{B9FF66B8-53E2-49A9-9008-7F2E4663AE4E}"/>
                </a:ext>
              </a:extLst>
            </p:cNvPr>
            <p:cNvSpPr/>
            <p:nvPr/>
          </p:nvSpPr>
          <p:spPr bwMode="auto">
            <a:xfrm>
              <a:off x="4468284" y="4247038"/>
              <a:ext cx="1896866" cy="508209"/>
            </a:xfrm>
            <a:custGeom>
              <a:avLst/>
              <a:gdLst>
                <a:gd name="T0" fmla="*/ 1702 w 1702"/>
                <a:gd name="T1" fmla="*/ 456 h 456"/>
                <a:gd name="T2" fmla="*/ 0 w 1702"/>
                <a:gd name="T3" fmla="*/ 456 h 456"/>
                <a:gd name="T4" fmla="*/ 0 w 1702"/>
                <a:gd name="T5" fmla="*/ 0 h 456"/>
                <a:gd name="T6" fmla="*/ 1702 w 1702"/>
                <a:gd name="T7" fmla="*/ 0 h 456"/>
                <a:gd name="T8" fmla="*/ 1702 w 1702"/>
                <a:gd name="T9" fmla="*/ 456 h 456"/>
                <a:gd name="T10" fmla="*/ 12 w 1702"/>
                <a:gd name="T11" fmla="*/ 444 h 456"/>
                <a:gd name="T12" fmla="*/ 1690 w 1702"/>
                <a:gd name="T13" fmla="*/ 444 h 456"/>
                <a:gd name="T14" fmla="*/ 1690 w 1702"/>
                <a:gd name="T15" fmla="*/ 12 h 456"/>
                <a:gd name="T16" fmla="*/ 12 w 1702"/>
                <a:gd name="T17" fmla="*/ 12 h 456"/>
                <a:gd name="T18" fmla="*/ 12 w 1702"/>
                <a:gd name="T19" fmla="*/ 444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2" h="456">
                  <a:moveTo>
                    <a:pt x="1702" y="456"/>
                  </a:moveTo>
                  <a:lnTo>
                    <a:pt x="0" y="456"/>
                  </a:lnTo>
                  <a:lnTo>
                    <a:pt x="0" y="0"/>
                  </a:lnTo>
                  <a:lnTo>
                    <a:pt x="1702" y="0"/>
                  </a:lnTo>
                  <a:lnTo>
                    <a:pt x="1702" y="456"/>
                  </a:lnTo>
                  <a:close/>
                  <a:moveTo>
                    <a:pt x="12" y="444"/>
                  </a:moveTo>
                  <a:lnTo>
                    <a:pt x="1690" y="444"/>
                  </a:lnTo>
                  <a:lnTo>
                    <a:pt x="1690" y="12"/>
                  </a:lnTo>
                  <a:lnTo>
                    <a:pt x="12" y="12"/>
                  </a:lnTo>
                  <a:lnTo>
                    <a:pt x="12" y="4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2" name="iṣ1ïḍé">
              <a:extLst>
                <a:ext uri="{FF2B5EF4-FFF2-40B4-BE49-F238E27FC236}">
                  <a16:creationId xmlns:a16="http://schemas.microsoft.com/office/drawing/2014/main" id="{6E460DB8-3672-4AFF-A3C0-DAB4FAD83BAF}"/>
                </a:ext>
              </a:extLst>
            </p:cNvPr>
            <p:cNvSpPr/>
            <p:nvPr/>
          </p:nvSpPr>
          <p:spPr bwMode="auto">
            <a:xfrm>
              <a:off x="4722388" y="3987361"/>
              <a:ext cx="1386429" cy="42351"/>
            </a:xfrm>
            <a:custGeom>
              <a:avLst/>
              <a:gdLst>
                <a:gd name="T0" fmla="*/ 517 w 524"/>
                <a:gd name="T1" fmla="*/ 16 h 16"/>
                <a:gd name="T2" fmla="*/ 7 w 524"/>
                <a:gd name="T3" fmla="*/ 16 h 16"/>
                <a:gd name="T4" fmla="*/ 0 w 524"/>
                <a:gd name="T5" fmla="*/ 9 h 16"/>
                <a:gd name="T6" fmla="*/ 0 w 524"/>
                <a:gd name="T7" fmla="*/ 7 h 16"/>
                <a:gd name="T8" fmla="*/ 7 w 524"/>
                <a:gd name="T9" fmla="*/ 0 h 16"/>
                <a:gd name="T10" fmla="*/ 517 w 524"/>
                <a:gd name="T11" fmla="*/ 0 h 16"/>
                <a:gd name="T12" fmla="*/ 524 w 524"/>
                <a:gd name="T13" fmla="*/ 7 h 16"/>
                <a:gd name="T14" fmla="*/ 524 w 524"/>
                <a:gd name="T15" fmla="*/ 9 h 16"/>
                <a:gd name="T16" fmla="*/ 517 w 524"/>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4" h="16">
                  <a:moveTo>
                    <a:pt x="517" y="16"/>
                  </a:moveTo>
                  <a:cubicBezTo>
                    <a:pt x="7" y="16"/>
                    <a:pt x="7" y="16"/>
                    <a:pt x="7" y="16"/>
                  </a:cubicBezTo>
                  <a:cubicBezTo>
                    <a:pt x="3" y="16"/>
                    <a:pt x="0" y="13"/>
                    <a:pt x="0" y="9"/>
                  </a:cubicBezTo>
                  <a:cubicBezTo>
                    <a:pt x="0" y="7"/>
                    <a:pt x="0" y="7"/>
                    <a:pt x="0" y="7"/>
                  </a:cubicBezTo>
                  <a:cubicBezTo>
                    <a:pt x="0" y="3"/>
                    <a:pt x="3" y="0"/>
                    <a:pt x="7" y="0"/>
                  </a:cubicBezTo>
                  <a:cubicBezTo>
                    <a:pt x="517" y="0"/>
                    <a:pt x="517" y="0"/>
                    <a:pt x="517" y="0"/>
                  </a:cubicBezTo>
                  <a:cubicBezTo>
                    <a:pt x="521" y="0"/>
                    <a:pt x="524" y="3"/>
                    <a:pt x="524" y="7"/>
                  </a:cubicBezTo>
                  <a:cubicBezTo>
                    <a:pt x="524" y="9"/>
                    <a:pt x="524" y="9"/>
                    <a:pt x="524" y="9"/>
                  </a:cubicBezTo>
                  <a:cubicBezTo>
                    <a:pt x="524" y="13"/>
                    <a:pt x="521" y="16"/>
                    <a:pt x="517" y="16"/>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3" name="ïslíďê">
              <a:extLst>
                <a:ext uri="{FF2B5EF4-FFF2-40B4-BE49-F238E27FC236}">
                  <a16:creationId xmlns:a16="http://schemas.microsoft.com/office/drawing/2014/main" id="{E29CEB42-165D-40F2-AB4D-3EDD5823F1BE}"/>
                </a:ext>
              </a:extLst>
            </p:cNvPr>
            <p:cNvSpPr/>
            <p:nvPr/>
          </p:nvSpPr>
          <p:spPr bwMode="auto">
            <a:xfrm>
              <a:off x="4722388" y="4387464"/>
              <a:ext cx="1386429" cy="42351"/>
            </a:xfrm>
            <a:custGeom>
              <a:avLst/>
              <a:gdLst>
                <a:gd name="T0" fmla="*/ 517 w 524"/>
                <a:gd name="T1" fmla="*/ 16 h 16"/>
                <a:gd name="T2" fmla="*/ 7 w 524"/>
                <a:gd name="T3" fmla="*/ 16 h 16"/>
                <a:gd name="T4" fmla="*/ 0 w 524"/>
                <a:gd name="T5" fmla="*/ 9 h 16"/>
                <a:gd name="T6" fmla="*/ 0 w 524"/>
                <a:gd name="T7" fmla="*/ 6 h 16"/>
                <a:gd name="T8" fmla="*/ 7 w 524"/>
                <a:gd name="T9" fmla="*/ 0 h 16"/>
                <a:gd name="T10" fmla="*/ 517 w 524"/>
                <a:gd name="T11" fmla="*/ 0 h 16"/>
                <a:gd name="T12" fmla="*/ 524 w 524"/>
                <a:gd name="T13" fmla="*/ 6 h 16"/>
                <a:gd name="T14" fmla="*/ 524 w 524"/>
                <a:gd name="T15" fmla="*/ 9 h 16"/>
                <a:gd name="T16" fmla="*/ 517 w 524"/>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4" h="16">
                  <a:moveTo>
                    <a:pt x="517" y="16"/>
                  </a:moveTo>
                  <a:cubicBezTo>
                    <a:pt x="7" y="16"/>
                    <a:pt x="7" y="16"/>
                    <a:pt x="7" y="16"/>
                  </a:cubicBezTo>
                  <a:cubicBezTo>
                    <a:pt x="3" y="16"/>
                    <a:pt x="0" y="13"/>
                    <a:pt x="0" y="9"/>
                  </a:cubicBezTo>
                  <a:cubicBezTo>
                    <a:pt x="0" y="6"/>
                    <a:pt x="0" y="6"/>
                    <a:pt x="0" y="6"/>
                  </a:cubicBezTo>
                  <a:cubicBezTo>
                    <a:pt x="0" y="3"/>
                    <a:pt x="3" y="0"/>
                    <a:pt x="7" y="0"/>
                  </a:cubicBezTo>
                  <a:cubicBezTo>
                    <a:pt x="517" y="0"/>
                    <a:pt x="517" y="0"/>
                    <a:pt x="517" y="0"/>
                  </a:cubicBezTo>
                  <a:cubicBezTo>
                    <a:pt x="521" y="0"/>
                    <a:pt x="524" y="3"/>
                    <a:pt x="524" y="6"/>
                  </a:cubicBezTo>
                  <a:cubicBezTo>
                    <a:pt x="524" y="9"/>
                    <a:pt x="524" y="9"/>
                    <a:pt x="524" y="9"/>
                  </a:cubicBezTo>
                  <a:cubicBezTo>
                    <a:pt x="524" y="13"/>
                    <a:pt x="521" y="16"/>
                    <a:pt x="517" y="16"/>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4" name="iṥḻídè">
              <a:extLst>
                <a:ext uri="{FF2B5EF4-FFF2-40B4-BE49-F238E27FC236}">
                  <a16:creationId xmlns:a16="http://schemas.microsoft.com/office/drawing/2014/main" id="{DDF3C292-AB2B-4246-8D18-86122A8EEBED}"/>
                </a:ext>
              </a:extLst>
            </p:cNvPr>
            <p:cNvSpPr/>
            <p:nvPr/>
          </p:nvSpPr>
          <p:spPr bwMode="auto">
            <a:xfrm>
              <a:off x="4473857" y="3532648"/>
              <a:ext cx="441339" cy="156029"/>
            </a:xfrm>
            <a:custGeom>
              <a:avLst/>
              <a:gdLst>
                <a:gd name="T0" fmla="*/ 0 w 167"/>
                <a:gd name="T1" fmla="*/ 0 h 59"/>
                <a:gd name="T2" fmla="*/ 84 w 167"/>
                <a:gd name="T3" fmla="*/ 59 h 59"/>
                <a:gd name="T4" fmla="*/ 167 w 167"/>
                <a:gd name="T5" fmla="*/ 0 h 59"/>
                <a:gd name="T6" fmla="*/ 0 w 167"/>
                <a:gd name="T7" fmla="*/ 0 h 59"/>
              </a:gdLst>
              <a:ahLst/>
              <a:cxnLst>
                <a:cxn ang="0">
                  <a:pos x="T0" y="T1"/>
                </a:cxn>
                <a:cxn ang="0">
                  <a:pos x="T2" y="T3"/>
                </a:cxn>
                <a:cxn ang="0">
                  <a:pos x="T4" y="T5"/>
                </a:cxn>
                <a:cxn ang="0">
                  <a:pos x="T6" y="T7"/>
                </a:cxn>
              </a:cxnLst>
              <a:rect l="0" t="0" r="r" b="b"/>
              <a:pathLst>
                <a:path w="167" h="59">
                  <a:moveTo>
                    <a:pt x="0" y="0"/>
                  </a:moveTo>
                  <a:cubicBezTo>
                    <a:pt x="0" y="32"/>
                    <a:pt x="38" y="59"/>
                    <a:pt x="84" y="59"/>
                  </a:cubicBezTo>
                  <a:cubicBezTo>
                    <a:pt x="130" y="59"/>
                    <a:pt x="167" y="32"/>
                    <a:pt x="167" y="0"/>
                  </a:cubicBezTo>
                  <a:lnTo>
                    <a:pt x="0"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5" name="is1îďé">
              <a:extLst>
                <a:ext uri="{FF2B5EF4-FFF2-40B4-BE49-F238E27FC236}">
                  <a16:creationId xmlns:a16="http://schemas.microsoft.com/office/drawing/2014/main" id="{2C387F42-FCC5-41DF-9F66-EC2218ED2C8A}"/>
                </a:ext>
              </a:extLst>
            </p:cNvPr>
            <p:cNvSpPr/>
            <p:nvPr/>
          </p:nvSpPr>
          <p:spPr bwMode="auto">
            <a:xfrm>
              <a:off x="5309726" y="3635181"/>
              <a:ext cx="441339" cy="53496"/>
            </a:xfrm>
            <a:custGeom>
              <a:avLst/>
              <a:gdLst>
                <a:gd name="T0" fmla="*/ 0 w 167"/>
                <a:gd name="T1" fmla="*/ 0 h 20"/>
                <a:gd name="T2" fmla="*/ 84 w 167"/>
                <a:gd name="T3" fmla="*/ 20 h 20"/>
                <a:gd name="T4" fmla="*/ 167 w 167"/>
                <a:gd name="T5" fmla="*/ 0 h 20"/>
                <a:gd name="T6" fmla="*/ 0 w 167"/>
                <a:gd name="T7" fmla="*/ 0 h 20"/>
              </a:gdLst>
              <a:ahLst/>
              <a:cxnLst>
                <a:cxn ang="0">
                  <a:pos x="T0" y="T1"/>
                </a:cxn>
                <a:cxn ang="0">
                  <a:pos x="T2" y="T3"/>
                </a:cxn>
                <a:cxn ang="0">
                  <a:pos x="T4" y="T5"/>
                </a:cxn>
                <a:cxn ang="0">
                  <a:pos x="T6" y="T7"/>
                </a:cxn>
              </a:cxnLst>
              <a:rect l="0" t="0" r="r" b="b"/>
              <a:pathLst>
                <a:path w="167" h="20">
                  <a:moveTo>
                    <a:pt x="0" y="0"/>
                  </a:moveTo>
                  <a:cubicBezTo>
                    <a:pt x="0" y="11"/>
                    <a:pt x="38" y="20"/>
                    <a:pt x="84" y="20"/>
                  </a:cubicBezTo>
                  <a:cubicBezTo>
                    <a:pt x="130" y="20"/>
                    <a:pt x="167" y="11"/>
                    <a:pt x="167" y="0"/>
                  </a:cubicBezTo>
                  <a:cubicBezTo>
                    <a:pt x="0" y="0"/>
                    <a:pt x="0" y="0"/>
                    <a:pt x="0" y="0"/>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6" name="îŝḻîḋè">
              <a:extLst>
                <a:ext uri="{FF2B5EF4-FFF2-40B4-BE49-F238E27FC236}">
                  <a16:creationId xmlns:a16="http://schemas.microsoft.com/office/drawing/2014/main" id="{753AD7FF-9D6E-4CE7-8476-DCA353FC2280}"/>
                </a:ext>
              </a:extLst>
            </p:cNvPr>
            <p:cNvSpPr/>
            <p:nvPr/>
          </p:nvSpPr>
          <p:spPr bwMode="auto">
            <a:xfrm>
              <a:off x="5309726" y="3596174"/>
              <a:ext cx="441339" cy="52381"/>
            </a:xfrm>
            <a:custGeom>
              <a:avLst/>
              <a:gdLst>
                <a:gd name="T0" fmla="*/ 0 w 167"/>
                <a:gd name="T1" fmla="*/ 0 h 20"/>
                <a:gd name="T2" fmla="*/ 84 w 167"/>
                <a:gd name="T3" fmla="*/ 20 h 20"/>
                <a:gd name="T4" fmla="*/ 167 w 167"/>
                <a:gd name="T5" fmla="*/ 0 h 20"/>
                <a:gd name="T6" fmla="*/ 0 w 167"/>
                <a:gd name="T7" fmla="*/ 0 h 20"/>
              </a:gdLst>
              <a:ahLst/>
              <a:cxnLst>
                <a:cxn ang="0">
                  <a:pos x="T0" y="T1"/>
                </a:cxn>
                <a:cxn ang="0">
                  <a:pos x="T2" y="T3"/>
                </a:cxn>
                <a:cxn ang="0">
                  <a:pos x="T4" y="T5"/>
                </a:cxn>
                <a:cxn ang="0">
                  <a:pos x="T6" y="T7"/>
                </a:cxn>
              </a:cxnLst>
              <a:rect l="0" t="0" r="r" b="b"/>
              <a:pathLst>
                <a:path w="167" h="20">
                  <a:moveTo>
                    <a:pt x="0" y="0"/>
                  </a:moveTo>
                  <a:cubicBezTo>
                    <a:pt x="0" y="11"/>
                    <a:pt x="38" y="20"/>
                    <a:pt x="84" y="20"/>
                  </a:cubicBezTo>
                  <a:cubicBezTo>
                    <a:pt x="130" y="20"/>
                    <a:pt x="167" y="11"/>
                    <a:pt x="167" y="0"/>
                  </a:cubicBezTo>
                  <a:cubicBezTo>
                    <a:pt x="0" y="0"/>
                    <a:pt x="0" y="0"/>
                    <a:pt x="0" y="0"/>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7" name="iSlïḑê">
              <a:extLst>
                <a:ext uri="{FF2B5EF4-FFF2-40B4-BE49-F238E27FC236}">
                  <a16:creationId xmlns:a16="http://schemas.microsoft.com/office/drawing/2014/main" id="{55C6C475-7DE2-4703-A73F-F72C5C28D161}"/>
                </a:ext>
              </a:extLst>
            </p:cNvPr>
            <p:cNvSpPr/>
            <p:nvPr/>
          </p:nvSpPr>
          <p:spPr bwMode="auto">
            <a:xfrm>
              <a:off x="5817935" y="3635181"/>
              <a:ext cx="441339" cy="53496"/>
            </a:xfrm>
            <a:custGeom>
              <a:avLst/>
              <a:gdLst>
                <a:gd name="T0" fmla="*/ 0 w 167"/>
                <a:gd name="T1" fmla="*/ 0 h 20"/>
                <a:gd name="T2" fmla="*/ 83 w 167"/>
                <a:gd name="T3" fmla="*/ 20 h 20"/>
                <a:gd name="T4" fmla="*/ 167 w 167"/>
                <a:gd name="T5" fmla="*/ 0 h 20"/>
                <a:gd name="T6" fmla="*/ 0 w 167"/>
                <a:gd name="T7" fmla="*/ 0 h 20"/>
              </a:gdLst>
              <a:ahLst/>
              <a:cxnLst>
                <a:cxn ang="0">
                  <a:pos x="T0" y="T1"/>
                </a:cxn>
                <a:cxn ang="0">
                  <a:pos x="T2" y="T3"/>
                </a:cxn>
                <a:cxn ang="0">
                  <a:pos x="T4" y="T5"/>
                </a:cxn>
                <a:cxn ang="0">
                  <a:pos x="T6" y="T7"/>
                </a:cxn>
              </a:cxnLst>
              <a:rect l="0" t="0" r="r" b="b"/>
              <a:pathLst>
                <a:path w="167" h="20">
                  <a:moveTo>
                    <a:pt x="0" y="0"/>
                  </a:moveTo>
                  <a:cubicBezTo>
                    <a:pt x="0" y="11"/>
                    <a:pt x="37" y="20"/>
                    <a:pt x="83" y="20"/>
                  </a:cubicBezTo>
                  <a:cubicBezTo>
                    <a:pt x="129" y="20"/>
                    <a:pt x="167" y="11"/>
                    <a:pt x="167" y="0"/>
                  </a:cubicBez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8" name="îṣḷïḓé">
              <a:extLst>
                <a:ext uri="{FF2B5EF4-FFF2-40B4-BE49-F238E27FC236}">
                  <a16:creationId xmlns:a16="http://schemas.microsoft.com/office/drawing/2014/main" id="{4E27ABBB-5B07-48BA-8EB4-4C7FDC543C5C}"/>
                </a:ext>
              </a:extLst>
            </p:cNvPr>
            <p:cNvSpPr/>
            <p:nvPr/>
          </p:nvSpPr>
          <p:spPr bwMode="auto">
            <a:xfrm>
              <a:off x="5817935" y="3596174"/>
              <a:ext cx="441339" cy="52381"/>
            </a:xfrm>
            <a:custGeom>
              <a:avLst/>
              <a:gdLst>
                <a:gd name="T0" fmla="*/ 0 w 167"/>
                <a:gd name="T1" fmla="*/ 0 h 20"/>
                <a:gd name="T2" fmla="*/ 83 w 167"/>
                <a:gd name="T3" fmla="*/ 20 h 20"/>
                <a:gd name="T4" fmla="*/ 167 w 167"/>
                <a:gd name="T5" fmla="*/ 0 h 20"/>
                <a:gd name="T6" fmla="*/ 0 w 167"/>
                <a:gd name="T7" fmla="*/ 0 h 20"/>
              </a:gdLst>
              <a:ahLst/>
              <a:cxnLst>
                <a:cxn ang="0">
                  <a:pos x="T0" y="T1"/>
                </a:cxn>
                <a:cxn ang="0">
                  <a:pos x="T2" y="T3"/>
                </a:cxn>
                <a:cxn ang="0">
                  <a:pos x="T4" y="T5"/>
                </a:cxn>
                <a:cxn ang="0">
                  <a:pos x="T6" y="T7"/>
                </a:cxn>
              </a:cxnLst>
              <a:rect l="0" t="0" r="r" b="b"/>
              <a:pathLst>
                <a:path w="167" h="20">
                  <a:moveTo>
                    <a:pt x="0" y="0"/>
                  </a:moveTo>
                  <a:cubicBezTo>
                    <a:pt x="0" y="11"/>
                    <a:pt x="37" y="20"/>
                    <a:pt x="83" y="20"/>
                  </a:cubicBezTo>
                  <a:cubicBezTo>
                    <a:pt x="129" y="20"/>
                    <a:pt x="167" y="11"/>
                    <a:pt x="167" y="0"/>
                  </a:cubicBez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9" name="îṧḷíḓê">
              <a:extLst>
                <a:ext uri="{FF2B5EF4-FFF2-40B4-BE49-F238E27FC236}">
                  <a16:creationId xmlns:a16="http://schemas.microsoft.com/office/drawing/2014/main" id="{7D95E125-BBEA-4EDE-90E3-8708B272AEF6}"/>
                </a:ext>
              </a:extLst>
            </p:cNvPr>
            <p:cNvSpPr/>
            <p:nvPr/>
          </p:nvSpPr>
          <p:spPr bwMode="auto">
            <a:xfrm>
              <a:off x="4042548" y="5163151"/>
              <a:ext cx="4106905" cy="237387"/>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0" name="îsḷiḓe">
              <a:extLst>
                <a:ext uri="{FF2B5EF4-FFF2-40B4-BE49-F238E27FC236}">
                  <a16:creationId xmlns:a16="http://schemas.microsoft.com/office/drawing/2014/main" id="{62205D29-BE06-488C-AD97-868B00E687E0}"/>
                </a:ext>
              </a:extLst>
            </p:cNvPr>
            <p:cNvSpPr/>
            <p:nvPr/>
          </p:nvSpPr>
          <p:spPr bwMode="auto">
            <a:xfrm>
              <a:off x="6053092" y="1690392"/>
              <a:ext cx="13374" cy="57954"/>
            </a:xfrm>
            <a:prstGeom prst="rect">
              <a:avLst/>
            </a:prstGeom>
            <a:solidFill>
              <a:srgbClr val="538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1" name="ïṣḷîdé">
              <a:extLst>
                <a:ext uri="{FF2B5EF4-FFF2-40B4-BE49-F238E27FC236}">
                  <a16:creationId xmlns:a16="http://schemas.microsoft.com/office/drawing/2014/main" id="{7BBCE642-2BFE-43B0-8B5E-F4ADF1734741}"/>
                </a:ext>
              </a:extLst>
            </p:cNvPr>
            <p:cNvSpPr/>
            <p:nvPr/>
          </p:nvSpPr>
          <p:spPr bwMode="auto">
            <a:xfrm>
              <a:off x="6053092" y="1690392"/>
              <a:ext cx="13374" cy="57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2" name="ïśḷïḋê">
              <a:extLst>
                <a:ext uri="{FF2B5EF4-FFF2-40B4-BE49-F238E27FC236}">
                  <a16:creationId xmlns:a16="http://schemas.microsoft.com/office/drawing/2014/main" id="{2BE6A0DC-3286-42FB-8B45-1A200178E40C}"/>
                </a:ext>
              </a:extLst>
            </p:cNvPr>
            <p:cNvSpPr/>
            <p:nvPr/>
          </p:nvSpPr>
          <p:spPr bwMode="auto">
            <a:xfrm>
              <a:off x="6053092" y="1777323"/>
              <a:ext cx="13374" cy="42351"/>
            </a:xfrm>
            <a:prstGeom prst="rect">
              <a:avLst/>
            </a:prstGeom>
            <a:solidFill>
              <a:srgbClr val="538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3" name="îṩ1iḓé">
              <a:extLst>
                <a:ext uri="{FF2B5EF4-FFF2-40B4-BE49-F238E27FC236}">
                  <a16:creationId xmlns:a16="http://schemas.microsoft.com/office/drawing/2014/main" id="{720EE933-C420-45EF-814D-614A8A6BC8DF}"/>
                </a:ext>
              </a:extLst>
            </p:cNvPr>
            <p:cNvSpPr/>
            <p:nvPr/>
          </p:nvSpPr>
          <p:spPr bwMode="auto">
            <a:xfrm>
              <a:off x="6053092" y="1777323"/>
              <a:ext cx="13374" cy="4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4" name="îśľíde">
              <a:extLst>
                <a:ext uri="{FF2B5EF4-FFF2-40B4-BE49-F238E27FC236}">
                  <a16:creationId xmlns:a16="http://schemas.microsoft.com/office/drawing/2014/main" id="{FA8D38CE-6DF9-4DDC-8946-9F8F499DE6BA}"/>
                </a:ext>
              </a:extLst>
            </p:cNvPr>
            <p:cNvSpPr/>
            <p:nvPr/>
          </p:nvSpPr>
          <p:spPr bwMode="auto">
            <a:xfrm>
              <a:off x="6053092" y="1819673"/>
              <a:ext cx="13374" cy="111449"/>
            </a:xfrm>
            <a:prstGeom prst="rect">
              <a:avLst/>
            </a:prstGeom>
            <a:solidFill>
              <a:srgbClr val="5186F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5" name="îś1ide">
              <a:extLst>
                <a:ext uri="{FF2B5EF4-FFF2-40B4-BE49-F238E27FC236}">
                  <a16:creationId xmlns:a16="http://schemas.microsoft.com/office/drawing/2014/main" id="{BB5F15E4-E5EC-4052-97CA-F51C99292D5A}"/>
                </a:ext>
              </a:extLst>
            </p:cNvPr>
            <p:cNvSpPr/>
            <p:nvPr/>
          </p:nvSpPr>
          <p:spPr bwMode="auto">
            <a:xfrm>
              <a:off x="6053092" y="1819673"/>
              <a:ext cx="13374" cy="111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6" name="îşliďê">
              <a:extLst>
                <a:ext uri="{FF2B5EF4-FFF2-40B4-BE49-F238E27FC236}">
                  <a16:creationId xmlns:a16="http://schemas.microsoft.com/office/drawing/2014/main" id="{4232625B-0994-4B12-94F6-908FAC303254}"/>
                </a:ext>
              </a:extLst>
            </p:cNvPr>
            <p:cNvSpPr/>
            <p:nvPr/>
          </p:nvSpPr>
          <p:spPr bwMode="auto">
            <a:xfrm>
              <a:off x="6191289" y="1925550"/>
              <a:ext cx="10031" cy="5573"/>
            </a:xfrm>
            <a:custGeom>
              <a:avLst/>
              <a:gdLst>
                <a:gd name="T0" fmla="*/ 4 w 9"/>
                <a:gd name="T1" fmla="*/ 0 h 5"/>
                <a:gd name="T2" fmla="*/ 0 w 9"/>
                <a:gd name="T3" fmla="*/ 5 h 5"/>
                <a:gd name="T4" fmla="*/ 9 w 9"/>
                <a:gd name="T5" fmla="*/ 5 h 5"/>
                <a:gd name="T6" fmla="*/ 4 w 9"/>
                <a:gd name="T7" fmla="*/ 0 h 5"/>
              </a:gdLst>
              <a:ahLst/>
              <a:cxnLst>
                <a:cxn ang="0">
                  <a:pos x="T0" y="T1"/>
                </a:cxn>
                <a:cxn ang="0">
                  <a:pos x="T2" y="T3"/>
                </a:cxn>
                <a:cxn ang="0">
                  <a:pos x="T4" y="T5"/>
                </a:cxn>
                <a:cxn ang="0">
                  <a:pos x="T6" y="T7"/>
                </a:cxn>
              </a:cxnLst>
              <a:rect l="0" t="0" r="r" b="b"/>
              <a:pathLst>
                <a:path w="9" h="5">
                  <a:moveTo>
                    <a:pt x="4" y="0"/>
                  </a:moveTo>
                  <a:lnTo>
                    <a:pt x="0" y="5"/>
                  </a:lnTo>
                  <a:lnTo>
                    <a:pt x="9" y="5"/>
                  </a:lnTo>
                  <a:lnTo>
                    <a:pt x="4" y="0"/>
                  </a:lnTo>
                  <a:close/>
                </a:path>
              </a:pathLst>
            </a:custGeom>
            <a:solidFill>
              <a:srgbClr val="5186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7" name="i$ľidè">
              <a:extLst>
                <a:ext uri="{FF2B5EF4-FFF2-40B4-BE49-F238E27FC236}">
                  <a16:creationId xmlns:a16="http://schemas.microsoft.com/office/drawing/2014/main" id="{39B0B034-6DD0-48D4-B862-BB32F9A3B9CC}"/>
                </a:ext>
              </a:extLst>
            </p:cNvPr>
            <p:cNvSpPr/>
            <p:nvPr/>
          </p:nvSpPr>
          <p:spPr bwMode="auto">
            <a:xfrm>
              <a:off x="6191289" y="1925550"/>
              <a:ext cx="10031" cy="5573"/>
            </a:xfrm>
            <a:custGeom>
              <a:avLst/>
              <a:gdLst>
                <a:gd name="T0" fmla="*/ 4 w 9"/>
                <a:gd name="T1" fmla="*/ 0 h 5"/>
                <a:gd name="T2" fmla="*/ 0 w 9"/>
                <a:gd name="T3" fmla="*/ 5 h 5"/>
                <a:gd name="T4" fmla="*/ 9 w 9"/>
                <a:gd name="T5" fmla="*/ 5 h 5"/>
                <a:gd name="T6" fmla="*/ 4 w 9"/>
                <a:gd name="T7" fmla="*/ 0 h 5"/>
              </a:gdLst>
              <a:ahLst/>
              <a:cxnLst>
                <a:cxn ang="0">
                  <a:pos x="T0" y="T1"/>
                </a:cxn>
                <a:cxn ang="0">
                  <a:pos x="T2" y="T3"/>
                </a:cxn>
                <a:cxn ang="0">
                  <a:pos x="T4" y="T5"/>
                </a:cxn>
                <a:cxn ang="0">
                  <a:pos x="T6" y="T7"/>
                </a:cxn>
              </a:cxnLst>
              <a:rect l="0" t="0" r="r" b="b"/>
              <a:pathLst>
                <a:path w="9" h="5">
                  <a:moveTo>
                    <a:pt x="4" y="0"/>
                  </a:moveTo>
                  <a:lnTo>
                    <a:pt x="0" y="5"/>
                  </a:lnTo>
                  <a:lnTo>
                    <a:pt x="9"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8" name="ïŝļïďe">
              <a:extLst>
                <a:ext uri="{FF2B5EF4-FFF2-40B4-BE49-F238E27FC236}">
                  <a16:creationId xmlns:a16="http://schemas.microsoft.com/office/drawing/2014/main" id="{22B1A924-B182-4A68-ADF8-21F6A389F9CE}"/>
                </a:ext>
              </a:extLst>
            </p:cNvPr>
            <p:cNvSpPr/>
            <p:nvPr/>
          </p:nvSpPr>
          <p:spPr bwMode="auto">
            <a:xfrm>
              <a:off x="6129993" y="1931123"/>
              <a:ext cx="73557" cy="67984"/>
            </a:xfrm>
            <a:custGeom>
              <a:avLst/>
              <a:gdLst>
                <a:gd name="T0" fmla="*/ 64 w 66"/>
                <a:gd name="T1" fmla="*/ 0 h 61"/>
                <a:gd name="T2" fmla="*/ 55 w 66"/>
                <a:gd name="T3" fmla="*/ 0 h 61"/>
                <a:gd name="T4" fmla="*/ 0 w 66"/>
                <a:gd name="T5" fmla="*/ 52 h 61"/>
                <a:gd name="T6" fmla="*/ 9 w 66"/>
                <a:gd name="T7" fmla="*/ 61 h 61"/>
                <a:gd name="T8" fmla="*/ 66 w 66"/>
                <a:gd name="T9" fmla="*/ 2 h 61"/>
                <a:gd name="T10" fmla="*/ 64 w 66"/>
                <a:gd name="T11" fmla="*/ 0 h 61"/>
              </a:gdLst>
              <a:ahLst/>
              <a:cxnLst>
                <a:cxn ang="0">
                  <a:pos x="T0" y="T1"/>
                </a:cxn>
                <a:cxn ang="0">
                  <a:pos x="T2" y="T3"/>
                </a:cxn>
                <a:cxn ang="0">
                  <a:pos x="T4" y="T5"/>
                </a:cxn>
                <a:cxn ang="0">
                  <a:pos x="T6" y="T7"/>
                </a:cxn>
                <a:cxn ang="0">
                  <a:pos x="T8" y="T9"/>
                </a:cxn>
                <a:cxn ang="0">
                  <a:pos x="T10" y="T11"/>
                </a:cxn>
              </a:cxnLst>
              <a:rect l="0" t="0" r="r" b="b"/>
              <a:pathLst>
                <a:path w="66" h="61">
                  <a:moveTo>
                    <a:pt x="64" y="0"/>
                  </a:moveTo>
                  <a:lnTo>
                    <a:pt x="55" y="0"/>
                  </a:lnTo>
                  <a:lnTo>
                    <a:pt x="0" y="52"/>
                  </a:lnTo>
                  <a:lnTo>
                    <a:pt x="9" y="61"/>
                  </a:lnTo>
                  <a:lnTo>
                    <a:pt x="66" y="2"/>
                  </a:lnTo>
                  <a:lnTo>
                    <a:pt x="64" y="0"/>
                  </a:lnTo>
                  <a:close/>
                </a:path>
              </a:pathLst>
            </a:custGeom>
            <a:solidFill>
              <a:srgbClr val="538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9" name="ïṩľiḍè">
              <a:extLst>
                <a:ext uri="{FF2B5EF4-FFF2-40B4-BE49-F238E27FC236}">
                  <a16:creationId xmlns:a16="http://schemas.microsoft.com/office/drawing/2014/main" id="{F59E7FB6-C2A7-4F7B-832D-2604D36ABCEA}"/>
                </a:ext>
              </a:extLst>
            </p:cNvPr>
            <p:cNvSpPr/>
            <p:nvPr/>
          </p:nvSpPr>
          <p:spPr bwMode="auto">
            <a:xfrm>
              <a:off x="6129993" y="1931123"/>
              <a:ext cx="73557" cy="67984"/>
            </a:xfrm>
            <a:custGeom>
              <a:avLst/>
              <a:gdLst>
                <a:gd name="T0" fmla="*/ 64 w 66"/>
                <a:gd name="T1" fmla="*/ 0 h 61"/>
                <a:gd name="T2" fmla="*/ 55 w 66"/>
                <a:gd name="T3" fmla="*/ 0 h 61"/>
                <a:gd name="T4" fmla="*/ 0 w 66"/>
                <a:gd name="T5" fmla="*/ 52 h 61"/>
                <a:gd name="T6" fmla="*/ 9 w 66"/>
                <a:gd name="T7" fmla="*/ 61 h 61"/>
                <a:gd name="T8" fmla="*/ 66 w 66"/>
                <a:gd name="T9" fmla="*/ 2 h 61"/>
                <a:gd name="T10" fmla="*/ 64 w 66"/>
                <a:gd name="T11" fmla="*/ 0 h 61"/>
              </a:gdLst>
              <a:ahLst/>
              <a:cxnLst>
                <a:cxn ang="0">
                  <a:pos x="T0" y="T1"/>
                </a:cxn>
                <a:cxn ang="0">
                  <a:pos x="T2" y="T3"/>
                </a:cxn>
                <a:cxn ang="0">
                  <a:pos x="T4" y="T5"/>
                </a:cxn>
                <a:cxn ang="0">
                  <a:pos x="T6" y="T7"/>
                </a:cxn>
                <a:cxn ang="0">
                  <a:pos x="T8" y="T9"/>
                </a:cxn>
                <a:cxn ang="0">
                  <a:pos x="T10" y="T11"/>
                </a:cxn>
              </a:cxnLst>
              <a:rect l="0" t="0" r="r" b="b"/>
              <a:pathLst>
                <a:path w="66" h="61">
                  <a:moveTo>
                    <a:pt x="64" y="0"/>
                  </a:moveTo>
                  <a:lnTo>
                    <a:pt x="55" y="0"/>
                  </a:lnTo>
                  <a:lnTo>
                    <a:pt x="0" y="52"/>
                  </a:lnTo>
                  <a:lnTo>
                    <a:pt x="9" y="61"/>
                  </a:lnTo>
                  <a:lnTo>
                    <a:pt x="66" y="2"/>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0" name="ïṣļîḓê">
              <a:extLst>
                <a:ext uri="{FF2B5EF4-FFF2-40B4-BE49-F238E27FC236}">
                  <a16:creationId xmlns:a16="http://schemas.microsoft.com/office/drawing/2014/main" id="{0757A0B2-4BAE-47B5-B6CA-32EF7D26F980}"/>
                </a:ext>
              </a:extLst>
            </p:cNvPr>
            <p:cNvSpPr/>
            <p:nvPr/>
          </p:nvSpPr>
          <p:spPr bwMode="auto">
            <a:xfrm>
              <a:off x="6209121" y="2062633"/>
              <a:ext cx="98075" cy="13374"/>
            </a:xfrm>
            <a:prstGeom prst="rect">
              <a:avLst/>
            </a:prstGeom>
            <a:solidFill>
              <a:srgbClr val="538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1" name="îŝ1îḋè">
              <a:extLst>
                <a:ext uri="{FF2B5EF4-FFF2-40B4-BE49-F238E27FC236}">
                  <a16:creationId xmlns:a16="http://schemas.microsoft.com/office/drawing/2014/main" id="{ADA162A0-FCF0-4105-829B-39A9193311DE}"/>
                </a:ext>
              </a:extLst>
            </p:cNvPr>
            <p:cNvSpPr/>
            <p:nvPr/>
          </p:nvSpPr>
          <p:spPr bwMode="auto">
            <a:xfrm>
              <a:off x="6209121" y="2062633"/>
              <a:ext cx="98075" cy="1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2" name="îṩļidé">
              <a:extLst>
                <a:ext uri="{FF2B5EF4-FFF2-40B4-BE49-F238E27FC236}">
                  <a16:creationId xmlns:a16="http://schemas.microsoft.com/office/drawing/2014/main" id="{16747032-84F4-4A82-A346-EB7E2F405B65}"/>
                </a:ext>
              </a:extLst>
            </p:cNvPr>
            <p:cNvSpPr/>
            <p:nvPr/>
          </p:nvSpPr>
          <p:spPr bwMode="auto">
            <a:xfrm>
              <a:off x="5889262" y="1898802"/>
              <a:ext cx="39008" cy="32321"/>
            </a:xfrm>
            <a:custGeom>
              <a:avLst/>
              <a:gdLst>
                <a:gd name="T0" fmla="*/ 7 w 35"/>
                <a:gd name="T1" fmla="*/ 0 h 29"/>
                <a:gd name="T2" fmla="*/ 0 w 35"/>
                <a:gd name="T3" fmla="*/ 7 h 29"/>
                <a:gd name="T4" fmla="*/ 21 w 35"/>
                <a:gd name="T5" fmla="*/ 29 h 29"/>
                <a:gd name="T6" fmla="*/ 35 w 35"/>
                <a:gd name="T7" fmla="*/ 29 h 29"/>
                <a:gd name="T8" fmla="*/ 7 w 35"/>
                <a:gd name="T9" fmla="*/ 0 h 29"/>
              </a:gdLst>
              <a:ahLst/>
              <a:cxnLst>
                <a:cxn ang="0">
                  <a:pos x="T0" y="T1"/>
                </a:cxn>
                <a:cxn ang="0">
                  <a:pos x="T2" y="T3"/>
                </a:cxn>
                <a:cxn ang="0">
                  <a:pos x="T4" y="T5"/>
                </a:cxn>
                <a:cxn ang="0">
                  <a:pos x="T6" y="T7"/>
                </a:cxn>
                <a:cxn ang="0">
                  <a:pos x="T8" y="T9"/>
                </a:cxn>
              </a:cxnLst>
              <a:rect l="0" t="0" r="r" b="b"/>
              <a:pathLst>
                <a:path w="35" h="29">
                  <a:moveTo>
                    <a:pt x="7" y="0"/>
                  </a:moveTo>
                  <a:lnTo>
                    <a:pt x="0" y="7"/>
                  </a:lnTo>
                  <a:lnTo>
                    <a:pt x="21" y="29"/>
                  </a:lnTo>
                  <a:lnTo>
                    <a:pt x="35" y="29"/>
                  </a:lnTo>
                  <a:lnTo>
                    <a:pt x="7" y="0"/>
                  </a:lnTo>
                  <a:close/>
                </a:path>
              </a:pathLst>
            </a:custGeom>
            <a:solidFill>
              <a:srgbClr val="5186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3" name="iŝlïḍè">
              <a:extLst>
                <a:ext uri="{FF2B5EF4-FFF2-40B4-BE49-F238E27FC236}">
                  <a16:creationId xmlns:a16="http://schemas.microsoft.com/office/drawing/2014/main" id="{6A272F99-805D-4FED-9E74-53A13ECB6EDD}"/>
                </a:ext>
              </a:extLst>
            </p:cNvPr>
            <p:cNvSpPr/>
            <p:nvPr/>
          </p:nvSpPr>
          <p:spPr bwMode="auto">
            <a:xfrm>
              <a:off x="5889262" y="1898802"/>
              <a:ext cx="39008" cy="32321"/>
            </a:xfrm>
            <a:custGeom>
              <a:avLst/>
              <a:gdLst>
                <a:gd name="T0" fmla="*/ 7 w 35"/>
                <a:gd name="T1" fmla="*/ 0 h 29"/>
                <a:gd name="T2" fmla="*/ 0 w 35"/>
                <a:gd name="T3" fmla="*/ 7 h 29"/>
                <a:gd name="T4" fmla="*/ 21 w 35"/>
                <a:gd name="T5" fmla="*/ 29 h 29"/>
                <a:gd name="T6" fmla="*/ 35 w 35"/>
                <a:gd name="T7" fmla="*/ 29 h 29"/>
                <a:gd name="T8" fmla="*/ 7 w 35"/>
                <a:gd name="T9" fmla="*/ 0 h 29"/>
              </a:gdLst>
              <a:ahLst/>
              <a:cxnLst>
                <a:cxn ang="0">
                  <a:pos x="T0" y="T1"/>
                </a:cxn>
                <a:cxn ang="0">
                  <a:pos x="T2" y="T3"/>
                </a:cxn>
                <a:cxn ang="0">
                  <a:pos x="T4" y="T5"/>
                </a:cxn>
                <a:cxn ang="0">
                  <a:pos x="T6" y="T7"/>
                </a:cxn>
                <a:cxn ang="0">
                  <a:pos x="T8" y="T9"/>
                </a:cxn>
              </a:cxnLst>
              <a:rect l="0" t="0" r="r" b="b"/>
              <a:pathLst>
                <a:path w="35" h="29">
                  <a:moveTo>
                    <a:pt x="7" y="0"/>
                  </a:moveTo>
                  <a:lnTo>
                    <a:pt x="0" y="7"/>
                  </a:lnTo>
                  <a:lnTo>
                    <a:pt x="21" y="29"/>
                  </a:lnTo>
                  <a:lnTo>
                    <a:pt x="35" y="29"/>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4" name="íŝľïdé">
              <a:extLst>
                <a:ext uri="{FF2B5EF4-FFF2-40B4-BE49-F238E27FC236}">
                  <a16:creationId xmlns:a16="http://schemas.microsoft.com/office/drawing/2014/main" id="{C512B86A-2686-40AF-B4B9-64474A16E7BB}"/>
                </a:ext>
              </a:extLst>
            </p:cNvPr>
            <p:cNvSpPr/>
            <p:nvPr/>
          </p:nvSpPr>
          <p:spPr bwMode="auto">
            <a:xfrm>
              <a:off x="5912666" y="1931123"/>
              <a:ext cx="76900" cy="67984"/>
            </a:xfrm>
            <a:custGeom>
              <a:avLst/>
              <a:gdLst>
                <a:gd name="T0" fmla="*/ 14 w 69"/>
                <a:gd name="T1" fmla="*/ 0 h 61"/>
                <a:gd name="T2" fmla="*/ 0 w 69"/>
                <a:gd name="T3" fmla="*/ 0 h 61"/>
                <a:gd name="T4" fmla="*/ 62 w 69"/>
                <a:gd name="T5" fmla="*/ 61 h 61"/>
                <a:gd name="T6" fmla="*/ 69 w 69"/>
                <a:gd name="T7" fmla="*/ 52 h 61"/>
                <a:gd name="T8" fmla="*/ 14 w 69"/>
                <a:gd name="T9" fmla="*/ 0 h 61"/>
              </a:gdLst>
              <a:ahLst/>
              <a:cxnLst>
                <a:cxn ang="0">
                  <a:pos x="T0" y="T1"/>
                </a:cxn>
                <a:cxn ang="0">
                  <a:pos x="T2" y="T3"/>
                </a:cxn>
                <a:cxn ang="0">
                  <a:pos x="T4" y="T5"/>
                </a:cxn>
                <a:cxn ang="0">
                  <a:pos x="T6" y="T7"/>
                </a:cxn>
                <a:cxn ang="0">
                  <a:pos x="T8" y="T9"/>
                </a:cxn>
              </a:cxnLst>
              <a:rect l="0" t="0" r="r" b="b"/>
              <a:pathLst>
                <a:path w="69" h="61">
                  <a:moveTo>
                    <a:pt x="14" y="0"/>
                  </a:moveTo>
                  <a:lnTo>
                    <a:pt x="0" y="0"/>
                  </a:lnTo>
                  <a:lnTo>
                    <a:pt x="62" y="61"/>
                  </a:lnTo>
                  <a:lnTo>
                    <a:pt x="69" y="52"/>
                  </a:lnTo>
                  <a:lnTo>
                    <a:pt x="14" y="0"/>
                  </a:lnTo>
                  <a:close/>
                </a:path>
              </a:pathLst>
            </a:custGeom>
            <a:solidFill>
              <a:srgbClr val="538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5" name="ïṡļïḋe">
              <a:extLst>
                <a:ext uri="{FF2B5EF4-FFF2-40B4-BE49-F238E27FC236}">
                  <a16:creationId xmlns:a16="http://schemas.microsoft.com/office/drawing/2014/main" id="{956830A7-38B1-4492-9E4F-BE4E24B5BABA}"/>
                </a:ext>
              </a:extLst>
            </p:cNvPr>
            <p:cNvSpPr/>
            <p:nvPr/>
          </p:nvSpPr>
          <p:spPr bwMode="auto">
            <a:xfrm>
              <a:off x="5912666" y="1931123"/>
              <a:ext cx="76900" cy="67984"/>
            </a:xfrm>
            <a:custGeom>
              <a:avLst/>
              <a:gdLst>
                <a:gd name="T0" fmla="*/ 14 w 69"/>
                <a:gd name="T1" fmla="*/ 0 h 61"/>
                <a:gd name="T2" fmla="*/ 0 w 69"/>
                <a:gd name="T3" fmla="*/ 0 h 61"/>
                <a:gd name="T4" fmla="*/ 62 w 69"/>
                <a:gd name="T5" fmla="*/ 61 h 61"/>
                <a:gd name="T6" fmla="*/ 69 w 69"/>
                <a:gd name="T7" fmla="*/ 52 h 61"/>
                <a:gd name="T8" fmla="*/ 14 w 69"/>
                <a:gd name="T9" fmla="*/ 0 h 61"/>
              </a:gdLst>
              <a:ahLst/>
              <a:cxnLst>
                <a:cxn ang="0">
                  <a:pos x="T0" y="T1"/>
                </a:cxn>
                <a:cxn ang="0">
                  <a:pos x="T2" y="T3"/>
                </a:cxn>
                <a:cxn ang="0">
                  <a:pos x="T4" y="T5"/>
                </a:cxn>
                <a:cxn ang="0">
                  <a:pos x="T6" y="T7"/>
                </a:cxn>
                <a:cxn ang="0">
                  <a:pos x="T8" y="T9"/>
                </a:cxn>
              </a:cxnLst>
              <a:rect l="0" t="0" r="r" b="b"/>
              <a:pathLst>
                <a:path w="69" h="61">
                  <a:moveTo>
                    <a:pt x="14" y="0"/>
                  </a:moveTo>
                  <a:lnTo>
                    <a:pt x="0" y="0"/>
                  </a:lnTo>
                  <a:lnTo>
                    <a:pt x="62" y="61"/>
                  </a:lnTo>
                  <a:lnTo>
                    <a:pt x="69" y="52"/>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6" name="íṡľîḍè">
              <a:extLst>
                <a:ext uri="{FF2B5EF4-FFF2-40B4-BE49-F238E27FC236}">
                  <a16:creationId xmlns:a16="http://schemas.microsoft.com/office/drawing/2014/main" id="{8720E7E5-C3A2-43F7-84E4-5EA033472B39}"/>
                </a:ext>
              </a:extLst>
            </p:cNvPr>
            <p:cNvSpPr/>
            <p:nvPr/>
          </p:nvSpPr>
          <p:spPr bwMode="auto">
            <a:xfrm>
              <a:off x="5868087" y="2062633"/>
              <a:ext cx="42351" cy="13374"/>
            </a:xfrm>
            <a:prstGeom prst="rect">
              <a:avLst/>
            </a:prstGeom>
            <a:solidFill>
              <a:srgbClr val="538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7" name="íśľíḍè">
              <a:extLst>
                <a:ext uri="{FF2B5EF4-FFF2-40B4-BE49-F238E27FC236}">
                  <a16:creationId xmlns:a16="http://schemas.microsoft.com/office/drawing/2014/main" id="{9A65701A-0427-4256-A4CE-866B8AA1D737}"/>
                </a:ext>
              </a:extLst>
            </p:cNvPr>
            <p:cNvSpPr/>
            <p:nvPr/>
          </p:nvSpPr>
          <p:spPr bwMode="auto">
            <a:xfrm>
              <a:off x="5868087" y="2062633"/>
              <a:ext cx="42351" cy="1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îšľîḋé">
              <a:extLst>
                <a:ext uri="{FF2B5EF4-FFF2-40B4-BE49-F238E27FC236}">
                  <a16:creationId xmlns:a16="http://schemas.microsoft.com/office/drawing/2014/main" id="{89429C66-B6C8-4CB6-A6C0-9F10217E27DE}"/>
                </a:ext>
              </a:extLst>
            </p:cNvPr>
            <p:cNvSpPr/>
            <p:nvPr/>
          </p:nvSpPr>
          <p:spPr bwMode="auto">
            <a:xfrm>
              <a:off x="5454610" y="5001549"/>
              <a:ext cx="98075" cy="190579"/>
            </a:xfrm>
            <a:custGeom>
              <a:avLst/>
              <a:gdLst>
                <a:gd name="T0" fmla="*/ 0 w 88"/>
                <a:gd name="T1" fmla="*/ 171 h 171"/>
                <a:gd name="T2" fmla="*/ 74 w 88"/>
                <a:gd name="T3" fmla="*/ 171 h 171"/>
                <a:gd name="T4" fmla="*/ 88 w 88"/>
                <a:gd name="T5" fmla="*/ 0 h 171"/>
                <a:gd name="T6" fmla="*/ 15 w 88"/>
                <a:gd name="T7" fmla="*/ 0 h 171"/>
                <a:gd name="T8" fmla="*/ 0 w 88"/>
                <a:gd name="T9" fmla="*/ 171 h 171"/>
              </a:gdLst>
              <a:ahLst/>
              <a:cxnLst>
                <a:cxn ang="0">
                  <a:pos x="T0" y="T1"/>
                </a:cxn>
                <a:cxn ang="0">
                  <a:pos x="T2" y="T3"/>
                </a:cxn>
                <a:cxn ang="0">
                  <a:pos x="T4" y="T5"/>
                </a:cxn>
                <a:cxn ang="0">
                  <a:pos x="T6" y="T7"/>
                </a:cxn>
                <a:cxn ang="0">
                  <a:pos x="T8" y="T9"/>
                </a:cxn>
              </a:cxnLst>
              <a:rect l="0" t="0" r="r" b="b"/>
              <a:pathLst>
                <a:path w="88" h="171">
                  <a:moveTo>
                    <a:pt x="0" y="171"/>
                  </a:moveTo>
                  <a:lnTo>
                    <a:pt x="74" y="171"/>
                  </a:lnTo>
                  <a:lnTo>
                    <a:pt x="88" y="0"/>
                  </a:lnTo>
                  <a:lnTo>
                    <a:pt x="15" y="0"/>
                  </a:lnTo>
                  <a:lnTo>
                    <a:pt x="0" y="171"/>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9" name="íšlíde">
              <a:extLst>
                <a:ext uri="{FF2B5EF4-FFF2-40B4-BE49-F238E27FC236}">
                  <a16:creationId xmlns:a16="http://schemas.microsoft.com/office/drawing/2014/main" id="{55801062-53C2-4477-87B3-135F5C08049C}"/>
                </a:ext>
              </a:extLst>
            </p:cNvPr>
            <p:cNvSpPr/>
            <p:nvPr/>
          </p:nvSpPr>
          <p:spPr bwMode="auto">
            <a:xfrm>
              <a:off x="5454610" y="5001549"/>
              <a:ext cx="98075" cy="190579"/>
            </a:xfrm>
            <a:custGeom>
              <a:avLst/>
              <a:gdLst>
                <a:gd name="T0" fmla="*/ 0 w 88"/>
                <a:gd name="T1" fmla="*/ 171 h 171"/>
                <a:gd name="T2" fmla="*/ 74 w 88"/>
                <a:gd name="T3" fmla="*/ 171 h 171"/>
                <a:gd name="T4" fmla="*/ 88 w 88"/>
                <a:gd name="T5" fmla="*/ 0 h 171"/>
                <a:gd name="T6" fmla="*/ 15 w 88"/>
                <a:gd name="T7" fmla="*/ 0 h 171"/>
                <a:gd name="T8" fmla="*/ 0 w 88"/>
                <a:gd name="T9" fmla="*/ 171 h 171"/>
              </a:gdLst>
              <a:ahLst/>
              <a:cxnLst>
                <a:cxn ang="0">
                  <a:pos x="T0" y="T1"/>
                </a:cxn>
                <a:cxn ang="0">
                  <a:pos x="T2" y="T3"/>
                </a:cxn>
                <a:cxn ang="0">
                  <a:pos x="T4" y="T5"/>
                </a:cxn>
                <a:cxn ang="0">
                  <a:pos x="T6" y="T7"/>
                </a:cxn>
                <a:cxn ang="0">
                  <a:pos x="T8" y="T9"/>
                </a:cxn>
              </a:cxnLst>
              <a:rect l="0" t="0" r="r" b="b"/>
              <a:pathLst>
                <a:path w="88" h="171">
                  <a:moveTo>
                    <a:pt x="0" y="171"/>
                  </a:moveTo>
                  <a:lnTo>
                    <a:pt x="74" y="171"/>
                  </a:lnTo>
                  <a:lnTo>
                    <a:pt x="88" y="0"/>
                  </a:lnTo>
                  <a:lnTo>
                    <a:pt x="15" y="0"/>
                  </a:lnTo>
                  <a:lnTo>
                    <a:pt x="0" y="1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0" name="íšļîḓê">
              <a:extLst>
                <a:ext uri="{FF2B5EF4-FFF2-40B4-BE49-F238E27FC236}">
                  <a16:creationId xmlns:a16="http://schemas.microsoft.com/office/drawing/2014/main" id="{0797D2EC-13A4-4FCF-8B4E-BC48166AF597}"/>
                </a:ext>
              </a:extLst>
            </p:cNvPr>
            <p:cNvSpPr/>
            <p:nvPr/>
          </p:nvSpPr>
          <p:spPr bwMode="auto">
            <a:xfrm>
              <a:off x="5421175" y="5180983"/>
              <a:ext cx="287539" cy="95846"/>
            </a:xfrm>
            <a:custGeom>
              <a:avLst/>
              <a:gdLst>
                <a:gd name="T0" fmla="*/ 49 w 109"/>
                <a:gd name="T1" fmla="*/ 0 h 36"/>
                <a:gd name="T2" fmla="*/ 11 w 109"/>
                <a:gd name="T3" fmla="*/ 0 h 36"/>
                <a:gd name="T4" fmla="*/ 8 w 109"/>
                <a:gd name="T5" fmla="*/ 3 h 36"/>
                <a:gd name="T6" fmla="*/ 1 w 109"/>
                <a:gd name="T7" fmla="*/ 30 h 36"/>
                <a:gd name="T8" fmla="*/ 5 w 109"/>
                <a:gd name="T9" fmla="*/ 36 h 36"/>
                <a:gd name="T10" fmla="*/ 42 w 109"/>
                <a:gd name="T11" fmla="*/ 35 h 36"/>
                <a:gd name="T12" fmla="*/ 93 w 109"/>
                <a:gd name="T13" fmla="*/ 36 h 36"/>
                <a:gd name="T14" fmla="*/ 103 w 109"/>
                <a:gd name="T15" fmla="*/ 22 h 36"/>
                <a:gd name="T16" fmla="*/ 54 w 109"/>
                <a:gd name="T17" fmla="*/ 2 h 36"/>
                <a:gd name="T18" fmla="*/ 49 w 109"/>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36">
                  <a:moveTo>
                    <a:pt x="49" y="0"/>
                  </a:moveTo>
                  <a:cubicBezTo>
                    <a:pt x="11" y="0"/>
                    <a:pt x="11" y="0"/>
                    <a:pt x="11" y="0"/>
                  </a:cubicBezTo>
                  <a:cubicBezTo>
                    <a:pt x="10" y="0"/>
                    <a:pt x="9" y="1"/>
                    <a:pt x="8" y="3"/>
                  </a:cubicBezTo>
                  <a:cubicBezTo>
                    <a:pt x="1" y="30"/>
                    <a:pt x="1" y="30"/>
                    <a:pt x="1" y="30"/>
                  </a:cubicBezTo>
                  <a:cubicBezTo>
                    <a:pt x="0" y="33"/>
                    <a:pt x="3" y="36"/>
                    <a:pt x="5" y="36"/>
                  </a:cubicBezTo>
                  <a:cubicBezTo>
                    <a:pt x="18" y="36"/>
                    <a:pt x="27" y="35"/>
                    <a:pt x="42" y="35"/>
                  </a:cubicBezTo>
                  <a:cubicBezTo>
                    <a:pt x="52" y="35"/>
                    <a:pt x="80" y="36"/>
                    <a:pt x="93" y="36"/>
                  </a:cubicBezTo>
                  <a:cubicBezTo>
                    <a:pt x="106" y="36"/>
                    <a:pt x="109" y="23"/>
                    <a:pt x="103" y="22"/>
                  </a:cubicBezTo>
                  <a:cubicBezTo>
                    <a:pt x="80" y="17"/>
                    <a:pt x="62" y="9"/>
                    <a:pt x="54" y="2"/>
                  </a:cubicBezTo>
                  <a:cubicBezTo>
                    <a:pt x="53" y="1"/>
                    <a:pt x="51" y="0"/>
                    <a:pt x="4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1" name="ïṧlíḓé">
              <a:extLst>
                <a:ext uri="{FF2B5EF4-FFF2-40B4-BE49-F238E27FC236}">
                  <a16:creationId xmlns:a16="http://schemas.microsoft.com/office/drawing/2014/main" id="{07D55F6C-D8C4-4DEA-A3C6-BC843D2CF7B1}"/>
                </a:ext>
              </a:extLst>
            </p:cNvPr>
            <p:cNvSpPr/>
            <p:nvPr/>
          </p:nvSpPr>
          <p:spPr bwMode="auto">
            <a:xfrm>
              <a:off x="5463526" y="5080678"/>
              <a:ext cx="2229" cy="18947"/>
            </a:xfrm>
            <a:custGeom>
              <a:avLst/>
              <a:gdLst>
                <a:gd name="T0" fmla="*/ 2 w 2"/>
                <a:gd name="T1" fmla="*/ 0 h 17"/>
                <a:gd name="T2" fmla="*/ 2 w 2"/>
                <a:gd name="T3" fmla="*/ 0 h 17"/>
                <a:gd name="T4" fmla="*/ 0 w 2"/>
                <a:gd name="T5" fmla="*/ 17 h 17"/>
                <a:gd name="T6" fmla="*/ 0 w 2"/>
                <a:gd name="T7" fmla="*/ 17 h 17"/>
                <a:gd name="T8" fmla="*/ 2 w 2"/>
                <a:gd name="T9" fmla="*/ 0 h 17"/>
              </a:gdLst>
              <a:ahLst/>
              <a:cxnLst>
                <a:cxn ang="0">
                  <a:pos x="T0" y="T1"/>
                </a:cxn>
                <a:cxn ang="0">
                  <a:pos x="T2" y="T3"/>
                </a:cxn>
                <a:cxn ang="0">
                  <a:pos x="T4" y="T5"/>
                </a:cxn>
                <a:cxn ang="0">
                  <a:pos x="T6" y="T7"/>
                </a:cxn>
                <a:cxn ang="0">
                  <a:pos x="T8" y="T9"/>
                </a:cxn>
              </a:cxnLst>
              <a:rect l="0" t="0" r="r" b="b"/>
              <a:pathLst>
                <a:path w="2" h="17">
                  <a:moveTo>
                    <a:pt x="2" y="0"/>
                  </a:moveTo>
                  <a:lnTo>
                    <a:pt x="2" y="0"/>
                  </a:lnTo>
                  <a:lnTo>
                    <a:pt x="0" y="17"/>
                  </a:lnTo>
                  <a:lnTo>
                    <a:pt x="0" y="17"/>
                  </a:lnTo>
                  <a:lnTo>
                    <a:pt x="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2" name="iṩľïḑe">
              <a:extLst>
                <a:ext uri="{FF2B5EF4-FFF2-40B4-BE49-F238E27FC236}">
                  <a16:creationId xmlns:a16="http://schemas.microsoft.com/office/drawing/2014/main" id="{4D15490A-6094-481F-BBC2-5458ED70D2FA}"/>
                </a:ext>
              </a:extLst>
            </p:cNvPr>
            <p:cNvSpPr/>
            <p:nvPr/>
          </p:nvSpPr>
          <p:spPr bwMode="auto">
            <a:xfrm>
              <a:off x="5463526" y="5080678"/>
              <a:ext cx="2229" cy="18947"/>
            </a:xfrm>
            <a:custGeom>
              <a:avLst/>
              <a:gdLst>
                <a:gd name="T0" fmla="*/ 2 w 2"/>
                <a:gd name="T1" fmla="*/ 0 h 17"/>
                <a:gd name="T2" fmla="*/ 2 w 2"/>
                <a:gd name="T3" fmla="*/ 0 h 17"/>
                <a:gd name="T4" fmla="*/ 0 w 2"/>
                <a:gd name="T5" fmla="*/ 17 h 17"/>
                <a:gd name="T6" fmla="*/ 0 w 2"/>
                <a:gd name="T7" fmla="*/ 17 h 17"/>
                <a:gd name="T8" fmla="*/ 2 w 2"/>
                <a:gd name="T9" fmla="*/ 0 h 17"/>
              </a:gdLst>
              <a:ahLst/>
              <a:cxnLst>
                <a:cxn ang="0">
                  <a:pos x="T0" y="T1"/>
                </a:cxn>
                <a:cxn ang="0">
                  <a:pos x="T2" y="T3"/>
                </a:cxn>
                <a:cxn ang="0">
                  <a:pos x="T4" y="T5"/>
                </a:cxn>
                <a:cxn ang="0">
                  <a:pos x="T6" y="T7"/>
                </a:cxn>
                <a:cxn ang="0">
                  <a:pos x="T8" y="T9"/>
                </a:cxn>
              </a:cxnLst>
              <a:rect l="0" t="0" r="r" b="b"/>
              <a:pathLst>
                <a:path w="2" h="17">
                  <a:moveTo>
                    <a:pt x="2" y="0"/>
                  </a:moveTo>
                  <a:lnTo>
                    <a:pt x="2" y="0"/>
                  </a:lnTo>
                  <a:lnTo>
                    <a:pt x="0" y="17"/>
                  </a:lnTo>
                  <a:lnTo>
                    <a:pt x="0" y="17"/>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3" name="ï$ľidè">
              <a:extLst>
                <a:ext uri="{FF2B5EF4-FFF2-40B4-BE49-F238E27FC236}">
                  <a16:creationId xmlns:a16="http://schemas.microsoft.com/office/drawing/2014/main" id="{AE19FC03-59F4-40CA-B605-9924E1350B96}"/>
                </a:ext>
              </a:extLst>
            </p:cNvPr>
            <p:cNvSpPr/>
            <p:nvPr/>
          </p:nvSpPr>
          <p:spPr bwMode="auto">
            <a:xfrm>
              <a:off x="5463526" y="5080678"/>
              <a:ext cx="84701" cy="18947"/>
            </a:xfrm>
            <a:custGeom>
              <a:avLst/>
              <a:gdLst>
                <a:gd name="T0" fmla="*/ 76 w 76"/>
                <a:gd name="T1" fmla="*/ 0 h 17"/>
                <a:gd name="T2" fmla="*/ 2 w 76"/>
                <a:gd name="T3" fmla="*/ 0 h 17"/>
                <a:gd name="T4" fmla="*/ 0 w 76"/>
                <a:gd name="T5" fmla="*/ 17 h 17"/>
                <a:gd name="T6" fmla="*/ 73 w 76"/>
                <a:gd name="T7" fmla="*/ 17 h 17"/>
                <a:gd name="T8" fmla="*/ 76 w 76"/>
                <a:gd name="T9" fmla="*/ 0 h 17"/>
              </a:gdLst>
              <a:ahLst/>
              <a:cxnLst>
                <a:cxn ang="0">
                  <a:pos x="T0" y="T1"/>
                </a:cxn>
                <a:cxn ang="0">
                  <a:pos x="T2" y="T3"/>
                </a:cxn>
                <a:cxn ang="0">
                  <a:pos x="T4" y="T5"/>
                </a:cxn>
                <a:cxn ang="0">
                  <a:pos x="T6" y="T7"/>
                </a:cxn>
                <a:cxn ang="0">
                  <a:pos x="T8" y="T9"/>
                </a:cxn>
              </a:cxnLst>
              <a:rect l="0" t="0" r="r" b="b"/>
              <a:pathLst>
                <a:path w="76" h="17">
                  <a:moveTo>
                    <a:pt x="76" y="0"/>
                  </a:moveTo>
                  <a:lnTo>
                    <a:pt x="2" y="0"/>
                  </a:lnTo>
                  <a:lnTo>
                    <a:pt x="0" y="17"/>
                  </a:lnTo>
                  <a:lnTo>
                    <a:pt x="73" y="17"/>
                  </a:lnTo>
                  <a:lnTo>
                    <a:pt x="76" y="0"/>
                  </a:lnTo>
                  <a:close/>
                </a:path>
              </a:pathLst>
            </a:custGeom>
            <a:solidFill>
              <a:srgbClr val="CC9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4" name="islïḑè">
              <a:extLst>
                <a:ext uri="{FF2B5EF4-FFF2-40B4-BE49-F238E27FC236}">
                  <a16:creationId xmlns:a16="http://schemas.microsoft.com/office/drawing/2014/main" id="{752FEB9D-13A6-47A4-8E40-2CCFA8817DF6}"/>
                </a:ext>
              </a:extLst>
            </p:cNvPr>
            <p:cNvSpPr/>
            <p:nvPr/>
          </p:nvSpPr>
          <p:spPr bwMode="auto">
            <a:xfrm>
              <a:off x="5463526" y="5080678"/>
              <a:ext cx="84701" cy="18947"/>
            </a:xfrm>
            <a:custGeom>
              <a:avLst/>
              <a:gdLst>
                <a:gd name="T0" fmla="*/ 76 w 76"/>
                <a:gd name="T1" fmla="*/ 0 h 17"/>
                <a:gd name="T2" fmla="*/ 2 w 76"/>
                <a:gd name="T3" fmla="*/ 0 h 17"/>
                <a:gd name="T4" fmla="*/ 0 w 76"/>
                <a:gd name="T5" fmla="*/ 17 h 17"/>
                <a:gd name="T6" fmla="*/ 73 w 76"/>
                <a:gd name="T7" fmla="*/ 17 h 17"/>
                <a:gd name="T8" fmla="*/ 76 w 76"/>
                <a:gd name="T9" fmla="*/ 0 h 17"/>
              </a:gdLst>
              <a:ahLst/>
              <a:cxnLst>
                <a:cxn ang="0">
                  <a:pos x="T0" y="T1"/>
                </a:cxn>
                <a:cxn ang="0">
                  <a:pos x="T2" y="T3"/>
                </a:cxn>
                <a:cxn ang="0">
                  <a:pos x="T4" y="T5"/>
                </a:cxn>
                <a:cxn ang="0">
                  <a:pos x="T6" y="T7"/>
                </a:cxn>
                <a:cxn ang="0">
                  <a:pos x="T8" y="T9"/>
                </a:cxn>
              </a:cxnLst>
              <a:rect l="0" t="0" r="r" b="b"/>
              <a:pathLst>
                <a:path w="76" h="17">
                  <a:moveTo>
                    <a:pt x="76" y="0"/>
                  </a:moveTo>
                  <a:lnTo>
                    <a:pt x="2" y="0"/>
                  </a:lnTo>
                  <a:lnTo>
                    <a:pt x="0" y="17"/>
                  </a:lnTo>
                  <a:lnTo>
                    <a:pt x="73" y="17"/>
                  </a:lnTo>
                  <a:lnTo>
                    <a:pt x="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5" name="ïSlídè">
              <a:extLst>
                <a:ext uri="{FF2B5EF4-FFF2-40B4-BE49-F238E27FC236}">
                  <a16:creationId xmlns:a16="http://schemas.microsoft.com/office/drawing/2014/main" id="{0A18D702-6EDE-471D-BDFE-872A08BA9D66}"/>
                </a:ext>
              </a:extLst>
            </p:cNvPr>
            <p:cNvSpPr/>
            <p:nvPr/>
          </p:nvSpPr>
          <p:spPr bwMode="auto">
            <a:xfrm>
              <a:off x="5340932" y="3286345"/>
              <a:ext cx="338806" cy="1794333"/>
            </a:xfrm>
            <a:custGeom>
              <a:avLst/>
              <a:gdLst>
                <a:gd name="T0" fmla="*/ 108 w 128"/>
                <a:gd name="T1" fmla="*/ 0 h 678"/>
                <a:gd name="T2" fmla="*/ 122 w 128"/>
                <a:gd name="T3" fmla="*/ 334 h 678"/>
                <a:gd name="T4" fmla="*/ 92 w 128"/>
                <a:gd name="T5" fmla="*/ 678 h 678"/>
                <a:gd name="T6" fmla="*/ 35 w 128"/>
                <a:gd name="T7" fmla="*/ 678 h 678"/>
                <a:gd name="T8" fmla="*/ 37 w 128"/>
                <a:gd name="T9" fmla="*/ 354 h 678"/>
                <a:gd name="T10" fmla="*/ 0 w 128"/>
                <a:gd name="T11" fmla="*/ 1 h 678"/>
                <a:gd name="T12" fmla="*/ 108 w 128"/>
                <a:gd name="T13" fmla="*/ 0 h 678"/>
              </a:gdLst>
              <a:ahLst/>
              <a:cxnLst>
                <a:cxn ang="0">
                  <a:pos x="T0" y="T1"/>
                </a:cxn>
                <a:cxn ang="0">
                  <a:pos x="T2" y="T3"/>
                </a:cxn>
                <a:cxn ang="0">
                  <a:pos x="T4" y="T5"/>
                </a:cxn>
                <a:cxn ang="0">
                  <a:pos x="T6" y="T7"/>
                </a:cxn>
                <a:cxn ang="0">
                  <a:pos x="T8" y="T9"/>
                </a:cxn>
                <a:cxn ang="0">
                  <a:pos x="T10" y="T11"/>
                </a:cxn>
                <a:cxn ang="0">
                  <a:pos x="T12" y="T13"/>
                </a:cxn>
              </a:cxnLst>
              <a:rect l="0" t="0" r="r" b="b"/>
              <a:pathLst>
                <a:path w="128" h="678">
                  <a:moveTo>
                    <a:pt x="108" y="0"/>
                  </a:moveTo>
                  <a:cubicBezTo>
                    <a:pt x="108" y="0"/>
                    <a:pt x="128" y="243"/>
                    <a:pt x="122" y="334"/>
                  </a:cubicBezTo>
                  <a:cubicBezTo>
                    <a:pt x="116" y="435"/>
                    <a:pt x="92" y="678"/>
                    <a:pt x="92" y="678"/>
                  </a:cubicBezTo>
                  <a:cubicBezTo>
                    <a:pt x="35" y="678"/>
                    <a:pt x="35" y="678"/>
                    <a:pt x="35" y="678"/>
                  </a:cubicBezTo>
                  <a:cubicBezTo>
                    <a:pt x="35" y="678"/>
                    <a:pt x="40" y="451"/>
                    <a:pt x="37" y="354"/>
                  </a:cubicBezTo>
                  <a:cubicBezTo>
                    <a:pt x="33" y="242"/>
                    <a:pt x="0" y="1"/>
                    <a:pt x="0" y="1"/>
                  </a:cubicBezTo>
                  <a:cubicBezTo>
                    <a:pt x="108" y="0"/>
                    <a:pt x="108" y="0"/>
                    <a:pt x="108"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6" name="îṧľîḑé">
              <a:extLst>
                <a:ext uri="{FF2B5EF4-FFF2-40B4-BE49-F238E27FC236}">
                  <a16:creationId xmlns:a16="http://schemas.microsoft.com/office/drawing/2014/main" id="{797CC03A-4D20-404D-8A32-EE8C15165A84}"/>
                </a:ext>
              </a:extLst>
            </p:cNvPr>
            <p:cNvSpPr/>
            <p:nvPr/>
          </p:nvSpPr>
          <p:spPr bwMode="auto">
            <a:xfrm>
              <a:off x="5417832" y="5027183"/>
              <a:ext cx="193922" cy="55725"/>
            </a:xfrm>
            <a:custGeom>
              <a:avLst/>
              <a:gdLst>
                <a:gd name="T0" fmla="*/ 162 w 174"/>
                <a:gd name="T1" fmla="*/ 50 h 50"/>
                <a:gd name="T2" fmla="*/ 0 w 174"/>
                <a:gd name="T3" fmla="*/ 50 h 50"/>
                <a:gd name="T4" fmla="*/ 3 w 174"/>
                <a:gd name="T5" fmla="*/ 3 h 50"/>
                <a:gd name="T6" fmla="*/ 174 w 174"/>
                <a:gd name="T7" fmla="*/ 0 h 50"/>
                <a:gd name="T8" fmla="*/ 162 w 174"/>
                <a:gd name="T9" fmla="*/ 50 h 50"/>
              </a:gdLst>
              <a:ahLst/>
              <a:cxnLst>
                <a:cxn ang="0">
                  <a:pos x="T0" y="T1"/>
                </a:cxn>
                <a:cxn ang="0">
                  <a:pos x="T2" y="T3"/>
                </a:cxn>
                <a:cxn ang="0">
                  <a:pos x="T4" y="T5"/>
                </a:cxn>
                <a:cxn ang="0">
                  <a:pos x="T6" y="T7"/>
                </a:cxn>
                <a:cxn ang="0">
                  <a:pos x="T8" y="T9"/>
                </a:cxn>
              </a:cxnLst>
              <a:rect l="0" t="0" r="r" b="b"/>
              <a:pathLst>
                <a:path w="174" h="50">
                  <a:moveTo>
                    <a:pt x="162" y="50"/>
                  </a:moveTo>
                  <a:lnTo>
                    <a:pt x="0" y="50"/>
                  </a:lnTo>
                  <a:lnTo>
                    <a:pt x="3" y="3"/>
                  </a:lnTo>
                  <a:lnTo>
                    <a:pt x="174" y="0"/>
                  </a:lnTo>
                  <a:lnTo>
                    <a:pt x="162" y="50"/>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7" name="iṡ1ïḑé">
              <a:extLst>
                <a:ext uri="{FF2B5EF4-FFF2-40B4-BE49-F238E27FC236}">
                  <a16:creationId xmlns:a16="http://schemas.microsoft.com/office/drawing/2014/main" id="{49E338DF-A49C-45AB-B88D-E9638CFD4A78}"/>
                </a:ext>
              </a:extLst>
            </p:cNvPr>
            <p:cNvSpPr/>
            <p:nvPr/>
          </p:nvSpPr>
          <p:spPr bwMode="auto">
            <a:xfrm>
              <a:off x="5556029" y="5173181"/>
              <a:ext cx="42351" cy="23405"/>
            </a:xfrm>
            <a:custGeom>
              <a:avLst/>
              <a:gdLst>
                <a:gd name="T0" fmla="*/ 8 w 16"/>
                <a:gd name="T1" fmla="*/ 9 h 9"/>
                <a:gd name="T2" fmla="*/ 14 w 16"/>
                <a:gd name="T3" fmla="*/ 7 h 9"/>
                <a:gd name="T4" fmla="*/ 16 w 16"/>
                <a:gd name="T5" fmla="*/ 3 h 9"/>
                <a:gd name="T6" fmla="*/ 15 w 16"/>
                <a:gd name="T7" fmla="*/ 1 h 9"/>
                <a:gd name="T8" fmla="*/ 0 w 16"/>
                <a:gd name="T9" fmla="*/ 6 h 9"/>
                <a:gd name="T10" fmla="*/ 0 w 16"/>
                <a:gd name="T11" fmla="*/ 7 h 9"/>
                <a:gd name="T12" fmla="*/ 0 w 16"/>
                <a:gd name="T13" fmla="*/ 8 h 9"/>
                <a:gd name="T14" fmla="*/ 8 w 16"/>
                <a:gd name="T15" fmla="*/ 9 h 9"/>
                <a:gd name="T16" fmla="*/ 13 w 16"/>
                <a:gd name="T17" fmla="*/ 2 h 9"/>
                <a:gd name="T18" fmla="*/ 14 w 16"/>
                <a:gd name="T19" fmla="*/ 3 h 9"/>
                <a:gd name="T20" fmla="*/ 15 w 16"/>
                <a:gd name="T21" fmla="*/ 4 h 9"/>
                <a:gd name="T22" fmla="*/ 13 w 16"/>
                <a:gd name="T23" fmla="*/ 6 h 9"/>
                <a:gd name="T24" fmla="*/ 2 w 16"/>
                <a:gd name="T25" fmla="*/ 7 h 9"/>
                <a:gd name="T26" fmla="*/ 13 w 16"/>
                <a:gd name="T2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9">
                  <a:moveTo>
                    <a:pt x="8" y="9"/>
                  </a:moveTo>
                  <a:cubicBezTo>
                    <a:pt x="11" y="9"/>
                    <a:pt x="13" y="9"/>
                    <a:pt x="14" y="7"/>
                  </a:cubicBezTo>
                  <a:cubicBezTo>
                    <a:pt x="16" y="6"/>
                    <a:pt x="16" y="5"/>
                    <a:pt x="16" y="3"/>
                  </a:cubicBezTo>
                  <a:cubicBezTo>
                    <a:pt x="16" y="2"/>
                    <a:pt x="15" y="2"/>
                    <a:pt x="15" y="1"/>
                  </a:cubicBezTo>
                  <a:cubicBezTo>
                    <a:pt x="11" y="0"/>
                    <a:pt x="1" y="6"/>
                    <a:pt x="0" y="6"/>
                  </a:cubicBezTo>
                  <a:cubicBezTo>
                    <a:pt x="0" y="7"/>
                    <a:pt x="0" y="7"/>
                    <a:pt x="0" y="7"/>
                  </a:cubicBezTo>
                  <a:cubicBezTo>
                    <a:pt x="0" y="8"/>
                    <a:pt x="0" y="8"/>
                    <a:pt x="0" y="8"/>
                  </a:cubicBezTo>
                  <a:cubicBezTo>
                    <a:pt x="2" y="8"/>
                    <a:pt x="5" y="9"/>
                    <a:pt x="8" y="9"/>
                  </a:cubicBezTo>
                  <a:close/>
                  <a:moveTo>
                    <a:pt x="13" y="2"/>
                  </a:moveTo>
                  <a:cubicBezTo>
                    <a:pt x="14" y="2"/>
                    <a:pt x="14" y="3"/>
                    <a:pt x="14" y="3"/>
                  </a:cubicBezTo>
                  <a:cubicBezTo>
                    <a:pt x="14" y="3"/>
                    <a:pt x="15" y="3"/>
                    <a:pt x="15" y="4"/>
                  </a:cubicBezTo>
                  <a:cubicBezTo>
                    <a:pt x="15" y="5"/>
                    <a:pt x="14" y="6"/>
                    <a:pt x="13" y="6"/>
                  </a:cubicBezTo>
                  <a:cubicBezTo>
                    <a:pt x="12" y="8"/>
                    <a:pt x="8" y="8"/>
                    <a:pt x="2" y="7"/>
                  </a:cubicBezTo>
                  <a:cubicBezTo>
                    <a:pt x="6" y="5"/>
                    <a:pt x="11" y="2"/>
                    <a:pt x="13"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8" name="íṡliḑê">
              <a:extLst>
                <a:ext uri="{FF2B5EF4-FFF2-40B4-BE49-F238E27FC236}">
                  <a16:creationId xmlns:a16="http://schemas.microsoft.com/office/drawing/2014/main" id="{23F1B718-7084-49BC-92AA-3558C3BB6A66}"/>
                </a:ext>
              </a:extLst>
            </p:cNvPr>
            <p:cNvSpPr/>
            <p:nvPr/>
          </p:nvSpPr>
          <p:spPr bwMode="auto">
            <a:xfrm>
              <a:off x="5556029" y="5157578"/>
              <a:ext cx="25634" cy="36779"/>
            </a:xfrm>
            <a:custGeom>
              <a:avLst/>
              <a:gdLst>
                <a:gd name="T0" fmla="*/ 0 w 10"/>
                <a:gd name="T1" fmla="*/ 14 h 14"/>
                <a:gd name="T2" fmla="*/ 1 w 10"/>
                <a:gd name="T3" fmla="*/ 14 h 14"/>
                <a:gd name="T4" fmla="*/ 10 w 10"/>
                <a:gd name="T5" fmla="*/ 2 h 14"/>
                <a:gd name="T6" fmla="*/ 8 w 10"/>
                <a:gd name="T7" fmla="*/ 0 h 14"/>
                <a:gd name="T8" fmla="*/ 4 w 10"/>
                <a:gd name="T9" fmla="*/ 1 h 14"/>
                <a:gd name="T10" fmla="*/ 0 w 10"/>
                <a:gd name="T11" fmla="*/ 13 h 14"/>
                <a:gd name="T12" fmla="*/ 0 w 10"/>
                <a:gd name="T13" fmla="*/ 14 h 14"/>
                <a:gd name="T14" fmla="*/ 7 w 10"/>
                <a:gd name="T15" fmla="*/ 1 h 14"/>
                <a:gd name="T16" fmla="*/ 7 w 10"/>
                <a:gd name="T17" fmla="*/ 1 h 14"/>
                <a:gd name="T18" fmla="*/ 8 w 10"/>
                <a:gd name="T19" fmla="*/ 2 h 14"/>
                <a:gd name="T20" fmla="*/ 1 w 10"/>
                <a:gd name="T21" fmla="*/ 12 h 14"/>
                <a:gd name="T22" fmla="*/ 5 w 10"/>
                <a:gd name="T23" fmla="*/ 2 h 14"/>
                <a:gd name="T24" fmla="*/ 7 w 10"/>
                <a:gd name="T25"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4">
                  <a:moveTo>
                    <a:pt x="0" y="14"/>
                  </a:moveTo>
                  <a:cubicBezTo>
                    <a:pt x="1" y="14"/>
                    <a:pt x="1" y="14"/>
                    <a:pt x="1" y="14"/>
                  </a:cubicBezTo>
                  <a:cubicBezTo>
                    <a:pt x="4" y="12"/>
                    <a:pt x="10" y="5"/>
                    <a:pt x="10" y="2"/>
                  </a:cubicBezTo>
                  <a:cubicBezTo>
                    <a:pt x="10" y="1"/>
                    <a:pt x="9" y="0"/>
                    <a:pt x="8" y="0"/>
                  </a:cubicBezTo>
                  <a:cubicBezTo>
                    <a:pt x="7" y="0"/>
                    <a:pt x="5" y="0"/>
                    <a:pt x="4" y="1"/>
                  </a:cubicBezTo>
                  <a:cubicBezTo>
                    <a:pt x="1" y="4"/>
                    <a:pt x="0" y="13"/>
                    <a:pt x="0" y="13"/>
                  </a:cubicBezTo>
                  <a:cubicBezTo>
                    <a:pt x="0" y="14"/>
                    <a:pt x="0" y="14"/>
                    <a:pt x="0" y="14"/>
                  </a:cubicBezTo>
                  <a:close/>
                  <a:moveTo>
                    <a:pt x="7" y="1"/>
                  </a:moveTo>
                  <a:cubicBezTo>
                    <a:pt x="7" y="1"/>
                    <a:pt x="7" y="1"/>
                    <a:pt x="7" y="1"/>
                  </a:cubicBezTo>
                  <a:cubicBezTo>
                    <a:pt x="8" y="1"/>
                    <a:pt x="8" y="2"/>
                    <a:pt x="8" y="2"/>
                  </a:cubicBezTo>
                  <a:cubicBezTo>
                    <a:pt x="9" y="4"/>
                    <a:pt x="5" y="9"/>
                    <a:pt x="1" y="12"/>
                  </a:cubicBezTo>
                  <a:cubicBezTo>
                    <a:pt x="2" y="9"/>
                    <a:pt x="3" y="4"/>
                    <a:pt x="5" y="2"/>
                  </a:cubicBezTo>
                  <a:cubicBezTo>
                    <a:pt x="6" y="1"/>
                    <a:pt x="6" y="1"/>
                    <a:pt x="7"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9" name="îṡḷíḋé">
              <a:extLst>
                <a:ext uri="{FF2B5EF4-FFF2-40B4-BE49-F238E27FC236}">
                  <a16:creationId xmlns:a16="http://schemas.microsoft.com/office/drawing/2014/main" id="{17872B95-CAFE-4B9F-9D0C-06D9443B82C3}"/>
                </a:ext>
              </a:extLst>
            </p:cNvPr>
            <p:cNvSpPr/>
            <p:nvPr/>
          </p:nvSpPr>
          <p:spPr bwMode="auto">
            <a:xfrm>
              <a:off x="4832723" y="4871154"/>
              <a:ext cx="164945" cy="201723"/>
            </a:xfrm>
            <a:custGeom>
              <a:avLst/>
              <a:gdLst>
                <a:gd name="T0" fmla="*/ 0 w 148"/>
                <a:gd name="T1" fmla="*/ 157 h 181"/>
                <a:gd name="T2" fmla="*/ 69 w 148"/>
                <a:gd name="T3" fmla="*/ 181 h 181"/>
                <a:gd name="T4" fmla="*/ 148 w 148"/>
                <a:gd name="T5" fmla="*/ 24 h 181"/>
                <a:gd name="T6" fmla="*/ 79 w 148"/>
                <a:gd name="T7" fmla="*/ 0 h 181"/>
                <a:gd name="T8" fmla="*/ 0 w 148"/>
                <a:gd name="T9" fmla="*/ 157 h 181"/>
              </a:gdLst>
              <a:ahLst/>
              <a:cxnLst>
                <a:cxn ang="0">
                  <a:pos x="T0" y="T1"/>
                </a:cxn>
                <a:cxn ang="0">
                  <a:pos x="T2" y="T3"/>
                </a:cxn>
                <a:cxn ang="0">
                  <a:pos x="T4" y="T5"/>
                </a:cxn>
                <a:cxn ang="0">
                  <a:pos x="T6" y="T7"/>
                </a:cxn>
                <a:cxn ang="0">
                  <a:pos x="T8" y="T9"/>
                </a:cxn>
              </a:cxnLst>
              <a:rect l="0" t="0" r="r" b="b"/>
              <a:pathLst>
                <a:path w="148" h="181">
                  <a:moveTo>
                    <a:pt x="0" y="157"/>
                  </a:moveTo>
                  <a:lnTo>
                    <a:pt x="69" y="181"/>
                  </a:lnTo>
                  <a:lnTo>
                    <a:pt x="148" y="24"/>
                  </a:lnTo>
                  <a:lnTo>
                    <a:pt x="79" y="0"/>
                  </a:lnTo>
                  <a:lnTo>
                    <a:pt x="0" y="157"/>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0" name="îşlïḍé">
              <a:extLst>
                <a:ext uri="{FF2B5EF4-FFF2-40B4-BE49-F238E27FC236}">
                  <a16:creationId xmlns:a16="http://schemas.microsoft.com/office/drawing/2014/main" id="{E80576C5-80B1-48EF-8DED-F52CAD60AD01}"/>
                </a:ext>
              </a:extLst>
            </p:cNvPr>
            <p:cNvSpPr/>
            <p:nvPr/>
          </p:nvSpPr>
          <p:spPr bwMode="auto">
            <a:xfrm>
              <a:off x="4832723" y="4871154"/>
              <a:ext cx="164945" cy="201723"/>
            </a:xfrm>
            <a:custGeom>
              <a:avLst/>
              <a:gdLst>
                <a:gd name="T0" fmla="*/ 0 w 148"/>
                <a:gd name="T1" fmla="*/ 157 h 181"/>
                <a:gd name="T2" fmla="*/ 69 w 148"/>
                <a:gd name="T3" fmla="*/ 181 h 181"/>
                <a:gd name="T4" fmla="*/ 148 w 148"/>
                <a:gd name="T5" fmla="*/ 24 h 181"/>
                <a:gd name="T6" fmla="*/ 79 w 148"/>
                <a:gd name="T7" fmla="*/ 0 h 181"/>
                <a:gd name="T8" fmla="*/ 0 w 148"/>
                <a:gd name="T9" fmla="*/ 157 h 181"/>
              </a:gdLst>
              <a:ahLst/>
              <a:cxnLst>
                <a:cxn ang="0">
                  <a:pos x="T0" y="T1"/>
                </a:cxn>
                <a:cxn ang="0">
                  <a:pos x="T2" y="T3"/>
                </a:cxn>
                <a:cxn ang="0">
                  <a:pos x="T4" y="T5"/>
                </a:cxn>
                <a:cxn ang="0">
                  <a:pos x="T6" y="T7"/>
                </a:cxn>
                <a:cxn ang="0">
                  <a:pos x="T8" y="T9"/>
                </a:cxn>
              </a:cxnLst>
              <a:rect l="0" t="0" r="r" b="b"/>
              <a:pathLst>
                <a:path w="148" h="181">
                  <a:moveTo>
                    <a:pt x="0" y="157"/>
                  </a:moveTo>
                  <a:lnTo>
                    <a:pt x="69" y="181"/>
                  </a:lnTo>
                  <a:lnTo>
                    <a:pt x="148" y="24"/>
                  </a:lnTo>
                  <a:lnTo>
                    <a:pt x="79" y="0"/>
                  </a:lnTo>
                  <a:lnTo>
                    <a:pt x="0" y="1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1" name="íšľïdê">
              <a:extLst>
                <a:ext uri="{FF2B5EF4-FFF2-40B4-BE49-F238E27FC236}">
                  <a16:creationId xmlns:a16="http://schemas.microsoft.com/office/drawing/2014/main" id="{EA89B6F4-30DE-4975-857B-8E7BC3AE1E06}"/>
                </a:ext>
              </a:extLst>
            </p:cNvPr>
            <p:cNvSpPr/>
            <p:nvPr/>
          </p:nvSpPr>
          <p:spPr bwMode="auto">
            <a:xfrm>
              <a:off x="4769197" y="5017152"/>
              <a:ext cx="246303" cy="225127"/>
            </a:xfrm>
            <a:custGeom>
              <a:avLst/>
              <a:gdLst>
                <a:gd name="T0" fmla="*/ 58 w 93"/>
                <a:gd name="T1" fmla="*/ 22 h 85"/>
                <a:gd name="T2" fmla="*/ 28 w 93"/>
                <a:gd name="T3" fmla="*/ 1 h 85"/>
                <a:gd name="T4" fmla="*/ 24 w 93"/>
                <a:gd name="T5" fmla="*/ 1 h 85"/>
                <a:gd name="T6" fmla="*/ 2 w 93"/>
                <a:gd name="T7" fmla="*/ 20 h 85"/>
                <a:gd name="T8" fmla="*/ 3 w 93"/>
                <a:gd name="T9" fmla="*/ 27 h 85"/>
                <a:gd name="T10" fmla="*/ 33 w 93"/>
                <a:gd name="T11" fmla="*/ 48 h 85"/>
                <a:gd name="T12" fmla="*/ 73 w 93"/>
                <a:gd name="T13" fmla="*/ 78 h 85"/>
                <a:gd name="T14" fmla="*/ 89 w 93"/>
                <a:gd name="T15" fmla="*/ 72 h 85"/>
                <a:gd name="T16" fmla="*/ 61 w 93"/>
                <a:gd name="T17" fmla="*/ 27 h 85"/>
                <a:gd name="T18" fmla="*/ 58 w 93"/>
                <a:gd name="T19" fmla="*/ 2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85">
                  <a:moveTo>
                    <a:pt x="58" y="22"/>
                  </a:moveTo>
                  <a:cubicBezTo>
                    <a:pt x="28" y="1"/>
                    <a:pt x="28" y="1"/>
                    <a:pt x="28" y="1"/>
                  </a:cubicBezTo>
                  <a:cubicBezTo>
                    <a:pt x="27" y="0"/>
                    <a:pt x="25" y="0"/>
                    <a:pt x="24" y="1"/>
                  </a:cubicBezTo>
                  <a:cubicBezTo>
                    <a:pt x="2" y="20"/>
                    <a:pt x="2" y="20"/>
                    <a:pt x="2" y="20"/>
                  </a:cubicBezTo>
                  <a:cubicBezTo>
                    <a:pt x="0" y="22"/>
                    <a:pt x="0" y="26"/>
                    <a:pt x="3" y="27"/>
                  </a:cubicBezTo>
                  <a:cubicBezTo>
                    <a:pt x="13" y="34"/>
                    <a:pt x="20" y="39"/>
                    <a:pt x="33" y="48"/>
                  </a:cubicBezTo>
                  <a:cubicBezTo>
                    <a:pt x="40" y="53"/>
                    <a:pt x="62" y="70"/>
                    <a:pt x="73" y="78"/>
                  </a:cubicBezTo>
                  <a:cubicBezTo>
                    <a:pt x="83" y="85"/>
                    <a:pt x="93" y="76"/>
                    <a:pt x="89" y="72"/>
                  </a:cubicBezTo>
                  <a:cubicBezTo>
                    <a:pt x="73" y="53"/>
                    <a:pt x="63" y="37"/>
                    <a:pt x="61" y="27"/>
                  </a:cubicBezTo>
                  <a:cubicBezTo>
                    <a:pt x="61" y="25"/>
                    <a:pt x="59" y="24"/>
                    <a:pt x="58" y="2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2" name="îśļîďê">
              <a:extLst>
                <a:ext uri="{FF2B5EF4-FFF2-40B4-BE49-F238E27FC236}">
                  <a16:creationId xmlns:a16="http://schemas.microsoft.com/office/drawing/2014/main" id="{387A971C-A3A1-4246-BB83-B86F61D1F20F}"/>
                </a:ext>
              </a:extLst>
            </p:cNvPr>
            <p:cNvSpPr/>
            <p:nvPr/>
          </p:nvSpPr>
          <p:spPr bwMode="auto">
            <a:xfrm>
              <a:off x="5513678" y="2156250"/>
              <a:ext cx="529384" cy="555017"/>
            </a:xfrm>
            <a:custGeom>
              <a:avLst/>
              <a:gdLst>
                <a:gd name="T0" fmla="*/ 0 w 200"/>
                <a:gd name="T1" fmla="*/ 164 h 210"/>
                <a:gd name="T2" fmla="*/ 7 w 200"/>
                <a:gd name="T3" fmla="*/ 162 h 210"/>
                <a:gd name="T4" fmla="*/ 15 w 200"/>
                <a:gd name="T5" fmla="*/ 160 h 210"/>
                <a:gd name="T6" fmla="*/ 31 w 200"/>
                <a:gd name="T7" fmla="*/ 156 h 210"/>
                <a:gd name="T8" fmla="*/ 62 w 200"/>
                <a:gd name="T9" fmla="*/ 145 h 210"/>
                <a:gd name="T10" fmla="*/ 91 w 200"/>
                <a:gd name="T11" fmla="*/ 132 h 210"/>
                <a:gd name="T12" fmla="*/ 115 w 200"/>
                <a:gd name="T13" fmla="*/ 115 h 210"/>
                <a:gd name="T14" fmla="*/ 117 w 200"/>
                <a:gd name="T15" fmla="*/ 113 h 210"/>
                <a:gd name="T16" fmla="*/ 119 w 200"/>
                <a:gd name="T17" fmla="*/ 111 h 210"/>
                <a:gd name="T18" fmla="*/ 123 w 200"/>
                <a:gd name="T19" fmla="*/ 105 h 210"/>
                <a:gd name="T20" fmla="*/ 132 w 200"/>
                <a:gd name="T21" fmla="*/ 92 h 210"/>
                <a:gd name="T22" fmla="*/ 147 w 200"/>
                <a:gd name="T23" fmla="*/ 62 h 210"/>
                <a:gd name="T24" fmla="*/ 177 w 200"/>
                <a:gd name="T25" fmla="*/ 0 h 210"/>
                <a:gd name="T26" fmla="*/ 200 w 200"/>
                <a:gd name="T27" fmla="*/ 7 h 210"/>
                <a:gd name="T28" fmla="*/ 181 w 200"/>
                <a:gd name="T29" fmla="*/ 76 h 210"/>
                <a:gd name="T30" fmla="*/ 167 w 200"/>
                <a:gd name="T31" fmla="*/ 110 h 210"/>
                <a:gd name="T32" fmla="*/ 159 w 200"/>
                <a:gd name="T33" fmla="*/ 128 h 210"/>
                <a:gd name="T34" fmla="*/ 153 w 200"/>
                <a:gd name="T35" fmla="*/ 136 h 210"/>
                <a:gd name="T36" fmla="*/ 149 w 200"/>
                <a:gd name="T37" fmla="*/ 141 h 210"/>
                <a:gd name="T38" fmla="*/ 146 w 200"/>
                <a:gd name="T39" fmla="*/ 145 h 210"/>
                <a:gd name="T40" fmla="*/ 131 w 200"/>
                <a:gd name="T41" fmla="*/ 160 h 210"/>
                <a:gd name="T42" fmla="*/ 114 w 200"/>
                <a:gd name="T43" fmla="*/ 171 h 210"/>
                <a:gd name="T44" fmla="*/ 80 w 200"/>
                <a:gd name="T45" fmla="*/ 189 h 210"/>
                <a:gd name="T46" fmla="*/ 45 w 200"/>
                <a:gd name="T47" fmla="*/ 202 h 210"/>
                <a:gd name="T48" fmla="*/ 27 w 200"/>
                <a:gd name="T49" fmla="*/ 206 h 210"/>
                <a:gd name="T50" fmla="*/ 17 w 200"/>
                <a:gd name="T51" fmla="*/ 208 h 210"/>
                <a:gd name="T52" fmla="*/ 8 w 200"/>
                <a:gd name="T53" fmla="*/ 210 h 210"/>
                <a:gd name="T54" fmla="*/ 0 w 200"/>
                <a:gd name="T55" fmla="*/ 16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210">
                  <a:moveTo>
                    <a:pt x="0" y="164"/>
                  </a:moveTo>
                  <a:cubicBezTo>
                    <a:pt x="2" y="163"/>
                    <a:pt x="5" y="162"/>
                    <a:pt x="7" y="162"/>
                  </a:cubicBezTo>
                  <a:cubicBezTo>
                    <a:pt x="15" y="160"/>
                    <a:pt x="15" y="160"/>
                    <a:pt x="15" y="160"/>
                  </a:cubicBezTo>
                  <a:cubicBezTo>
                    <a:pt x="21" y="159"/>
                    <a:pt x="26" y="157"/>
                    <a:pt x="31" y="156"/>
                  </a:cubicBezTo>
                  <a:cubicBezTo>
                    <a:pt x="42" y="153"/>
                    <a:pt x="52" y="149"/>
                    <a:pt x="62" y="145"/>
                  </a:cubicBezTo>
                  <a:cubicBezTo>
                    <a:pt x="72" y="142"/>
                    <a:pt x="82" y="137"/>
                    <a:pt x="91" y="132"/>
                  </a:cubicBezTo>
                  <a:cubicBezTo>
                    <a:pt x="100" y="127"/>
                    <a:pt x="108" y="122"/>
                    <a:pt x="115" y="115"/>
                  </a:cubicBezTo>
                  <a:cubicBezTo>
                    <a:pt x="117" y="113"/>
                    <a:pt x="117" y="113"/>
                    <a:pt x="117" y="113"/>
                  </a:cubicBezTo>
                  <a:cubicBezTo>
                    <a:pt x="118" y="112"/>
                    <a:pt x="118" y="112"/>
                    <a:pt x="119" y="111"/>
                  </a:cubicBezTo>
                  <a:cubicBezTo>
                    <a:pt x="120" y="109"/>
                    <a:pt x="122" y="107"/>
                    <a:pt x="123" y="105"/>
                  </a:cubicBezTo>
                  <a:cubicBezTo>
                    <a:pt x="126" y="101"/>
                    <a:pt x="129" y="97"/>
                    <a:pt x="132" y="92"/>
                  </a:cubicBezTo>
                  <a:cubicBezTo>
                    <a:pt x="137" y="83"/>
                    <a:pt x="142" y="73"/>
                    <a:pt x="147" y="62"/>
                  </a:cubicBezTo>
                  <a:cubicBezTo>
                    <a:pt x="158" y="42"/>
                    <a:pt x="167" y="21"/>
                    <a:pt x="177" y="0"/>
                  </a:cubicBezTo>
                  <a:cubicBezTo>
                    <a:pt x="200" y="7"/>
                    <a:pt x="200" y="7"/>
                    <a:pt x="200" y="7"/>
                  </a:cubicBezTo>
                  <a:cubicBezTo>
                    <a:pt x="195" y="30"/>
                    <a:pt x="188" y="53"/>
                    <a:pt x="181" y="76"/>
                  </a:cubicBezTo>
                  <a:cubicBezTo>
                    <a:pt x="177" y="87"/>
                    <a:pt x="173" y="99"/>
                    <a:pt x="167" y="110"/>
                  </a:cubicBezTo>
                  <a:cubicBezTo>
                    <a:pt x="165" y="116"/>
                    <a:pt x="162" y="122"/>
                    <a:pt x="159" y="128"/>
                  </a:cubicBezTo>
                  <a:cubicBezTo>
                    <a:pt x="157" y="130"/>
                    <a:pt x="155" y="133"/>
                    <a:pt x="153" y="136"/>
                  </a:cubicBezTo>
                  <a:cubicBezTo>
                    <a:pt x="152" y="138"/>
                    <a:pt x="151" y="140"/>
                    <a:pt x="149" y="141"/>
                  </a:cubicBezTo>
                  <a:cubicBezTo>
                    <a:pt x="146" y="145"/>
                    <a:pt x="146" y="145"/>
                    <a:pt x="146" y="145"/>
                  </a:cubicBezTo>
                  <a:cubicBezTo>
                    <a:pt x="141" y="151"/>
                    <a:pt x="136" y="155"/>
                    <a:pt x="131" y="160"/>
                  </a:cubicBezTo>
                  <a:cubicBezTo>
                    <a:pt x="125" y="164"/>
                    <a:pt x="120" y="168"/>
                    <a:pt x="114" y="171"/>
                  </a:cubicBezTo>
                  <a:cubicBezTo>
                    <a:pt x="103" y="178"/>
                    <a:pt x="92" y="184"/>
                    <a:pt x="80" y="189"/>
                  </a:cubicBezTo>
                  <a:cubicBezTo>
                    <a:pt x="68" y="194"/>
                    <a:pt x="56" y="198"/>
                    <a:pt x="45" y="202"/>
                  </a:cubicBezTo>
                  <a:cubicBezTo>
                    <a:pt x="39" y="203"/>
                    <a:pt x="33" y="205"/>
                    <a:pt x="27" y="206"/>
                  </a:cubicBezTo>
                  <a:cubicBezTo>
                    <a:pt x="24" y="207"/>
                    <a:pt x="21" y="208"/>
                    <a:pt x="17" y="208"/>
                  </a:cubicBezTo>
                  <a:cubicBezTo>
                    <a:pt x="14" y="209"/>
                    <a:pt x="11" y="210"/>
                    <a:pt x="8" y="210"/>
                  </a:cubicBezTo>
                  <a:lnTo>
                    <a:pt x="0" y="164"/>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 name="iṩļíḍe">
              <a:extLst>
                <a:ext uri="{FF2B5EF4-FFF2-40B4-BE49-F238E27FC236}">
                  <a16:creationId xmlns:a16="http://schemas.microsoft.com/office/drawing/2014/main" id="{51921DF6-7221-498C-89AE-1C75F12642D6}"/>
                </a:ext>
              </a:extLst>
            </p:cNvPr>
            <p:cNvSpPr/>
            <p:nvPr/>
          </p:nvSpPr>
          <p:spPr bwMode="auto">
            <a:xfrm>
              <a:off x="5402229" y="2499514"/>
              <a:ext cx="362210" cy="275280"/>
            </a:xfrm>
            <a:custGeom>
              <a:avLst/>
              <a:gdLst>
                <a:gd name="T0" fmla="*/ 26 w 137"/>
                <a:gd name="T1" fmla="*/ 88 h 104"/>
                <a:gd name="T2" fmla="*/ 137 w 137"/>
                <a:gd name="T3" fmla="*/ 77 h 104"/>
                <a:gd name="T4" fmla="*/ 125 w 137"/>
                <a:gd name="T5" fmla="*/ 0 h 104"/>
                <a:gd name="T6" fmla="*/ 52 w 137"/>
                <a:gd name="T7" fmla="*/ 19 h 104"/>
                <a:gd name="T8" fmla="*/ 26 w 137"/>
                <a:gd name="T9" fmla="*/ 88 h 104"/>
              </a:gdLst>
              <a:ahLst/>
              <a:cxnLst>
                <a:cxn ang="0">
                  <a:pos x="T0" y="T1"/>
                </a:cxn>
                <a:cxn ang="0">
                  <a:pos x="T2" y="T3"/>
                </a:cxn>
                <a:cxn ang="0">
                  <a:pos x="T4" y="T5"/>
                </a:cxn>
                <a:cxn ang="0">
                  <a:pos x="T6" y="T7"/>
                </a:cxn>
                <a:cxn ang="0">
                  <a:pos x="T8" y="T9"/>
                </a:cxn>
              </a:cxnLst>
              <a:rect l="0" t="0" r="r" b="b"/>
              <a:pathLst>
                <a:path w="137" h="104">
                  <a:moveTo>
                    <a:pt x="26" y="88"/>
                  </a:moveTo>
                  <a:cubicBezTo>
                    <a:pt x="50" y="104"/>
                    <a:pt x="137" y="77"/>
                    <a:pt x="137" y="77"/>
                  </a:cubicBezTo>
                  <a:cubicBezTo>
                    <a:pt x="125" y="0"/>
                    <a:pt x="125" y="0"/>
                    <a:pt x="125" y="0"/>
                  </a:cubicBezTo>
                  <a:cubicBezTo>
                    <a:pt x="125" y="0"/>
                    <a:pt x="89" y="8"/>
                    <a:pt x="52" y="19"/>
                  </a:cubicBezTo>
                  <a:cubicBezTo>
                    <a:pt x="27" y="26"/>
                    <a:pt x="0" y="69"/>
                    <a:pt x="26" y="88"/>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 name="iṧļíḑé">
              <a:extLst>
                <a:ext uri="{FF2B5EF4-FFF2-40B4-BE49-F238E27FC236}">
                  <a16:creationId xmlns:a16="http://schemas.microsoft.com/office/drawing/2014/main" id="{41B81E46-9C17-4584-B287-375FD76ED412}"/>
                </a:ext>
              </a:extLst>
            </p:cNvPr>
            <p:cNvSpPr/>
            <p:nvPr/>
          </p:nvSpPr>
          <p:spPr bwMode="auto">
            <a:xfrm>
              <a:off x="5973964" y="2100525"/>
              <a:ext cx="94732" cy="110335"/>
            </a:xfrm>
            <a:custGeom>
              <a:avLst/>
              <a:gdLst>
                <a:gd name="T0" fmla="*/ 0 w 36"/>
                <a:gd name="T1" fmla="*/ 33 h 42"/>
                <a:gd name="T2" fmla="*/ 6 w 36"/>
                <a:gd name="T3" fmla="*/ 0 h 42"/>
                <a:gd name="T4" fmla="*/ 36 w 36"/>
                <a:gd name="T5" fmla="*/ 20 h 42"/>
                <a:gd name="T6" fmla="*/ 19 w 36"/>
                <a:gd name="T7" fmla="*/ 42 h 42"/>
                <a:gd name="T8" fmla="*/ 0 w 36"/>
                <a:gd name="T9" fmla="*/ 33 h 42"/>
              </a:gdLst>
              <a:ahLst/>
              <a:cxnLst>
                <a:cxn ang="0">
                  <a:pos x="T0" y="T1"/>
                </a:cxn>
                <a:cxn ang="0">
                  <a:pos x="T2" y="T3"/>
                </a:cxn>
                <a:cxn ang="0">
                  <a:pos x="T4" y="T5"/>
                </a:cxn>
                <a:cxn ang="0">
                  <a:pos x="T6" y="T7"/>
                </a:cxn>
                <a:cxn ang="0">
                  <a:pos x="T8" y="T9"/>
                </a:cxn>
              </a:cxnLst>
              <a:rect l="0" t="0" r="r" b="b"/>
              <a:pathLst>
                <a:path w="36" h="42">
                  <a:moveTo>
                    <a:pt x="0" y="33"/>
                  </a:moveTo>
                  <a:cubicBezTo>
                    <a:pt x="6" y="0"/>
                    <a:pt x="6" y="0"/>
                    <a:pt x="6" y="0"/>
                  </a:cubicBezTo>
                  <a:cubicBezTo>
                    <a:pt x="36" y="20"/>
                    <a:pt x="36" y="20"/>
                    <a:pt x="36" y="20"/>
                  </a:cubicBezTo>
                  <a:cubicBezTo>
                    <a:pt x="36" y="20"/>
                    <a:pt x="33" y="34"/>
                    <a:pt x="19" y="42"/>
                  </a:cubicBezTo>
                  <a:lnTo>
                    <a:pt x="0" y="33"/>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 name="îṡľïďé">
              <a:extLst>
                <a:ext uri="{FF2B5EF4-FFF2-40B4-BE49-F238E27FC236}">
                  <a16:creationId xmlns:a16="http://schemas.microsoft.com/office/drawing/2014/main" id="{D4F97249-9649-4D9F-B88A-2D7F4BC71523}"/>
                </a:ext>
              </a:extLst>
            </p:cNvPr>
            <p:cNvSpPr/>
            <p:nvPr/>
          </p:nvSpPr>
          <p:spPr bwMode="auto">
            <a:xfrm>
              <a:off x="5989567" y="2029198"/>
              <a:ext cx="82472" cy="123709"/>
            </a:xfrm>
            <a:custGeom>
              <a:avLst/>
              <a:gdLst>
                <a:gd name="T0" fmla="*/ 19 w 74"/>
                <a:gd name="T1" fmla="*/ 21 h 111"/>
                <a:gd name="T2" fmla="*/ 74 w 74"/>
                <a:gd name="T3" fmla="*/ 0 h 111"/>
                <a:gd name="T4" fmla="*/ 71 w 74"/>
                <a:gd name="T5" fmla="*/ 111 h 111"/>
                <a:gd name="T6" fmla="*/ 0 w 74"/>
                <a:gd name="T7" fmla="*/ 64 h 111"/>
                <a:gd name="T8" fmla="*/ 19 w 74"/>
                <a:gd name="T9" fmla="*/ 21 h 111"/>
              </a:gdLst>
              <a:ahLst/>
              <a:cxnLst>
                <a:cxn ang="0">
                  <a:pos x="T0" y="T1"/>
                </a:cxn>
                <a:cxn ang="0">
                  <a:pos x="T2" y="T3"/>
                </a:cxn>
                <a:cxn ang="0">
                  <a:pos x="T4" y="T5"/>
                </a:cxn>
                <a:cxn ang="0">
                  <a:pos x="T6" y="T7"/>
                </a:cxn>
                <a:cxn ang="0">
                  <a:pos x="T8" y="T9"/>
                </a:cxn>
              </a:cxnLst>
              <a:rect l="0" t="0" r="r" b="b"/>
              <a:pathLst>
                <a:path w="74" h="111">
                  <a:moveTo>
                    <a:pt x="19" y="21"/>
                  </a:moveTo>
                  <a:lnTo>
                    <a:pt x="74" y="0"/>
                  </a:lnTo>
                  <a:lnTo>
                    <a:pt x="71" y="111"/>
                  </a:lnTo>
                  <a:lnTo>
                    <a:pt x="0" y="64"/>
                  </a:lnTo>
                  <a:lnTo>
                    <a:pt x="19" y="21"/>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6" name="í$ḻíḍé">
              <a:extLst>
                <a:ext uri="{FF2B5EF4-FFF2-40B4-BE49-F238E27FC236}">
                  <a16:creationId xmlns:a16="http://schemas.microsoft.com/office/drawing/2014/main" id="{A7FE8D30-7F27-4985-8043-6F619EBCB67B}"/>
                </a:ext>
              </a:extLst>
            </p:cNvPr>
            <p:cNvSpPr/>
            <p:nvPr/>
          </p:nvSpPr>
          <p:spPr bwMode="auto">
            <a:xfrm>
              <a:off x="4875074" y="4926878"/>
              <a:ext cx="18947" cy="34550"/>
            </a:xfrm>
            <a:custGeom>
              <a:avLst/>
              <a:gdLst>
                <a:gd name="T0" fmla="*/ 17 w 17"/>
                <a:gd name="T1" fmla="*/ 0 h 31"/>
                <a:gd name="T2" fmla="*/ 17 w 17"/>
                <a:gd name="T3" fmla="*/ 0 h 31"/>
                <a:gd name="T4" fmla="*/ 0 w 17"/>
                <a:gd name="T5" fmla="*/ 31 h 31"/>
                <a:gd name="T6" fmla="*/ 0 w 17"/>
                <a:gd name="T7" fmla="*/ 31 h 31"/>
                <a:gd name="T8" fmla="*/ 17 w 17"/>
                <a:gd name="T9" fmla="*/ 0 h 31"/>
              </a:gdLst>
              <a:ahLst/>
              <a:cxnLst>
                <a:cxn ang="0">
                  <a:pos x="T0" y="T1"/>
                </a:cxn>
                <a:cxn ang="0">
                  <a:pos x="T2" y="T3"/>
                </a:cxn>
                <a:cxn ang="0">
                  <a:pos x="T4" y="T5"/>
                </a:cxn>
                <a:cxn ang="0">
                  <a:pos x="T6" y="T7"/>
                </a:cxn>
                <a:cxn ang="0">
                  <a:pos x="T8" y="T9"/>
                </a:cxn>
              </a:cxnLst>
              <a:rect l="0" t="0" r="r" b="b"/>
              <a:pathLst>
                <a:path w="17" h="31">
                  <a:moveTo>
                    <a:pt x="17" y="0"/>
                  </a:moveTo>
                  <a:lnTo>
                    <a:pt x="17" y="0"/>
                  </a:lnTo>
                  <a:lnTo>
                    <a:pt x="0" y="31"/>
                  </a:lnTo>
                  <a:lnTo>
                    <a:pt x="0" y="31"/>
                  </a:lnTo>
                  <a:lnTo>
                    <a:pt x="17"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7" name="íṩlíḑe">
              <a:extLst>
                <a:ext uri="{FF2B5EF4-FFF2-40B4-BE49-F238E27FC236}">
                  <a16:creationId xmlns:a16="http://schemas.microsoft.com/office/drawing/2014/main" id="{0B79F2F4-F1BF-4804-8223-F6182B395E14}"/>
                </a:ext>
              </a:extLst>
            </p:cNvPr>
            <p:cNvSpPr/>
            <p:nvPr/>
          </p:nvSpPr>
          <p:spPr bwMode="auto">
            <a:xfrm>
              <a:off x="4875074" y="4926878"/>
              <a:ext cx="18947" cy="34550"/>
            </a:xfrm>
            <a:custGeom>
              <a:avLst/>
              <a:gdLst>
                <a:gd name="T0" fmla="*/ 17 w 17"/>
                <a:gd name="T1" fmla="*/ 0 h 31"/>
                <a:gd name="T2" fmla="*/ 17 w 17"/>
                <a:gd name="T3" fmla="*/ 0 h 31"/>
                <a:gd name="T4" fmla="*/ 0 w 17"/>
                <a:gd name="T5" fmla="*/ 31 h 31"/>
                <a:gd name="T6" fmla="*/ 0 w 17"/>
                <a:gd name="T7" fmla="*/ 31 h 31"/>
                <a:gd name="T8" fmla="*/ 17 w 17"/>
                <a:gd name="T9" fmla="*/ 0 h 31"/>
              </a:gdLst>
              <a:ahLst/>
              <a:cxnLst>
                <a:cxn ang="0">
                  <a:pos x="T0" y="T1"/>
                </a:cxn>
                <a:cxn ang="0">
                  <a:pos x="T2" y="T3"/>
                </a:cxn>
                <a:cxn ang="0">
                  <a:pos x="T4" y="T5"/>
                </a:cxn>
                <a:cxn ang="0">
                  <a:pos x="T6" y="T7"/>
                </a:cxn>
                <a:cxn ang="0">
                  <a:pos x="T8" y="T9"/>
                </a:cxn>
              </a:cxnLst>
              <a:rect l="0" t="0" r="r" b="b"/>
              <a:pathLst>
                <a:path w="17" h="31">
                  <a:moveTo>
                    <a:pt x="17" y="0"/>
                  </a:moveTo>
                  <a:lnTo>
                    <a:pt x="17" y="0"/>
                  </a:lnTo>
                  <a:lnTo>
                    <a:pt x="0" y="31"/>
                  </a:lnTo>
                  <a:lnTo>
                    <a:pt x="0" y="31"/>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8" name="íSľiḋê">
              <a:extLst>
                <a:ext uri="{FF2B5EF4-FFF2-40B4-BE49-F238E27FC236}">
                  <a16:creationId xmlns:a16="http://schemas.microsoft.com/office/drawing/2014/main" id="{FB0D7404-7D6F-41DD-90B2-5CA091BB52F7}"/>
                </a:ext>
              </a:extLst>
            </p:cNvPr>
            <p:cNvSpPr/>
            <p:nvPr/>
          </p:nvSpPr>
          <p:spPr bwMode="auto">
            <a:xfrm>
              <a:off x="4894020" y="4924649"/>
              <a:ext cx="1115" cy="2229"/>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9" name="i$ľiḓé">
              <a:extLst>
                <a:ext uri="{FF2B5EF4-FFF2-40B4-BE49-F238E27FC236}">
                  <a16:creationId xmlns:a16="http://schemas.microsoft.com/office/drawing/2014/main" id="{D6F3610A-5767-48F2-8CA4-992ABFCFE6FF}"/>
                </a:ext>
              </a:extLst>
            </p:cNvPr>
            <p:cNvSpPr/>
            <p:nvPr/>
          </p:nvSpPr>
          <p:spPr bwMode="auto">
            <a:xfrm>
              <a:off x="4894020" y="4924649"/>
              <a:ext cx="1115" cy="2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0" name="islîdê">
              <a:extLst>
                <a:ext uri="{FF2B5EF4-FFF2-40B4-BE49-F238E27FC236}">
                  <a16:creationId xmlns:a16="http://schemas.microsoft.com/office/drawing/2014/main" id="{E766EEAF-AF1F-4FB5-89A5-7286A6A9B3D5}"/>
                </a:ext>
              </a:extLst>
            </p:cNvPr>
            <p:cNvSpPr/>
            <p:nvPr/>
          </p:nvSpPr>
          <p:spPr bwMode="auto">
            <a:xfrm>
              <a:off x="4894020" y="4871154"/>
              <a:ext cx="103648" cy="53496"/>
            </a:xfrm>
            <a:custGeom>
              <a:avLst/>
              <a:gdLst>
                <a:gd name="T0" fmla="*/ 93 w 93"/>
                <a:gd name="T1" fmla="*/ 24 h 48"/>
                <a:gd name="T2" fmla="*/ 83 w 93"/>
                <a:gd name="T3" fmla="*/ 45 h 48"/>
                <a:gd name="T4" fmla="*/ 93 w 93"/>
                <a:gd name="T5" fmla="*/ 24 h 48"/>
                <a:gd name="T6" fmla="*/ 93 w 93"/>
                <a:gd name="T7" fmla="*/ 24 h 48"/>
                <a:gd name="T8" fmla="*/ 24 w 93"/>
                <a:gd name="T9" fmla="*/ 0 h 48"/>
                <a:gd name="T10" fmla="*/ 0 w 93"/>
                <a:gd name="T11" fmla="*/ 48 h 48"/>
                <a:gd name="T12" fmla="*/ 0 w 93"/>
                <a:gd name="T13" fmla="*/ 48 h 48"/>
                <a:gd name="T14" fmla="*/ 24 w 93"/>
                <a:gd name="T15" fmla="*/ 0 h 48"/>
                <a:gd name="T16" fmla="*/ 24 w 9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48">
                  <a:moveTo>
                    <a:pt x="93" y="24"/>
                  </a:moveTo>
                  <a:lnTo>
                    <a:pt x="83" y="45"/>
                  </a:lnTo>
                  <a:lnTo>
                    <a:pt x="93" y="24"/>
                  </a:lnTo>
                  <a:lnTo>
                    <a:pt x="93" y="24"/>
                  </a:lnTo>
                  <a:close/>
                  <a:moveTo>
                    <a:pt x="24" y="0"/>
                  </a:moveTo>
                  <a:lnTo>
                    <a:pt x="0" y="48"/>
                  </a:lnTo>
                  <a:lnTo>
                    <a:pt x="0" y="48"/>
                  </a:lnTo>
                  <a:lnTo>
                    <a:pt x="24" y="0"/>
                  </a:lnTo>
                  <a:lnTo>
                    <a:pt x="24"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1" name="íṧľiḍé">
              <a:extLst>
                <a:ext uri="{FF2B5EF4-FFF2-40B4-BE49-F238E27FC236}">
                  <a16:creationId xmlns:a16="http://schemas.microsoft.com/office/drawing/2014/main" id="{37B2926D-6504-4CA6-BE61-ECFD23BB32A0}"/>
                </a:ext>
              </a:extLst>
            </p:cNvPr>
            <p:cNvSpPr/>
            <p:nvPr/>
          </p:nvSpPr>
          <p:spPr bwMode="auto">
            <a:xfrm>
              <a:off x="4894020" y="4871154"/>
              <a:ext cx="103648" cy="53496"/>
            </a:xfrm>
            <a:custGeom>
              <a:avLst/>
              <a:gdLst>
                <a:gd name="T0" fmla="*/ 93 w 93"/>
                <a:gd name="T1" fmla="*/ 24 h 48"/>
                <a:gd name="T2" fmla="*/ 83 w 93"/>
                <a:gd name="T3" fmla="*/ 45 h 48"/>
                <a:gd name="T4" fmla="*/ 93 w 93"/>
                <a:gd name="T5" fmla="*/ 24 h 48"/>
                <a:gd name="T6" fmla="*/ 93 w 93"/>
                <a:gd name="T7" fmla="*/ 24 h 48"/>
                <a:gd name="T8" fmla="*/ 24 w 93"/>
                <a:gd name="T9" fmla="*/ 0 h 48"/>
                <a:gd name="T10" fmla="*/ 0 w 93"/>
                <a:gd name="T11" fmla="*/ 48 h 48"/>
                <a:gd name="T12" fmla="*/ 0 w 93"/>
                <a:gd name="T13" fmla="*/ 48 h 48"/>
                <a:gd name="T14" fmla="*/ 24 w 93"/>
                <a:gd name="T15" fmla="*/ 0 h 48"/>
                <a:gd name="T16" fmla="*/ 24 w 93"/>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48">
                  <a:moveTo>
                    <a:pt x="93" y="24"/>
                  </a:moveTo>
                  <a:lnTo>
                    <a:pt x="83" y="45"/>
                  </a:lnTo>
                  <a:lnTo>
                    <a:pt x="93" y="24"/>
                  </a:lnTo>
                  <a:lnTo>
                    <a:pt x="93" y="24"/>
                  </a:lnTo>
                  <a:moveTo>
                    <a:pt x="24" y="0"/>
                  </a:moveTo>
                  <a:lnTo>
                    <a:pt x="0" y="48"/>
                  </a:lnTo>
                  <a:lnTo>
                    <a:pt x="0" y="48"/>
                  </a:lnTo>
                  <a:lnTo>
                    <a:pt x="24"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 name="ïŝ1idê">
              <a:extLst>
                <a:ext uri="{FF2B5EF4-FFF2-40B4-BE49-F238E27FC236}">
                  <a16:creationId xmlns:a16="http://schemas.microsoft.com/office/drawing/2014/main" id="{E7B21083-099B-42AA-836A-2225C27A2F9F}"/>
                </a:ext>
              </a:extLst>
            </p:cNvPr>
            <p:cNvSpPr/>
            <p:nvPr/>
          </p:nvSpPr>
          <p:spPr bwMode="auto">
            <a:xfrm>
              <a:off x="4875074" y="4871154"/>
              <a:ext cx="122594" cy="117022"/>
            </a:xfrm>
            <a:custGeom>
              <a:avLst/>
              <a:gdLst>
                <a:gd name="T0" fmla="*/ 41 w 110"/>
                <a:gd name="T1" fmla="*/ 0 h 105"/>
                <a:gd name="T2" fmla="*/ 17 w 110"/>
                <a:gd name="T3" fmla="*/ 48 h 105"/>
                <a:gd name="T4" fmla="*/ 17 w 110"/>
                <a:gd name="T5" fmla="*/ 50 h 105"/>
                <a:gd name="T6" fmla="*/ 0 w 110"/>
                <a:gd name="T7" fmla="*/ 81 h 105"/>
                <a:gd name="T8" fmla="*/ 69 w 110"/>
                <a:gd name="T9" fmla="*/ 105 h 105"/>
                <a:gd name="T10" fmla="*/ 100 w 110"/>
                <a:gd name="T11" fmla="*/ 45 h 105"/>
                <a:gd name="T12" fmla="*/ 110 w 110"/>
                <a:gd name="T13" fmla="*/ 24 h 105"/>
                <a:gd name="T14" fmla="*/ 41 w 110"/>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05">
                  <a:moveTo>
                    <a:pt x="41" y="0"/>
                  </a:moveTo>
                  <a:lnTo>
                    <a:pt x="17" y="48"/>
                  </a:lnTo>
                  <a:lnTo>
                    <a:pt x="17" y="50"/>
                  </a:lnTo>
                  <a:lnTo>
                    <a:pt x="0" y="81"/>
                  </a:lnTo>
                  <a:lnTo>
                    <a:pt x="69" y="105"/>
                  </a:lnTo>
                  <a:lnTo>
                    <a:pt x="100" y="45"/>
                  </a:lnTo>
                  <a:lnTo>
                    <a:pt x="110" y="24"/>
                  </a:lnTo>
                  <a:lnTo>
                    <a:pt x="41" y="0"/>
                  </a:lnTo>
                  <a:close/>
                </a:path>
              </a:pathLst>
            </a:custGeom>
            <a:solidFill>
              <a:srgbClr val="CC9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 name="ïŝlíďé">
              <a:extLst>
                <a:ext uri="{FF2B5EF4-FFF2-40B4-BE49-F238E27FC236}">
                  <a16:creationId xmlns:a16="http://schemas.microsoft.com/office/drawing/2014/main" id="{58F97931-34F4-477A-A6F8-2C4E0D0D73E2}"/>
                </a:ext>
              </a:extLst>
            </p:cNvPr>
            <p:cNvSpPr/>
            <p:nvPr/>
          </p:nvSpPr>
          <p:spPr bwMode="auto">
            <a:xfrm>
              <a:off x="4875074" y="4871154"/>
              <a:ext cx="122594" cy="117022"/>
            </a:xfrm>
            <a:custGeom>
              <a:avLst/>
              <a:gdLst>
                <a:gd name="T0" fmla="*/ 41 w 110"/>
                <a:gd name="T1" fmla="*/ 0 h 105"/>
                <a:gd name="T2" fmla="*/ 17 w 110"/>
                <a:gd name="T3" fmla="*/ 48 h 105"/>
                <a:gd name="T4" fmla="*/ 17 w 110"/>
                <a:gd name="T5" fmla="*/ 50 h 105"/>
                <a:gd name="T6" fmla="*/ 0 w 110"/>
                <a:gd name="T7" fmla="*/ 81 h 105"/>
                <a:gd name="T8" fmla="*/ 69 w 110"/>
                <a:gd name="T9" fmla="*/ 105 h 105"/>
                <a:gd name="T10" fmla="*/ 100 w 110"/>
                <a:gd name="T11" fmla="*/ 45 h 105"/>
                <a:gd name="T12" fmla="*/ 110 w 110"/>
                <a:gd name="T13" fmla="*/ 24 h 105"/>
                <a:gd name="T14" fmla="*/ 41 w 110"/>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05">
                  <a:moveTo>
                    <a:pt x="41" y="0"/>
                  </a:moveTo>
                  <a:lnTo>
                    <a:pt x="17" y="48"/>
                  </a:lnTo>
                  <a:lnTo>
                    <a:pt x="17" y="50"/>
                  </a:lnTo>
                  <a:lnTo>
                    <a:pt x="0" y="81"/>
                  </a:lnTo>
                  <a:lnTo>
                    <a:pt x="69" y="105"/>
                  </a:lnTo>
                  <a:lnTo>
                    <a:pt x="100" y="45"/>
                  </a:lnTo>
                  <a:lnTo>
                    <a:pt x="110" y="24"/>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 name="iŝ1îḓé">
              <a:extLst>
                <a:ext uri="{FF2B5EF4-FFF2-40B4-BE49-F238E27FC236}">
                  <a16:creationId xmlns:a16="http://schemas.microsoft.com/office/drawing/2014/main" id="{60E6CFA8-E789-4AB7-8689-D4D90AB79FFC}"/>
                </a:ext>
              </a:extLst>
            </p:cNvPr>
            <p:cNvSpPr/>
            <p:nvPr/>
          </p:nvSpPr>
          <p:spPr bwMode="auto">
            <a:xfrm>
              <a:off x="5174872" y="2545208"/>
              <a:ext cx="555017" cy="745596"/>
            </a:xfrm>
            <a:custGeom>
              <a:avLst/>
              <a:gdLst>
                <a:gd name="T0" fmla="*/ 0 w 210"/>
                <a:gd name="T1" fmla="*/ 10 h 282"/>
                <a:gd name="T2" fmla="*/ 10 w 210"/>
                <a:gd name="T3" fmla="*/ 114 h 282"/>
                <a:gd name="T4" fmla="*/ 10 w 210"/>
                <a:gd name="T5" fmla="*/ 183 h 282"/>
                <a:gd name="T6" fmla="*/ 3 w 210"/>
                <a:gd name="T7" fmla="*/ 282 h 282"/>
                <a:gd name="T8" fmla="*/ 171 w 210"/>
                <a:gd name="T9" fmla="*/ 280 h 282"/>
                <a:gd name="T10" fmla="*/ 175 w 210"/>
                <a:gd name="T11" fmla="*/ 10 h 282"/>
                <a:gd name="T12" fmla="*/ 136 w 210"/>
                <a:gd name="T13" fmla="*/ 2 h 282"/>
                <a:gd name="T14" fmla="*/ 127 w 210"/>
                <a:gd name="T15" fmla="*/ 1 h 282"/>
                <a:gd name="T16" fmla="*/ 56 w 210"/>
                <a:gd name="T17" fmla="*/ 2 h 282"/>
                <a:gd name="T18" fmla="*/ 43 w 210"/>
                <a:gd name="T19" fmla="*/ 3 h 282"/>
                <a:gd name="T20" fmla="*/ 0 w 210"/>
                <a:gd name="T21" fmla="*/ 1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0" h="282">
                  <a:moveTo>
                    <a:pt x="0" y="10"/>
                  </a:moveTo>
                  <a:cubicBezTo>
                    <a:pt x="6" y="45"/>
                    <a:pt x="9" y="81"/>
                    <a:pt x="10" y="114"/>
                  </a:cubicBezTo>
                  <a:cubicBezTo>
                    <a:pt x="11" y="138"/>
                    <a:pt x="11" y="162"/>
                    <a:pt x="10" y="183"/>
                  </a:cubicBezTo>
                  <a:cubicBezTo>
                    <a:pt x="8" y="232"/>
                    <a:pt x="3" y="269"/>
                    <a:pt x="3" y="282"/>
                  </a:cubicBezTo>
                  <a:cubicBezTo>
                    <a:pt x="28" y="282"/>
                    <a:pt x="120" y="280"/>
                    <a:pt x="171" y="280"/>
                  </a:cubicBezTo>
                  <a:cubicBezTo>
                    <a:pt x="210" y="104"/>
                    <a:pt x="175" y="10"/>
                    <a:pt x="175" y="10"/>
                  </a:cubicBezTo>
                  <a:cubicBezTo>
                    <a:pt x="175" y="10"/>
                    <a:pt x="157" y="5"/>
                    <a:pt x="136" y="2"/>
                  </a:cubicBezTo>
                  <a:cubicBezTo>
                    <a:pt x="133" y="2"/>
                    <a:pt x="130" y="2"/>
                    <a:pt x="127" y="1"/>
                  </a:cubicBezTo>
                  <a:cubicBezTo>
                    <a:pt x="109" y="0"/>
                    <a:pt x="78" y="1"/>
                    <a:pt x="56" y="2"/>
                  </a:cubicBezTo>
                  <a:cubicBezTo>
                    <a:pt x="52" y="3"/>
                    <a:pt x="47" y="3"/>
                    <a:pt x="43" y="3"/>
                  </a:cubicBezTo>
                  <a:cubicBezTo>
                    <a:pt x="20" y="6"/>
                    <a:pt x="0" y="10"/>
                    <a:pt x="0" y="1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5" name="iśľíḋe">
              <a:extLst>
                <a:ext uri="{FF2B5EF4-FFF2-40B4-BE49-F238E27FC236}">
                  <a16:creationId xmlns:a16="http://schemas.microsoft.com/office/drawing/2014/main" id="{021CDBEF-0F65-44F9-995A-5F9722AE1848}"/>
                </a:ext>
              </a:extLst>
            </p:cNvPr>
            <p:cNvSpPr/>
            <p:nvPr/>
          </p:nvSpPr>
          <p:spPr bwMode="auto">
            <a:xfrm>
              <a:off x="5288551" y="2545208"/>
              <a:ext cx="259677" cy="108106"/>
            </a:xfrm>
            <a:custGeom>
              <a:avLst/>
              <a:gdLst>
                <a:gd name="T0" fmla="*/ 13 w 98"/>
                <a:gd name="T1" fmla="*/ 2 h 41"/>
                <a:gd name="T2" fmla="*/ 84 w 98"/>
                <a:gd name="T3" fmla="*/ 1 h 41"/>
                <a:gd name="T4" fmla="*/ 93 w 98"/>
                <a:gd name="T5" fmla="*/ 2 h 41"/>
                <a:gd name="T6" fmla="*/ 94 w 98"/>
                <a:gd name="T7" fmla="*/ 2 h 41"/>
                <a:gd name="T8" fmla="*/ 75 w 98"/>
                <a:gd name="T9" fmla="*/ 38 h 41"/>
                <a:gd name="T10" fmla="*/ 0 w 98"/>
                <a:gd name="T11" fmla="*/ 3 h 41"/>
                <a:gd name="T12" fmla="*/ 13 w 98"/>
                <a:gd name="T13" fmla="*/ 2 h 41"/>
              </a:gdLst>
              <a:ahLst/>
              <a:cxnLst>
                <a:cxn ang="0">
                  <a:pos x="T0" y="T1"/>
                </a:cxn>
                <a:cxn ang="0">
                  <a:pos x="T2" y="T3"/>
                </a:cxn>
                <a:cxn ang="0">
                  <a:pos x="T4" y="T5"/>
                </a:cxn>
                <a:cxn ang="0">
                  <a:pos x="T6" y="T7"/>
                </a:cxn>
                <a:cxn ang="0">
                  <a:pos x="T8" y="T9"/>
                </a:cxn>
                <a:cxn ang="0">
                  <a:pos x="T10" y="T11"/>
                </a:cxn>
                <a:cxn ang="0">
                  <a:pos x="T12" y="T13"/>
                </a:cxn>
              </a:cxnLst>
              <a:rect l="0" t="0" r="r" b="b"/>
              <a:pathLst>
                <a:path w="98" h="41">
                  <a:moveTo>
                    <a:pt x="13" y="2"/>
                  </a:moveTo>
                  <a:cubicBezTo>
                    <a:pt x="35" y="1"/>
                    <a:pt x="66" y="0"/>
                    <a:pt x="84" y="1"/>
                  </a:cubicBezTo>
                  <a:cubicBezTo>
                    <a:pt x="87" y="2"/>
                    <a:pt x="90" y="2"/>
                    <a:pt x="93" y="2"/>
                  </a:cubicBezTo>
                  <a:cubicBezTo>
                    <a:pt x="94" y="2"/>
                    <a:pt x="94" y="2"/>
                    <a:pt x="94" y="2"/>
                  </a:cubicBezTo>
                  <a:cubicBezTo>
                    <a:pt x="98" y="13"/>
                    <a:pt x="98" y="36"/>
                    <a:pt x="75" y="38"/>
                  </a:cubicBezTo>
                  <a:cubicBezTo>
                    <a:pt x="43" y="41"/>
                    <a:pt x="13" y="20"/>
                    <a:pt x="0" y="3"/>
                  </a:cubicBezTo>
                  <a:cubicBezTo>
                    <a:pt x="4" y="3"/>
                    <a:pt x="9" y="3"/>
                    <a:pt x="1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6" name="íṧlíďê">
              <a:extLst>
                <a:ext uri="{FF2B5EF4-FFF2-40B4-BE49-F238E27FC236}">
                  <a16:creationId xmlns:a16="http://schemas.microsoft.com/office/drawing/2014/main" id="{79D52D92-AAE0-4C00-ADDE-B8DA589B7F3C}"/>
                </a:ext>
              </a:extLst>
            </p:cNvPr>
            <p:cNvSpPr/>
            <p:nvPr/>
          </p:nvSpPr>
          <p:spPr bwMode="auto">
            <a:xfrm>
              <a:off x="5192704" y="2695664"/>
              <a:ext cx="8916" cy="188350"/>
            </a:xfrm>
            <a:custGeom>
              <a:avLst/>
              <a:gdLst>
                <a:gd name="T0" fmla="*/ 3 w 3"/>
                <a:gd name="T1" fmla="*/ 55 h 71"/>
                <a:gd name="T2" fmla="*/ 3 w 3"/>
                <a:gd name="T3" fmla="*/ 57 h 71"/>
                <a:gd name="T4" fmla="*/ 3 w 3"/>
                <a:gd name="T5" fmla="*/ 71 h 71"/>
                <a:gd name="T6" fmla="*/ 3 w 3"/>
                <a:gd name="T7" fmla="*/ 71 h 71"/>
                <a:gd name="T8" fmla="*/ 3 w 3"/>
                <a:gd name="T9" fmla="*/ 57 h 71"/>
                <a:gd name="T10" fmla="*/ 3 w 3"/>
                <a:gd name="T11" fmla="*/ 55 h 71"/>
                <a:gd name="T12" fmla="*/ 0 w 3"/>
                <a:gd name="T13" fmla="*/ 0 h 71"/>
                <a:gd name="T14" fmla="*/ 2 w 3"/>
                <a:gd name="T15" fmla="*/ 39 h 71"/>
                <a:gd name="T16" fmla="*/ 0 w 3"/>
                <a:gd name="T17" fmla="*/ 0 h 71"/>
                <a:gd name="T18" fmla="*/ 0 w 3"/>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1">
                  <a:moveTo>
                    <a:pt x="3" y="55"/>
                  </a:moveTo>
                  <a:cubicBezTo>
                    <a:pt x="3" y="56"/>
                    <a:pt x="3" y="56"/>
                    <a:pt x="3" y="57"/>
                  </a:cubicBezTo>
                  <a:cubicBezTo>
                    <a:pt x="3" y="62"/>
                    <a:pt x="3" y="67"/>
                    <a:pt x="3" y="71"/>
                  </a:cubicBezTo>
                  <a:cubicBezTo>
                    <a:pt x="3" y="71"/>
                    <a:pt x="3" y="71"/>
                    <a:pt x="3" y="71"/>
                  </a:cubicBezTo>
                  <a:cubicBezTo>
                    <a:pt x="3" y="67"/>
                    <a:pt x="3" y="62"/>
                    <a:pt x="3" y="57"/>
                  </a:cubicBezTo>
                  <a:cubicBezTo>
                    <a:pt x="3" y="56"/>
                    <a:pt x="3" y="56"/>
                    <a:pt x="3" y="55"/>
                  </a:cubicBezTo>
                  <a:moveTo>
                    <a:pt x="0" y="0"/>
                  </a:moveTo>
                  <a:cubicBezTo>
                    <a:pt x="1" y="14"/>
                    <a:pt x="2" y="26"/>
                    <a:pt x="2" y="39"/>
                  </a:cubicBezTo>
                  <a:cubicBezTo>
                    <a:pt x="2" y="26"/>
                    <a:pt x="1" y="14"/>
                    <a:pt x="0" y="0"/>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7" name="ï$ḷïḋé">
              <a:extLst>
                <a:ext uri="{FF2B5EF4-FFF2-40B4-BE49-F238E27FC236}">
                  <a16:creationId xmlns:a16="http://schemas.microsoft.com/office/drawing/2014/main" id="{1DF4B37C-B217-430C-994D-F18852E62CD8}"/>
                </a:ext>
              </a:extLst>
            </p:cNvPr>
            <p:cNvSpPr/>
            <p:nvPr/>
          </p:nvSpPr>
          <p:spPr bwMode="auto">
            <a:xfrm>
              <a:off x="5192704" y="2695664"/>
              <a:ext cx="82472" cy="188350"/>
            </a:xfrm>
            <a:custGeom>
              <a:avLst/>
              <a:gdLst>
                <a:gd name="T0" fmla="*/ 0 w 31"/>
                <a:gd name="T1" fmla="*/ 0 h 71"/>
                <a:gd name="T2" fmla="*/ 2 w 31"/>
                <a:gd name="T3" fmla="*/ 39 h 71"/>
                <a:gd name="T4" fmla="*/ 3 w 31"/>
                <a:gd name="T5" fmla="*/ 55 h 71"/>
                <a:gd name="T6" fmla="*/ 3 w 31"/>
                <a:gd name="T7" fmla="*/ 57 h 71"/>
                <a:gd name="T8" fmla="*/ 3 w 31"/>
                <a:gd name="T9" fmla="*/ 71 h 71"/>
                <a:gd name="T10" fmla="*/ 31 w 31"/>
                <a:gd name="T11" fmla="*/ 0 h 71"/>
                <a:gd name="T12" fmla="*/ 0 w 31"/>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31" h="71">
                  <a:moveTo>
                    <a:pt x="0" y="0"/>
                  </a:moveTo>
                  <a:cubicBezTo>
                    <a:pt x="1" y="14"/>
                    <a:pt x="2" y="26"/>
                    <a:pt x="2" y="39"/>
                  </a:cubicBezTo>
                  <a:cubicBezTo>
                    <a:pt x="3" y="45"/>
                    <a:pt x="3" y="50"/>
                    <a:pt x="3" y="55"/>
                  </a:cubicBezTo>
                  <a:cubicBezTo>
                    <a:pt x="3" y="56"/>
                    <a:pt x="3" y="56"/>
                    <a:pt x="3" y="57"/>
                  </a:cubicBezTo>
                  <a:cubicBezTo>
                    <a:pt x="3" y="62"/>
                    <a:pt x="3" y="67"/>
                    <a:pt x="3" y="71"/>
                  </a:cubicBezTo>
                  <a:cubicBezTo>
                    <a:pt x="18" y="52"/>
                    <a:pt x="28" y="28"/>
                    <a:pt x="31" y="0"/>
                  </a:cubicBezTo>
                  <a:cubicBezTo>
                    <a:pt x="0" y="0"/>
                    <a:pt x="0" y="0"/>
                    <a:pt x="0"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8" name="ïS1îḋe">
              <a:extLst>
                <a:ext uri="{FF2B5EF4-FFF2-40B4-BE49-F238E27FC236}">
                  <a16:creationId xmlns:a16="http://schemas.microsoft.com/office/drawing/2014/main" id="{7957A74A-D136-4F51-B62A-2C9D410C4414}"/>
                </a:ext>
              </a:extLst>
            </p:cNvPr>
            <p:cNvSpPr/>
            <p:nvPr/>
          </p:nvSpPr>
          <p:spPr bwMode="auto">
            <a:xfrm>
              <a:off x="5323100" y="2337912"/>
              <a:ext cx="200609" cy="270822"/>
            </a:xfrm>
            <a:custGeom>
              <a:avLst/>
              <a:gdLst>
                <a:gd name="T0" fmla="*/ 9 w 76"/>
                <a:gd name="T1" fmla="*/ 0 h 102"/>
                <a:gd name="T2" fmla="*/ 0 w 76"/>
                <a:gd name="T3" fmla="*/ 80 h 102"/>
                <a:gd name="T4" fmla="*/ 55 w 76"/>
                <a:gd name="T5" fmla="*/ 101 h 102"/>
                <a:gd name="T6" fmla="*/ 71 w 76"/>
                <a:gd name="T7" fmla="*/ 79 h 102"/>
                <a:gd name="T8" fmla="*/ 52 w 76"/>
                <a:gd name="T9" fmla="*/ 37 h 102"/>
                <a:gd name="T10" fmla="*/ 9 w 76"/>
                <a:gd name="T11" fmla="*/ 0 h 102"/>
              </a:gdLst>
              <a:ahLst/>
              <a:cxnLst>
                <a:cxn ang="0">
                  <a:pos x="T0" y="T1"/>
                </a:cxn>
                <a:cxn ang="0">
                  <a:pos x="T2" y="T3"/>
                </a:cxn>
                <a:cxn ang="0">
                  <a:pos x="T4" y="T5"/>
                </a:cxn>
                <a:cxn ang="0">
                  <a:pos x="T6" y="T7"/>
                </a:cxn>
                <a:cxn ang="0">
                  <a:pos x="T8" y="T9"/>
                </a:cxn>
                <a:cxn ang="0">
                  <a:pos x="T10" y="T11"/>
                </a:cxn>
              </a:cxnLst>
              <a:rect l="0" t="0" r="r" b="b"/>
              <a:pathLst>
                <a:path w="76" h="102">
                  <a:moveTo>
                    <a:pt x="9" y="0"/>
                  </a:moveTo>
                  <a:cubicBezTo>
                    <a:pt x="13" y="23"/>
                    <a:pt x="17" y="65"/>
                    <a:pt x="0" y="80"/>
                  </a:cubicBezTo>
                  <a:cubicBezTo>
                    <a:pt x="12" y="92"/>
                    <a:pt x="29" y="102"/>
                    <a:pt x="55" y="101"/>
                  </a:cubicBezTo>
                  <a:cubicBezTo>
                    <a:pt x="74" y="101"/>
                    <a:pt x="76" y="87"/>
                    <a:pt x="71" y="79"/>
                  </a:cubicBezTo>
                  <a:cubicBezTo>
                    <a:pt x="46" y="74"/>
                    <a:pt x="47" y="55"/>
                    <a:pt x="52" y="37"/>
                  </a:cubicBezTo>
                  <a:cubicBezTo>
                    <a:pt x="9" y="0"/>
                    <a:pt x="9" y="0"/>
                    <a:pt x="9" y="0"/>
                  </a:cubicBezTo>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9" name="íşlîḍè">
              <a:extLst>
                <a:ext uri="{FF2B5EF4-FFF2-40B4-BE49-F238E27FC236}">
                  <a16:creationId xmlns:a16="http://schemas.microsoft.com/office/drawing/2014/main" id="{6D9533C0-7091-43AC-A3D0-7F5D04BC4557}"/>
                </a:ext>
              </a:extLst>
            </p:cNvPr>
            <p:cNvSpPr/>
            <p:nvPr/>
          </p:nvSpPr>
          <p:spPr bwMode="auto">
            <a:xfrm>
              <a:off x="5439007" y="2418155"/>
              <a:ext cx="21176" cy="52381"/>
            </a:xfrm>
            <a:custGeom>
              <a:avLst/>
              <a:gdLst>
                <a:gd name="T0" fmla="*/ 6 w 8"/>
                <a:gd name="T1" fmla="*/ 18 h 20"/>
                <a:gd name="T2" fmla="*/ 5 w 8"/>
                <a:gd name="T3" fmla="*/ 20 h 20"/>
                <a:gd name="T4" fmla="*/ 5 w 8"/>
                <a:gd name="T5" fmla="*/ 20 h 20"/>
                <a:gd name="T6" fmla="*/ 6 w 8"/>
                <a:gd name="T7" fmla="*/ 18 h 20"/>
                <a:gd name="T8" fmla="*/ 0 w 8"/>
                <a:gd name="T9" fmla="*/ 0 h 20"/>
                <a:gd name="T10" fmla="*/ 8 w 8"/>
                <a:gd name="T11" fmla="*/ 7 h 20"/>
                <a:gd name="T12" fmla="*/ 8 w 8"/>
                <a:gd name="T13" fmla="*/ 7 h 20"/>
                <a:gd name="T14" fmla="*/ 0 w 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0">
                  <a:moveTo>
                    <a:pt x="6" y="18"/>
                  </a:moveTo>
                  <a:cubicBezTo>
                    <a:pt x="5" y="19"/>
                    <a:pt x="5" y="19"/>
                    <a:pt x="5" y="20"/>
                  </a:cubicBezTo>
                  <a:cubicBezTo>
                    <a:pt x="5" y="20"/>
                    <a:pt x="5" y="20"/>
                    <a:pt x="5" y="20"/>
                  </a:cubicBezTo>
                  <a:cubicBezTo>
                    <a:pt x="5" y="19"/>
                    <a:pt x="5" y="19"/>
                    <a:pt x="6" y="18"/>
                  </a:cubicBezTo>
                  <a:moveTo>
                    <a:pt x="0" y="0"/>
                  </a:moveTo>
                  <a:cubicBezTo>
                    <a:pt x="8" y="7"/>
                    <a:pt x="8" y="7"/>
                    <a:pt x="8" y="7"/>
                  </a:cubicBezTo>
                  <a:cubicBezTo>
                    <a:pt x="8" y="7"/>
                    <a:pt x="8" y="7"/>
                    <a:pt x="8" y="7"/>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0" name="îšḻïďe">
              <a:extLst>
                <a:ext uri="{FF2B5EF4-FFF2-40B4-BE49-F238E27FC236}">
                  <a16:creationId xmlns:a16="http://schemas.microsoft.com/office/drawing/2014/main" id="{E4E382DF-1721-4CE9-8082-5852EA03C224}"/>
                </a:ext>
              </a:extLst>
            </p:cNvPr>
            <p:cNvSpPr/>
            <p:nvPr/>
          </p:nvSpPr>
          <p:spPr bwMode="auto">
            <a:xfrm>
              <a:off x="5388855" y="2378034"/>
              <a:ext cx="71328" cy="92503"/>
            </a:xfrm>
            <a:custGeom>
              <a:avLst/>
              <a:gdLst>
                <a:gd name="T0" fmla="*/ 2 w 27"/>
                <a:gd name="T1" fmla="*/ 0 h 35"/>
                <a:gd name="T2" fmla="*/ 1 w 27"/>
                <a:gd name="T3" fmla="*/ 13 h 35"/>
                <a:gd name="T4" fmla="*/ 24 w 27"/>
                <a:gd name="T5" fmla="*/ 35 h 35"/>
                <a:gd name="T6" fmla="*/ 25 w 27"/>
                <a:gd name="T7" fmla="*/ 33 h 35"/>
                <a:gd name="T8" fmla="*/ 27 w 27"/>
                <a:gd name="T9" fmla="*/ 22 h 35"/>
                <a:gd name="T10" fmla="*/ 19 w 27"/>
                <a:gd name="T11" fmla="*/ 15 h 35"/>
                <a:gd name="T12" fmla="*/ 2 w 27"/>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27" h="35">
                  <a:moveTo>
                    <a:pt x="2" y="0"/>
                  </a:moveTo>
                  <a:cubicBezTo>
                    <a:pt x="1" y="3"/>
                    <a:pt x="0" y="7"/>
                    <a:pt x="1" y="13"/>
                  </a:cubicBezTo>
                  <a:cubicBezTo>
                    <a:pt x="2" y="23"/>
                    <a:pt x="15" y="33"/>
                    <a:pt x="24" y="35"/>
                  </a:cubicBezTo>
                  <a:cubicBezTo>
                    <a:pt x="24" y="34"/>
                    <a:pt x="24" y="34"/>
                    <a:pt x="25" y="33"/>
                  </a:cubicBezTo>
                  <a:cubicBezTo>
                    <a:pt x="25" y="30"/>
                    <a:pt x="26" y="26"/>
                    <a:pt x="27" y="22"/>
                  </a:cubicBezTo>
                  <a:cubicBezTo>
                    <a:pt x="19" y="15"/>
                    <a:pt x="19" y="15"/>
                    <a:pt x="19" y="15"/>
                  </a:cubicBezTo>
                  <a:cubicBezTo>
                    <a:pt x="2" y="0"/>
                    <a:pt x="2" y="0"/>
                    <a:pt x="2" y="0"/>
                  </a:cubicBezTo>
                </a:path>
              </a:pathLst>
            </a:custGeom>
            <a:solidFill>
              <a:srgbClr val="CC9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1" name="iṥļïḓè">
              <a:extLst>
                <a:ext uri="{FF2B5EF4-FFF2-40B4-BE49-F238E27FC236}">
                  <a16:creationId xmlns:a16="http://schemas.microsoft.com/office/drawing/2014/main" id="{7E40B72C-0E24-4B98-BCFC-4B73F5824A49}"/>
                </a:ext>
              </a:extLst>
            </p:cNvPr>
            <p:cNvSpPr/>
            <p:nvPr/>
          </p:nvSpPr>
          <p:spPr bwMode="auto">
            <a:xfrm>
              <a:off x="5265147" y="1967901"/>
              <a:ext cx="362210" cy="346608"/>
            </a:xfrm>
            <a:custGeom>
              <a:avLst/>
              <a:gdLst>
                <a:gd name="T0" fmla="*/ 118 w 137"/>
                <a:gd name="T1" fmla="*/ 76 h 131"/>
                <a:gd name="T2" fmla="*/ 128 w 137"/>
                <a:gd name="T3" fmla="*/ 37 h 131"/>
                <a:gd name="T4" fmla="*/ 107 w 137"/>
                <a:gd name="T5" fmla="*/ 49 h 131"/>
                <a:gd name="T6" fmla="*/ 101 w 137"/>
                <a:gd name="T7" fmla="*/ 0 h 131"/>
                <a:gd name="T8" fmla="*/ 60 w 137"/>
                <a:gd name="T9" fmla="*/ 33 h 131"/>
                <a:gd name="T10" fmla="*/ 44 w 137"/>
                <a:gd name="T11" fmla="*/ 20 h 131"/>
                <a:gd name="T12" fmla="*/ 30 w 137"/>
                <a:gd name="T13" fmla="*/ 56 h 131"/>
                <a:gd name="T14" fmla="*/ 9 w 137"/>
                <a:gd name="T15" fmla="*/ 49 h 131"/>
                <a:gd name="T16" fmla="*/ 11 w 137"/>
                <a:gd name="T17" fmla="*/ 77 h 131"/>
                <a:gd name="T18" fmla="*/ 0 w 137"/>
                <a:gd name="T19" fmla="*/ 88 h 131"/>
                <a:gd name="T20" fmla="*/ 12 w 137"/>
                <a:gd name="T21" fmla="*/ 93 h 131"/>
                <a:gd name="T22" fmla="*/ 22 w 137"/>
                <a:gd name="T23" fmla="*/ 131 h 131"/>
                <a:gd name="T24" fmla="*/ 110 w 137"/>
                <a:gd name="T25" fmla="*/ 90 h 131"/>
                <a:gd name="T26" fmla="*/ 132 w 137"/>
                <a:gd name="T27" fmla="*/ 92 h 131"/>
                <a:gd name="T28" fmla="*/ 118 w 137"/>
                <a:gd name="T29" fmla="*/ 7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131">
                  <a:moveTo>
                    <a:pt x="118" y="76"/>
                  </a:moveTo>
                  <a:cubicBezTo>
                    <a:pt x="137" y="67"/>
                    <a:pt x="128" y="37"/>
                    <a:pt x="128" y="37"/>
                  </a:cubicBezTo>
                  <a:cubicBezTo>
                    <a:pt x="128" y="37"/>
                    <a:pt x="118" y="37"/>
                    <a:pt x="107" y="49"/>
                  </a:cubicBezTo>
                  <a:cubicBezTo>
                    <a:pt x="112" y="34"/>
                    <a:pt x="104" y="10"/>
                    <a:pt x="101" y="0"/>
                  </a:cubicBezTo>
                  <a:cubicBezTo>
                    <a:pt x="62" y="17"/>
                    <a:pt x="60" y="33"/>
                    <a:pt x="60" y="33"/>
                  </a:cubicBezTo>
                  <a:cubicBezTo>
                    <a:pt x="60" y="33"/>
                    <a:pt x="52" y="21"/>
                    <a:pt x="44" y="20"/>
                  </a:cubicBezTo>
                  <a:cubicBezTo>
                    <a:pt x="23" y="34"/>
                    <a:pt x="30" y="56"/>
                    <a:pt x="30" y="56"/>
                  </a:cubicBezTo>
                  <a:cubicBezTo>
                    <a:pt x="30" y="56"/>
                    <a:pt x="19" y="49"/>
                    <a:pt x="9" y="49"/>
                  </a:cubicBezTo>
                  <a:cubicBezTo>
                    <a:pt x="7" y="60"/>
                    <a:pt x="7" y="70"/>
                    <a:pt x="11" y="77"/>
                  </a:cubicBezTo>
                  <a:cubicBezTo>
                    <a:pt x="6" y="80"/>
                    <a:pt x="3" y="83"/>
                    <a:pt x="0" y="88"/>
                  </a:cubicBezTo>
                  <a:cubicBezTo>
                    <a:pt x="4" y="90"/>
                    <a:pt x="8" y="92"/>
                    <a:pt x="12" y="93"/>
                  </a:cubicBezTo>
                  <a:cubicBezTo>
                    <a:pt x="11" y="105"/>
                    <a:pt x="14" y="122"/>
                    <a:pt x="22" y="131"/>
                  </a:cubicBezTo>
                  <a:cubicBezTo>
                    <a:pt x="110" y="90"/>
                    <a:pt x="110" y="90"/>
                    <a:pt x="110" y="90"/>
                  </a:cubicBezTo>
                  <a:cubicBezTo>
                    <a:pt x="125" y="96"/>
                    <a:pt x="132" y="92"/>
                    <a:pt x="132" y="92"/>
                  </a:cubicBezTo>
                  <a:cubicBezTo>
                    <a:pt x="132" y="92"/>
                    <a:pt x="128" y="79"/>
                    <a:pt x="118" y="7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2" name="îṩḷíḍé">
              <a:extLst>
                <a:ext uri="{FF2B5EF4-FFF2-40B4-BE49-F238E27FC236}">
                  <a16:creationId xmlns:a16="http://schemas.microsoft.com/office/drawing/2014/main" id="{E8F2B820-47A0-4084-99F1-B572A0CB1B5A}"/>
                </a:ext>
              </a:extLst>
            </p:cNvPr>
            <p:cNvSpPr/>
            <p:nvPr/>
          </p:nvSpPr>
          <p:spPr bwMode="auto">
            <a:xfrm>
              <a:off x="5338703" y="2102754"/>
              <a:ext cx="248532" cy="378927"/>
            </a:xfrm>
            <a:custGeom>
              <a:avLst/>
              <a:gdLst>
                <a:gd name="T0" fmla="*/ 1 w 94"/>
                <a:gd name="T1" fmla="*/ 55 h 143"/>
                <a:gd name="T2" fmla="*/ 17 w 94"/>
                <a:gd name="T3" fmla="*/ 120 h 143"/>
                <a:gd name="T4" fmla="*/ 86 w 94"/>
                <a:gd name="T5" fmla="*/ 98 h 143"/>
                <a:gd name="T6" fmla="*/ 61 w 94"/>
                <a:gd name="T7" fmla="*/ 12 h 143"/>
                <a:gd name="T8" fmla="*/ 1 w 94"/>
                <a:gd name="T9" fmla="*/ 55 h 143"/>
              </a:gdLst>
              <a:ahLst/>
              <a:cxnLst>
                <a:cxn ang="0">
                  <a:pos x="T0" y="T1"/>
                </a:cxn>
                <a:cxn ang="0">
                  <a:pos x="T2" y="T3"/>
                </a:cxn>
                <a:cxn ang="0">
                  <a:pos x="T4" y="T5"/>
                </a:cxn>
                <a:cxn ang="0">
                  <a:pos x="T6" y="T7"/>
                </a:cxn>
                <a:cxn ang="0">
                  <a:pos x="T8" y="T9"/>
                </a:cxn>
              </a:cxnLst>
              <a:rect l="0" t="0" r="r" b="b"/>
              <a:pathLst>
                <a:path w="94" h="143">
                  <a:moveTo>
                    <a:pt x="1" y="55"/>
                  </a:moveTo>
                  <a:cubicBezTo>
                    <a:pt x="2" y="86"/>
                    <a:pt x="1" y="104"/>
                    <a:pt x="17" y="120"/>
                  </a:cubicBezTo>
                  <a:cubicBezTo>
                    <a:pt x="40" y="143"/>
                    <a:pt x="78" y="129"/>
                    <a:pt x="86" y="98"/>
                  </a:cubicBezTo>
                  <a:cubicBezTo>
                    <a:pt x="94" y="70"/>
                    <a:pt x="91" y="24"/>
                    <a:pt x="61" y="12"/>
                  </a:cubicBezTo>
                  <a:cubicBezTo>
                    <a:pt x="31" y="0"/>
                    <a:pt x="0" y="24"/>
                    <a:pt x="1" y="55"/>
                  </a:cubicBez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3" name="ïṡļîḓê">
              <a:extLst>
                <a:ext uri="{FF2B5EF4-FFF2-40B4-BE49-F238E27FC236}">
                  <a16:creationId xmlns:a16="http://schemas.microsoft.com/office/drawing/2014/main" id="{6551D344-E03E-4ADE-B2BC-F6548119AE39}"/>
                </a:ext>
              </a:extLst>
            </p:cNvPr>
            <p:cNvSpPr/>
            <p:nvPr/>
          </p:nvSpPr>
          <p:spPr bwMode="auto">
            <a:xfrm>
              <a:off x="5317527" y="2142876"/>
              <a:ext cx="105877" cy="190579"/>
            </a:xfrm>
            <a:custGeom>
              <a:avLst/>
              <a:gdLst>
                <a:gd name="T0" fmla="*/ 38 w 40"/>
                <a:gd name="T1" fmla="*/ 5 h 72"/>
                <a:gd name="T2" fmla="*/ 23 w 40"/>
                <a:gd name="T3" fmla="*/ 57 h 72"/>
                <a:gd name="T4" fmla="*/ 9 w 40"/>
                <a:gd name="T5" fmla="*/ 72 h 72"/>
                <a:gd name="T6" fmla="*/ 0 w 40"/>
                <a:gd name="T7" fmla="*/ 48 h 72"/>
                <a:gd name="T8" fmla="*/ 5 w 40"/>
                <a:gd name="T9" fmla="*/ 3 h 72"/>
                <a:gd name="T10" fmla="*/ 34 w 40"/>
                <a:gd name="T11" fmla="*/ 0 h 72"/>
                <a:gd name="T12" fmla="*/ 38 w 40"/>
                <a:gd name="T13" fmla="*/ 5 h 72"/>
              </a:gdLst>
              <a:ahLst/>
              <a:cxnLst>
                <a:cxn ang="0">
                  <a:pos x="T0" y="T1"/>
                </a:cxn>
                <a:cxn ang="0">
                  <a:pos x="T2" y="T3"/>
                </a:cxn>
                <a:cxn ang="0">
                  <a:pos x="T4" y="T5"/>
                </a:cxn>
                <a:cxn ang="0">
                  <a:pos x="T6" y="T7"/>
                </a:cxn>
                <a:cxn ang="0">
                  <a:pos x="T8" y="T9"/>
                </a:cxn>
                <a:cxn ang="0">
                  <a:pos x="T10" y="T11"/>
                </a:cxn>
                <a:cxn ang="0">
                  <a:pos x="T12" y="T13"/>
                </a:cxn>
              </a:cxnLst>
              <a:rect l="0" t="0" r="r" b="b"/>
              <a:pathLst>
                <a:path w="40" h="72">
                  <a:moveTo>
                    <a:pt x="38" y="5"/>
                  </a:moveTo>
                  <a:cubicBezTo>
                    <a:pt x="40" y="21"/>
                    <a:pt x="18" y="33"/>
                    <a:pt x="23" y="57"/>
                  </a:cubicBezTo>
                  <a:cubicBezTo>
                    <a:pt x="18" y="65"/>
                    <a:pt x="9" y="72"/>
                    <a:pt x="9" y="72"/>
                  </a:cubicBezTo>
                  <a:cubicBezTo>
                    <a:pt x="0" y="48"/>
                    <a:pt x="0" y="48"/>
                    <a:pt x="0" y="48"/>
                  </a:cubicBezTo>
                  <a:cubicBezTo>
                    <a:pt x="5" y="3"/>
                    <a:pt x="5" y="3"/>
                    <a:pt x="5" y="3"/>
                  </a:cubicBezTo>
                  <a:cubicBezTo>
                    <a:pt x="34" y="0"/>
                    <a:pt x="34" y="0"/>
                    <a:pt x="34" y="0"/>
                  </a:cubicBezTo>
                  <a:lnTo>
                    <a:pt x="38" y="5"/>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4" name="îṣ1íďè">
              <a:extLst>
                <a:ext uri="{FF2B5EF4-FFF2-40B4-BE49-F238E27FC236}">
                  <a16:creationId xmlns:a16="http://schemas.microsoft.com/office/drawing/2014/main" id="{72928360-DC38-43A0-910C-FAF87835A2C4}"/>
                </a:ext>
              </a:extLst>
            </p:cNvPr>
            <p:cNvSpPr/>
            <p:nvPr/>
          </p:nvSpPr>
          <p:spPr bwMode="auto">
            <a:xfrm>
              <a:off x="5362107" y="2097182"/>
              <a:ext cx="193922" cy="92503"/>
            </a:xfrm>
            <a:custGeom>
              <a:avLst/>
              <a:gdLst>
                <a:gd name="T0" fmla="*/ 0 w 73"/>
                <a:gd name="T1" fmla="*/ 20 h 35"/>
                <a:gd name="T2" fmla="*/ 73 w 73"/>
                <a:gd name="T3" fmla="*/ 29 h 35"/>
                <a:gd name="T4" fmla="*/ 46 w 73"/>
                <a:gd name="T5" fmla="*/ 4 h 35"/>
                <a:gd name="T6" fmla="*/ 0 w 73"/>
                <a:gd name="T7" fmla="*/ 20 h 35"/>
              </a:gdLst>
              <a:ahLst/>
              <a:cxnLst>
                <a:cxn ang="0">
                  <a:pos x="T0" y="T1"/>
                </a:cxn>
                <a:cxn ang="0">
                  <a:pos x="T2" y="T3"/>
                </a:cxn>
                <a:cxn ang="0">
                  <a:pos x="T4" y="T5"/>
                </a:cxn>
                <a:cxn ang="0">
                  <a:pos x="T6" y="T7"/>
                </a:cxn>
              </a:cxnLst>
              <a:rect l="0" t="0" r="r" b="b"/>
              <a:pathLst>
                <a:path w="73" h="35">
                  <a:moveTo>
                    <a:pt x="0" y="20"/>
                  </a:moveTo>
                  <a:cubicBezTo>
                    <a:pt x="23" y="35"/>
                    <a:pt x="63" y="32"/>
                    <a:pt x="73" y="29"/>
                  </a:cubicBezTo>
                  <a:cubicBezTo>
                    <a:pt x="68" y="9"/>
                    <a:pt x="46" y="4"/>
                    <a:pt x="46" y="4"/>
                  </a:cubicBezTo>
                  <a:cubicBezTo>
                    <a:pt x="46" y="4"/>
                    <a:pt x="9" y="0"/>
                    <a:pt x="0" y="2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5" name="ïṥľïḓe">
              <a:extLst>
                <a:ext uri="{FF2B5EF4-FFF2-40B4-BE49-F238E27FC236}">
                  <a16:creationId xmlns:a16="http://schemas.microsoft.com/office/drawing/2014/main" id="{92CC8F27-156E-4462-9C9A-091726C7BDA3}"/>
                </a:ext>
              </a:extLst>
            </p:cNvPr>
            <p:cNvSpPr/>
            <p:nvPr/>
          </p:nvSpPr>
          <p:spPr bwMode="auto">
            <a:xfrm>
              <a:off x="5439007" y="2333454"/>
              <a:ext cx="53496" cy="28977"/>
            </a:xfrm>
            <a:custGeom>
              <a:avLst/>
              <a:gdLst>
                <a:gd name="T0" fmla="*/ 19 w 20"/>
                <a:gd name="T1" fmla="*/ 10 h 11"/>
                <a:gd name="T2" fmla="*/ 19 w 20"/>
                <a:gd name="T3" fmla="*/ 10 h 11"/>
                <a:gd name="T4" fmla="*/ 1 w 20"/>
                <a:gd name="T5" fmla="*/ 1 h 11"/>
                <a:gd name="T6" fmla="*/ 1 w 20"/>
                <a:gd name="T7" fmla="*/ 0 h 11"/>
                <a:gd name="T8" fmla="*/ 2 w 20"/>
                <a:gd name="T9" fmla="*/ 1 h 11"/>
                <a:gd name="T10" fmla="*/ 19 w 20"/>
                <a:gd name="T11" fmla="*/ 9 h 11"/>
                <a:gd name="T12" fmla="*/ 20 w 20"/>
                <a:gd name="T13" fmla="*/ 10 h 11"/>
                <a:gd name="T14" fmla="*/ 19 w 20"/>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1">
                  <a:moveTo>
                    <a:pt x="19" y="10"/>
                  </a:moveTo>
                  <a:cubicBezTo>
                    <a:pt x="19" y="10"/>
                    <a:pt x="19" y="10"/>
                    <a:pt x="19" y="10"/>
                  </a:cubicBezTo>
                  <a:cubicBezTo>
                    <a:pt x="6" y="11"/>
                    <a:pt x="1" y="2"/>
                    <a:pt x="1" y="1"/>
                  </a:cubicBezTo>
                  <a:cubicBezTo>
                    <a:pt x="0" y="1"/>
                    <a:pt x="0" y="1"/>
                    <a:pt x="1" y="0"/>
                  </a:cubicBezTo>
                  <a:cubicBezTo>
                    <a:pt x="1" y="0"/>
                    <a:pt x="2" y="0"/>
                    <a:pt x="2" y="1"/>
                  </a:cubicBezTo>
                  <a:cubicBezTo>
                    <a:pt x="2" y="1"/>
                    <a:pt x="7" y="9"/>
                    <a:pt x="19" y="9"/>
                  </a:cubicBezTo>
                  <a:cubicBezTo>
                    <a:pt x="20" y="9"/>
                    <a:pt x="20" y="9"/>
                    <a:pt x="20" y="10"/>
                  </a:cubicBezTo>
                  <a:cubicBezTo>
                    <a:pt x="20" y="10"/>
                    <a:pt x="20" y="10"/>
                    <a:pt x="19"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6" name="ïSlîḑé">
              <a:extLst>
                <a:ext uri="{FF2B5EF4-FFF2-40B4-BE49-F238E27FC236}">
                  <a16:creationId xmlns:a16="http://schemas.microsoft.com/office/drawing/2014/main" id="{E5F1D9C0-C90E-4514-923C-DF13DDCC0E6A}"/>
                </a:ext>
              </a:extLst>
            </p:cNvPr>
            <p:cNvSpPr/>
            <p:nvPr/>
          </p:nvSpPr>
          <p:spPr bwMode="auto">
            <a:xfrm>
              <a:off x="5290780" y="2277729"/>
              <a:ext cx="98075" cy="100304"/>
            </a:xfrm>
            <a:custGeom>
              <a:avLst/>
              <a:gdLst>
                <a:gd name="T0" fmla="*/ 4 w 37"/>
                <a:gd name="T1" fmla="*/ 23 h 38"/>
                <a:gd name="T2" fmla="*/ 22 w 37"/>
                <a:gd name="T3" fmla="*/ 36 h 38"/>
                <a:gd name="T4" fmla="*/ 34 w 37"/>
                <a:gd name="T5" fmla="*/ 20 h 38"/>
                <a:gd name="T6" fmla="*/ 13 w 37"/>
                <a:gd name="T7" fmla="*/ 2 h 38"/>
                <a:gd name="T8" fmla="*/ 4 w 37"/>
                <a:gd name="T9" fmla="*/ 23 h 38"/>
              </a:gdLst>
              <a:ahLst/>
              <a:cxnLst>
                <a:cxn ang="0">
                  <a:pos x="T0" y="T1"/>
                </a:cxn>
                <a:cxn ang="0">
                  <a:pos x="T2" y="T3"/>
                </a:cxn>
                <a:cxn ang="0">
                  <a:pos x="T4" y="T5"/>
                </a:cxn>
                <a:cxn ang="0">
                  <a:pos x="T6" y="T7"/>
                </a:cxn>
                <a:cxn ang="0">
                  <a:pos x="T8" y="T9"/>
                </a:cxn>
              </a:cxnLst>
              <a:rect l="0" t="0" r="r" b="b"/>
              <a:pathLst>
                <a:path w="37" h="38">
                  <a:moveTo>
                    <a:pt x="4" y="23"/>
                  </a:moveTo>
                  <a:cubicBezTo>
                    <a:pt x="9" y="30"/>
                    <a:pt x="16" y="34"/>
                    <a:pt x="22" y="36"/>
                  </a:cubicBezTo>
                  <a:cubicBezTo>
                    <a:pt x="33" y="38"/>
                    <a:pt x="37" y="29"/>
                    <a:pt x="34" y="20"/>
                  </a:cubicBezTo>
                  <a:cubicBezTo>
                    <a:pt x="31" y="11"/>
                    <a:pt x="23" y="0"/>
                    <a:pt x="13" y="2"/>
                  </a:cubicBezTo>
                  <a:cubicBezTo>
                    <a:pt x="3" y="4"/>
                    <a:pt x="0" y="15"/>
                    <a:pt x="4" y="23"/>
                  </a:cubicBez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7" name="ïšlîḓê">
              <a:extLst>
                <a:ext uri="{FF2B5EF4-FFF2-40B4-BE49-F238E27FC236}">
                  <a16:creationId xmlns:a16="http://schemas.microsoft.com/office/drawing/2014/main" id="{69901644-F0A1-4227-A1A5-1F551E17A955}"/>
                </a:ext>
              </a:extLst>
            </p:cNvPr>
            <p:cNvSpPr/>
            <p:nvPr/>
          </p:nvSpPr>
          <p:spPr bwMode="auto">
            <a:xfrm>
              <a:off x="5375481" y="3486954"/>
              <a:ext cx="95846" cy="516010"/>
            </a:xfrm>
            <a:custGeom>
              <a:avLst/>
              <a:gdLst>
                <a:gd name="T0" fmla="*/ 14 w 36"/>
                <a:gd name="T1" fmla="*/ 0 h 195"/>
                <a:gd name="T2" fmla="*/ 0 w 36"/>
                <a:gd name="T3" fmla="*/ 27 h 195"/>
                <a:gd name="T4" fmla="*/ 18 w 36"/>
                <a:gd name="T5" fmla="*/ 195 h 195"/>
                <a:gd name="T6" fmla="*/ 14 w 36"/>
                <a:gd name="T7" fmla="*/ 0 h 195"/>
              </a:gdLst>
              <a:ahLst/>
              <a:cxnLst>
                <a:cxn ang="0">
                  <a:pos x="T0" y="T1"/>
                </a:cxn>
                <a:cxn ang="0">
                  <a:pos x="T2" y="T3"/>
                </a:cxn>
                <a:cxn ang="0">
                  <a:pos x="T4" y="T5"/>
                </a:cxn>
                <a:cxn ang="0">
                  <a:pos x="T6" y="T7"/>
                </a:cxn>
              </a:cxnLst>
              <a:rect l="0" t="0" r="r" b="b"/>
              <a:pathLst>
                <a:path w="36" h="195">
                  <a:moveTo>
                    <a:pt x="14" y="0"/>
                  </a:moveTo>
                  <a:cubicBezTo>
                    <a:pt x="0" y="27"/>
                    <a:pt x="0" y="27"/>
                    <a:pt x="0" y="27"/>
                  </a:cubicBezTo>
                  <a:cubicBezTo>
                    <a:pt x="6" y="77"/>
                    <a:pt x="13" y="140"/>
                    <a:pt x="18" y="195"/>
                  </a:cubicBezTo>
                  <a:cubicBezTo>
                    <a:pt x="29" y="140"/>
                    <a:pt x="36" y="33"/>
                    <a:pt x="14"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8" name="íşľíḓê">
              <a:extLst>
                <a:ext uri="{FF2B5EF4-FFF2-40B4-BE49-F238E27FC236}">
                  <a16:creationId xmlns:a16="http://schemas.microsoft.com/office/drawing/2014/main" id="{04A77F13-5410-4D47-927F-862F052974E3}"/>
                </a:ext>
              </a:extLst>
            </p:cNvPr>
            <p:cNvSpPr/>
            <p:nvPr/>
          </p:nvSpPr>
          <p:spPr bwMode="auto">
            <a:xfrm>
              <a:off x="4853898" y="3288574"/>
              <a:ext cx="630803" cy="1694029"/>
            </a:xfrm>
            <a:custGeom>
              <a:avLst/>
              <a:gdLst>
                <a:gd name="T0" fmla="*/ 238 w 238"/>
                <a:gd name="T1" fmla="*/ 0 h 640"/>
                <a:gd name="T2" fmla="*/ 182 w 238"/>
                <a:gd name="T3" fmla="*/ 312 h 640"/>
                <a:gd name="T4" fmla="*/ 53 w 238"/>
                <a:gd name="T5" fmla="*/ 640 h 640"/>
                <a:gd name="T6" fmla="*/ 0 w 238"/>
                <a:gd name="T7" fmla="*/ 622 h 640"/>
                <a:gd name="T8" fmla="*/ 98 w 238"/>
                <a:gd name="T9" fmla="*/ 296 h 640"/>
                <a:gd name="T10" fmla="*/ 124 w 238"/>
                <a:gd name="T11" fmla="*/ 1 h 640"/>
                <a:gd name="T12" fmla="*/ 238 w 238"/>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238" h="640">
                  <a:moveTo>
                    <a:pt x="238" y="0"/>
                  </a:moveTo>
                  <a:cubicBezTo>
                    <a:pt x="238" y="0"/>
                    <a:pt x="200" y="221"/>
                    <a:pt x="182" y="312"/>
                  </a:cubicBezTo>
                  <a:cubicBezTo>
                    <a:pt x="163" y="411"/>
                    <a:pt x="53" y="640"/>
                    <a:pt x="53" y="640"/>
                  </a:cubicBezTo>
                  <a:cubicBezTo>
                    <a:pt x="0" y="622"/>
                    <a:pt x="0" y="622"/>
                    <a:pt x="0" y="622"/>
                  </a:cubicBezTo>
                  <a:cubicBezTo>
                    <a:pt x="0" y="622"/>
                    <a:pt x="88" y="393"/>
                    <a:pt x="98" y="296"/>
                  </a:cubicBezTo>
                  <a:cubicBezTo>
                    <a:pt x="109" y="185"/>
                    <a:pt x="124" y="1"/>
                    <a:pt x="124" y="1"/>
                  </a:cubicBezTo>
                  <a:lnTo>
                    <a:pt x="238"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9" name="ïs1iḋè">
              <a:extLst>
                <a:ext uri="{FF2B5EF4-FFF2-40B4-BE49-F238E27FC236}">
                  <a16:creationId xmlns:a16="http://schemas.microsoft.com/office/drawing/2014/main" id="{DFD75C0E-E8FF-44AB-A0EF-339E26109140}"/>
                </a:ext>
              </a:extLst>
            </p:cNvPr>
            <p:cNvSpPr/>
            <p:nvPr/>
          </p:nvSpPr>
          <p:spPr bwMode="auto">
            <a:xfrm>
              <a:off x="4838296" y="4882299"/>
              <a:ext cx="198380" cy="108106"/>
            </a:xfrm>
            <a:custGeom>
              <a:avLst/>
              <a:gdLst>
                <a:gd name="T0" fmla="*/ 150 w 178"/>
                <a:gd name="T1" fmla="*/ 97 h 97"/>
                <a:gd name="T2" fmla="*/ 0 w 178"/>
                <a:gd name="T3" fmla="*/ 45 h 97"/>
                <a:gd name="T4" fmla="*/ 17 w 178"/>
                <a:gd name="T5" fmla="*/ 0 h 97"/>
                <a:gd name="T6" fmla="*/ 178 w 178"/>
                <a:gd name="T7" fmla="*/ 52 h 97"/>
                <a:gd name="T8" fmla="*/ 150 w 178"/>
                <a:gd name="T9" fmla="*/ 97 h 97"/>
              </a:gdLst>
              <a:ahLst/>
              <a:cxnLst>
                <a:cxn ang="0">
                  <a:pos x="T0" y="T1"/>
                </a:cxn>
                <a:cxn ang="0">
                  <a:pos x="T2" y="T3"/>
                </a:cxn>
                <a:cxn ang="0">
                  <a:pos x="T4" y="T5"/>
                </a:cxn>
                <a:cxn ang="0">
                  <a:pos x="T6" y="T7"/>
                </a:cxn>
                <a:cxn ang="0">
                  <a:pos x="T8" y="T9"/>
                </a:cxn>
              </a:cxnLst>
              <a:rect l="0" t="0" r="r" b="b"/>
              <a:pathLst>
                <a:path w="178" h="97">
                  <a:moveTo>
                    <a:pt x="150" y="97"/>
                  </a:moveTo>
                  <a:lnTo>
                    <a:pt x="0" y="45"/>
                  </a:lnTo>
                  <a:lnTo>
                    <a:pt x="17" y="0"/>
                  </a:lnTo>
                  <a:lnTo>
                    <a:pt x="178" y="52"/>
                  </a:lnTo>
                  <a:lnTo>
                    <a:pt x="150" y="97"/>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0" name="iṧḷíďe">
              <a:extLst>
                <a:ext uri="{FF2B5EF4-FFF2-40B4-BE49-F238E27FC236}">
                  <a16:creationId xmlns:a16="http://schemas.microsoft.com/office/drawing/2014/main" id="{BCEA58D2-B1FF-46A9-B180-B2188F88ECAA}"/>
                </a:ext>
              </a:extLst>
            </p:cNvPr>
            <p:cNvSpPr/>
            <p:nvPr/>
          </p:nvSpPr>
          <p:spPr bwMode="auto">
            <a:xfrm>
              <a:off x="5465755" y="2256554"/>
              <a:ext cx="15603" cy="2340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1" name="ïṧḷîḓè">
              <a:extLst>
                <a:ext uri="{FF2B5EF4-FFF2-40B4-BE49-F238E27FC236}">
                  <a16:creationId xmlns:a16="http://schemas.microsoft.com/office/drawing/2014/main" id="{227B0096-29AA-43A8-859C-F55A16882E69}"/>
                </a:ext>
              </a:extLst>
            </p:cNvPr>
            <p:cNvSpPr/>
            <p:nvPr/>
          </p:nvSpPr>
          <p:spPr bwMode="auto">
            <a:xfrm>
              <a:off x="5539312" y="2256554"/>
              <a:ext cx="18947" cy="23405"/>
            </a:xfrm>
            <a:custGeom>
              <a:avLst/>
              <a:gdLst>
                <a:gd name="T0" fmla="*/ 1 w 7"/>
                <a:gd name="T1" fmla="*/ 4 h 9"/>
                <a:gd name="T2" fmla="*/ 3 w 7"/>
                <a:gd name="T3" fmla="*/ 9 h 9"/>
                <a:gd name="T4" fmla="*/ 6 w 7"/>
                <a:gd name="T5" fmla="*/ 4 h 9"/>
                <a:gd name="T6" fmla="*/ 4 w 7"/>
                <a:gd name="T7" fmla="*/ 0 h 9"/>
                <a:gd name="T8" fmla="*/ 1 w 7"/>
                <a:gd name="T9" fmla="*/ 4 h 9"/>
              </a:gdLst>
              <a:ahLst/>
              <a:cxnLst>
                <a:cxn ang="0">
                  <a:pos x="T0" y="T1"/>
                </a:cxn>
                <a:cxn ang="0">
                  <a:pos x="T2" y="T3"/>
                </a:cxn>
                <a:cxn ang="0">
                  <a:pos x="T4" y="T5"/>
                </a:cxn>
                <a:cxn ang="0">
                  <a:pos x="T6" y="T7"/>
                </a:cxn>
                <a:cxn ang="0">
                  <a:pos x="T8" y="T9"/>
                </a:cxn>
              </a:cxnLst>
              <a:rect l="0" t="0" r="r" b="b"/>
              <a:pathLst>
                <a:path w="7" h="9">
                  <a:moveTo>
                    <a:pt x="1" y="4"/>
                  </a:moveTo>
                  <a:cubicBezTo>
                    <a:pt x="0" y="7"/>
                    <a:pt x="2" y="9"/>
                    <a:pt x="3" y="9"/>
                  </a:cubicBezTo>
                  <a:cubicBezTo>
                    <a:pt x="5" y="9"/>
                    <a:pt x="6" y="7"/>
                    <a:pt x="6" y="4"/>
                  </a:cubicBezTo>
                  <a:cubicBezTo>
                    <a:pt x="7" y="2"/>
                    <a:pt x="5" y="0"/>
                    <a:pt x="4" y="0"/>
                  </a:cubicBezTo>
                  <a:cubicBezTo>
                    <a:pt x="2" y="0"/>
                    <a:pt x="1" y="2"/>
                    <a:pt x="1"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2" name="íśḷïḑê">
              <a:extLst>
                <a:ext uri="{FF2B5EF4-FFF2-40B4-BE49-F238E27FC236}">
                  <a16:creationId xmlns:a16="http://schemas.microsoft.com/office/drawing/2014/main" id="{D0B81E74-E3AD-4222-8E36-D541AC6CFF00}"/>
                </a:ext>
              </a:extLst>
            </p:cNvPr>
            <p:cNvSpPr/>
            <p:nvPr/>
          </p:nvSpPr>
          <p:spPr bwMode="auto">
            <a:xfrm>
              <a:off x="5515907" y="2272157"/>
              <a:ext cx="32321" cy="69099"/>
            </a:xfrm>
            <a:custGeom>
              <a:avLst/>
              <a:gdLst>
                <a:gd name="T0" fmla="*/ 0 w 12"/>
                <a:gd name="T1" fmla="*/ 0 h 26"/>
                <a:gd name="T2" fmla="*/ 12 w 12"/>
                <a:gd name="T3" fmla="*/ 21 h 26"/>
                <a:gd name="T4" fmla="*/ 0 w 12"/>
                <a:gd name="T5" fmla="*/ 23 h 26"/>
                <a:gd name="T6" fmla="*/ 0 w 12"/>
                <a:gd name="T7" fmla="*/ 0 h 26"/>
              </a:gdLst>
              <a:ahLst/>
              <a:cxnLst>
                <a:cxn ang="0">
                  <a:pos x="T0" y="T1"/>
                </a:cxn>
                <a:cxn ang="0">
                  <a:pos x="T2" y="T3"/>
                </a:cxn>
                <a:cxn ang="0">
                  <a:pos x="T4" y="T5"/>
                </a:cxn>
                <a:cxn ang="0">
                  <a:pos x="T6" y="T7"/>
                </a:cxn>
              </a:cxnLst>
              <a:rect l="0" t="0" r="r" b="b"/>
              <a:pathLst>
                <a:path w="12" h="26">
                  <a:moveTo>
                    <a:pt x="0" y="0"/>
                  </a:moveTo>
                  <a:cubicBezTo>
                    <a:pt x="0" y="0"/>
                    <a:pt x="6" y="14"/>
                    <a:pt x="12" y="21"/>
                  </a:cubicBezTo>
                  <a:cubicBezTo>
                    <a:pt x="7" y="26"/>
                    <a:pt x="0" y="23"/>
                    <a:pt x="0" y="23"/>
                  </a:cubicBezTo>
                  <a:lnTo>
                    <a:pt x="0" y="0"/>
                  </a:lnTo>
                  <a:close/>
                </a:path>
              </a:pathLst>
            </a:custGeom>
            <a:solidFill>
              <a:srgbClr val="ED89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3" name="îšḷidê">
              <a:extLst>
                <a:ext uri="{FF2B5EF4-FFF2-40B4-BE49-F238E27FC236}">
                  <a16:creationId xmlns:a16="http://schemas.microsoft.com/office/drawing/2014/main" id="{37EEEB8B-8518-40B3-B4D2-9841C860F6D3}"/>
                </a:ext>
              </a:extLst>
            </p:cNvPr>
            <p:cNvSpPr/>
            <p:nvPr/>
          </p:nvSpPr>
          <p:spPr bwMode="auto">
            <a:xfrm>
              <a:off x="5439007" y="2222005"/>
              <a:ext cx="36779" cy="23405"/>
            </a:xfrm>
            <a:custGeom>
              <a:avLst/>
              <a:gdLst>
                <a:gd name="T0" fmla="*/ 1 w 14"/>
                <a:gd name="T1" fmla="*/ 9 h 9"/>
                <a:gd name="T2" fmla="*/ 3 w 14"/>
                <a:gd name="T3" fmla="*/ 8 h 9"/>
                <a:gd name="T4" fmla="*/ 12 w 14"/>
                <a:gd name="T5" fmla="*/ 3 h 9"/>
                <a:gd name="T6" fmla="*/ 14 w 14"/>
                <a:gd name="T7" fmla="*/ 2 h 9"/>
                <a:gd name="T8" fmla="*/ 13 w 14"/>
                <a:gd name="T9" fmla="*/ 0 h 9"/>
                <a:gd name="T10" fmla="*/ 0 w 14"/>
                <a:gd name="T11" fmla="*/ 6 h 9"/>
                <a:gd name="T12" fmla="*/ 1 w 14"/>
                <a:gd name="T13" fmla="*/ 8 h 9"/>
                <a:gd name="T14" fmla="*/ 1 w 14"/>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1" y="9"/>
                  </a:moveTo>
                  <a:cubicBezTo>
                    <a:pt x="2" y="9"/>
                    <a:pt x="2" y="9"/>
                    <a:pt x="3" y="8"/>
                  </a:cubicBezTo>
                  <a:cubicBezTo>
                    <a:pt x="7" y="3"/>
                    <a:pt x="12" y="3"/>
                    <a:pt x="12" y="3"/>
                  </a:cubicBezTo>
                  <a:cubicBezTo>
                    <a:pt x="13" y="3"/>
                    <a:pt x="14" y="3"/>
                    <a:pt x="14" y="2"/>
                  </a:cubicBezTo>
                  <a:cubicBezTo>
                    <a:pt x="14" y="1"/>
                    <a:pt x="14" y="0"/>
                    <a:pt x="13" y="0"/>
                  </a:cubicBezTo>
                  <a:cubicBezTo>
                    <a:pt x="12" y="0"/>
                    <a:pt x="6" y="0"/>
                    <a:pt x="0" y="6"/>
                  </a:cubicBezTo>
                  <a:cubicBezTo>
                    <a:pt x="0" y="7"/>
                    <a:pt x="0" y="8"/>
                    <a:pt x="1" y="8"/>
                  </a:cubicBezTo>
                  <a:lnTo>
                    <a:pt x="1" y="9"/>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4" name="ïṥḷíďé">
              <a:extLst>
                <a:ext uri="{FF2B5EF4-FFF2-40B4-BE49-F238E27FC236}">
                  <a16:creationId xmlns:a16="http://schemas.microsoft.com/office/drawing/2014/main" id="{944487BC-C28B-448B-AC68-569667A5F59A}"/>
                </a:ext>
              </a:extLst>
            </p:cNvPr>
            <p:cNvSpPr/>
            <p:nvPr/>
          </p:nvSpPr>
          <p:spPr bwMode="auto">
            <a:xfrm>
              <a:off x="5544884" y="2214204"/>
              <a:ext cx="34550" cy="28977"/>
            </a:xfrm>
            <a:custGeom>
              <a:avLst/>
              <a:gdLst>
                <a:gd name="T0" fmla="*/ 11 w 13"/>
                <a:gd name="T1" fmla="*/ 11 h 11"/>
                <a:gd name="T2" fmla="*/ 12 w 13"/>
                <a:gd name="T3" fmla="*/ 10 h 11"/>
                <a:gd name="T4" fmla="*/ 13 w 13"/>
                <a:gd name="T5" fmla="*/ 8 h 11"/>
                <a:gd name="T6" fmla="*/ 2 w 13"/>
                <a:gd name="T7" fmla="*/ 0 h 11"/>
                <a:gd name="T8" fmla="*/ 0 w 13"/>
                <a:gd name="T9" fmla="*/ 1 h 11"/>
                <a:gd name="T10" fmla="*/ 2 w 13"/>
                <a:gd name="T11" fmla="*/ 3 h 11"/>
                <a:gd name="T12" fmla="*/ 10 w 13"/>
                <a:gd name="T13" fmla="*/ 10 h 11"/>
                <a:gd name="T14" fmla="*/ 11 w 13"/>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1">
                  <a:moveTo>
                    <a:pt x="11" y="11"/>
                  </a:moveTo>
                  <a:cubicBezTo>
                    <a:pt x="12" y="10"/>
                    <a:pt x="12" y="10"/>
                    <a:pt x="12" y="10"/>
                  </a:cubicBezTo>
                  <a:cubicBezTo>
                    <a:pt x="13" y="10"/>
                    <a:pt x="13" y="9"/>
                    <a:pt x="13" y="8"/>
                  </a:cubicBezTo>
                  <a:cubicBezTo>
                    <a:pt x="9" y="1"/>
                    <a:pt x="2" y="0"/>
                    <a:pt x="2" y="0"/>
                  </a:cubicBezTo>
                  <a:cubicBezTo>
                    <a:pt x="1" y="0"/>
                    <a:pt x="1" y="1"/>
                    <a:pt x="0" y="1"/>
                  </a:cubicBezTo>
                  <a:cubicBezTo>
                    <a:pt x="0" y="2"/>
                    <a:pt x="1" y="3"/>
                    <a:pt x="2" y="3"/>
                  </a:cubicBezTo>
                  <a:cubicBezTo>
                    <a:pt x="2" y="3"/>
                    <a:pt x="7" y="4"/>
                    <a:pt x="10" y="10"/>
                  </a:cubicBezTo>
                  <a:cubicBezTo>
                    <a:pt x="10" y="10"/>
                    <a:pt x="11" y="10"/>
                    <a:pt x="11"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5" name="iṣḷïḑê">
              <a:extLst>
                <a:ext uri="{FF2B5EF4-FFF2-40B4-BE49-F238E27FC236}">
                  <a16:creationId xmlns:a16="http://schemas.microsoft.com/office/drawing/2014/main" id="{2E028937-B0A1-4929-8304-8607C3937826}"/>
                </a:ext>
              </a:extLst>
            </p:cNvPr>
            <p:cNvSpPr/>
            <p:nvPr/>
          </p:nvSpPr>
          <p:spPr bwMode="auto">
            <a:xfrm>
              <a:off x="4920768" y="5086250"/>
              <a:ext cx="42351" cy="23405"/>
            </a:xfrm>
            <a:custGeom>
              <a:avLst/>
              <a:gdLst>
                <a:gd name="T0" fmla="*/ 6 w 16"/>
                <a:gd name="T1" fmla="*/ 7 h 9"/>
                <a:gd name="T2" fmla="*/ 12 w 16"/>
                <a:gd name="T3" fmla="*/ 9 h 9"/>
                <a:gd name="T4" fmla="*/ 15 w 16"/>
                <a:gd name="T5" fmla="*/ 7 h 9"/>
                <a:gd name="T6" fmla="*/ 16 w 16"/>
                <a:gd name="T7" fmla="*/ 4 h 9"/>
                <a:gd name="T8" fmla="*/ 1 w 16"/>
                <a:gd name="T9" fmla="*/ 0 h 9"/>
                <a:gd name="T10" fmla="*/ 0 w 16"/>
                <a:gd name="T11" fmla="*/ 0 h 9"/>
                <a:gd name="T12" fmla="*/ 0 w 16"/>
                <a:gd name="T13" fmla="*/ 1 h 9"/>
                <a:gd name="T14" fmla="*/ 6 w 16"/>
                <a:gd name="T15" fmla="*/ 7 h 9"/>
                <a:gd name="T16" fmla="*/ 14 w 16"/>
                <a:gd name="T17" fmla="*/ 4 h 9"/>
                <a:gd name="T18" fmla="*/ 14 w 16"/>
                <a:gd name="T19" fmla="*/ 5 h 9"/>
                <a:gd name="T20" fmla="*/ 14 w 16"/>
                <a:gd name="T21" fmla="*/ 6 h 9"/>
                <a:gd name="T22" fmla="*/ 12 w 16"/>
                <a:gd name="T23" fmla="*/ 8 h 9"/>
                <a:gd name="T24" fmla="*/ 2 w 16"/>
                <a:gd name="T25" fmla="*/ 2 h 9"/>
                <a:gd name="T26" fmla="*/ 14 w 16"/>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9">
                  <a:moveTo>
                    <a:pt x="6" y="7"/>
                  </a:moveTo>
                  <a:cubicBezTo>
                    <a:pt x="8" y="8"/>
                    <a:pt x="10" y="9"/>
                    <a:pt x="12" y="9"/>
                  </a:cubicBezTo>
                  <a:cubicBezTo>
                    <a:pt x="13" y="9"/>
                    <a:pt x="14" y="8"/>
                    <a:pt x="15" y="7"/>
                  </a:cubicBezTo>
                  <a:cubicBezTo>
                    <a:pt x="16" y="6"/>
                    <a:pt x="16" y="5"/>
                    <a:pt x="16" y="4"/>
                  </a:cubicBezTo>
                  <a:cubicBezTo>
                    <a:pt x="14" y="1"/>
                    <a:pt x="2" y="0"/>
                    <a:pt x="1" y="0"/>
                  </a:cubicBezTo>
                  <a:cubicBezTo>
                    <a:pt x="0" y="0"/>
                    <a:pt x="0" y="0"/>
                    <a:pt x="0" y="0"/>
                  </a:cubicBezTo>
                  <a:cubicBezTo>
                    <a:pt x="0" y="1"/>
                    <a:pt x="0" y="1"/>
                    <a:pt x="0" y="1"/>
                  </a:cubicBezTo>
                  <a:cubicBezTo>
                    <a:pt x="2" y="3"/>
                    <a:pt x="4" y="5"/>
                    <a:pt x="6" y="7"/>
                  </a:cubicBezTo>
                  <a:close/>
                  <a:moveTo>
                    <a:pt x="14" y="4"/>
                  </a:moveTo>
                  <a:cubicBezTo>
                    <a:pt x="14" y="5"/>
                    <a:pt x="14" y="5"/>
                    <a:pt x="14" y="5"/>
                  </a:cubicBezTo>
                  <a:cubicBezTo>
                    <a:pt x="14" y="5"/>
                    <a:pt x="14" y="5"/>
                    <a:pt x="14" y="6"/>
                  </a:cubicBezTo>
                  <a:cubicBezTo>
                    <a:pt x="13" y="7"/>
                    <a:pt x="13" y="7"/>
                    <a:pt x="12" y="8"/>
                  </a:cubicBezTo>
                  <a:cubicBezTo>
                    <a:pt x="9" y="8"/>
                    <a:pt x="6" y="6"/>
                    <a:pt x="2" y="2"/>
                  </a:cubicBezTo>
                  <a:cubicBezTo>
                    <a:pt x="7" y="2"/>
                    <a:pt x="12" y="3"/>
                    <a:pt x="14" y="4"/>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6" name="ïŝḻiḓe">
              <a:extLst>
                <a:ext uri="{FF2B5EF4-FFF2-40B4-BE49-F238E27FC236}">
                  <a16:creationId xmlns:a16="http://schemas.microsoft.com/office/drawing/2014/main" id="{696DCBEE-E392-4B60-A288-E6FB5024B028}"/>
                </a:ext>
              </a:extLst>
            </p:cNvPr>
            <p:cNvSpPr/>
            <p:nvPr/>
          </p:nvSpPr>
          <p:spPr bwMode="auto">
            <a:xfrm>
              <a:off x="4920768" y="5067304"/>
              <a:ext cx="39008" cy="23405"/>
            </a:xfrm>
            <a:custGeom>
              <a:avLst/>
              <a:gdLst>
                <a:gd name="T0" fmla="*/ 0 w 15"/>
                <a:gd name="T1" fmla="*/ 8 h 9"/>
                <a:gd name="T2" fmla="*/ 1 w 15"/>
                <a:gd name="T3" fmla="*/ 9 h 9"/>
                <a:gd name="T4" fmla="*/ 15 w 15"/>
                <a:gd name="T5" fmla="*/ 4 h 9"/>
                <a:gd name="T6" fmla="*/ 14 w 15"/>
                <a:gd name="T7" fmla="*/ 1 h 9"/>
                <a:gd name="T8" fmla="*/ 11 w 15"/>
                <a:gd name="T9" fmla="*/ 0 h 9"/>
                <a:gd name="T10" fmla="*/ 0 w 15"/>
                <a:gd name="T11" fmla="*/ 7 h 9"/>
                <a:gd name="T12" fmla="*/ 0 w 15"/>
                <a:gd name="T13" fmla="*/ 8 h 9"/>
                <a:gd name="T14" fmla="*/ 13 w 15"/>
                <a:gd name="T15" fmla="*/ 2 h 9"/>
                <a:gd name="T16" fmla="*/ 13 w 15"/>
                <a:gd name="T17" fmla="*/ 2 h 9"/>
                <a:gd name="T18" fmla="*/ 14 w 15"/>
                <a:gd name="T19" fmla="*/ 3 h 9"/>
                <a:gd name="T20" fmla="*/ 2 w 15"/>
                <a:gd name="T21" fmla="*/ 7 h 9"/>
                <a:gd name="T22" fmla="*/ 11 w 15"/>
                <a:gd name="T23" fmla="*/ 1 h 9"/>
                <a:gd name="T24" fmla="*/ 13 w 15"/>
                <a:gd name="T2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9">
                  <a:moveTo>
                    <a:pt x="0" y="8"/>
                  </a:moveTo>
                  <a:cubicBezTo>
                    <a:pt x="1" y="9"/>
                    <a:pt x="1" y="9"/>
                    <a:pt x="1" y="9"/>
                  </a:cubicBezTo>
                  <a:cubicBezTo>
                    <a:pt x="4" y="9"/>
                    <a:pt x="13" y="7"/>
                    <a:pt x="15" y="4"/>
                  </a:cubicBezTo>
                  <a:cubicBezTo>
                    <a:pt x="15" y="3"/>
                    <a:pt x="15" y="2"/>
                    <a:pt x="14" y="1"/>
                  </a:cubicBezTo>
                  <a:cubicBezTo>
                    <a:pt x="13" y="0"/>
                    <a:pt x="12" y="0"/>
                    <a:pt x="11" y="0"/>
                  </a:cubicBezTo>
                  <a:cubicBezTo>
                    <a:pt x="6" y="0"/>
                    <a:pt x="0" y="7"/>
                    <a:pt x="0" y="7"/>
                  </a:cubicBezTo>
                  <a:cubicBezTo>
                    <a:pt x="0" y="8"/>
                    <a:pt x="0" y="8"/>
                    <a:pt x="0" y="8"/>
                  </a:cubicBezTo>
                  <a:close/>
                  <a:moveTo>
                    <a:pt x="13" y="2"/>
                  </a:moveTo>
                  <a:cubicBezTo>
                    <a:pt x="13" y="2"/>
                    <a:pt x="13" y="2"/>
                    <a:pt x="13" y="2"/>
                  </a:cubicBezTo>
                  <a:cubicBezTo>
                    <a:pt x="14" y="3"/>
                    <a:pt x="14" y="3"/>
                    <a:pt x="14" y="3"/>
                  </a:cubicBezTo>
                  <a:cubicBezTo>
                    <a:pt x="13" y="5"/>
                    <a:pt x="6" y="7"/>
                    <a:pt x="2" y="7"/>
                  </a:cubicBezTo>
                  <a:cubicBezTo>
                    <a:pt x="4" y="5"/>
                    <a:pt x="8" y="1"/>
                    <a:pt x="11" y="1"/>
                  </a:cubicBezTo>
                  <a:cubicBezTo>
                    <a:pt x="12" y="1"/>
                    <a:pt x="12" y="1"/>
                    <a:pt x="13"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7" name="iṣlidé">
              <a:extLst>
                <a:ext uri="{FF2B5EF4-FFF2-40B4-BE49-F238E27FC236}">
                  <a16:creationId xmlns:a16="http://schemas.microsoft.com/office/drawing/2014/main" id="{AC68CC30-2828-4B94-9ED1-CED5B434011B}"/>
                </a:ext>
              </a:extLst>
            </p:cNvPr>
            <p:cNvSpPr/>
            <p:nvPr/>
          </p:nvSpPr>
          <p:spPr bwMode="auto">
            <a:xfrm>
              <a:off x="4947516" y="2616535"/>
              <a:ext cx="306486" cy="683184"/>
            </a:xfrm>
            <a:custGeom>
              <a:avLst/>
              <a:gdLst>
                <a:gd name="T0" fmla="*/ 116 w 116"/>
                <a:gd name="T1" fmla="*/ 31 h 258"/>
                <a:gd name="T2" fmla="*/ 106 w 116"/>
                <a:gd name="T3" fmla="*/ 43 h 258"/>
                <a:gd name="T4" fmla="*/ 96 w 116"/>
                <a:gd name="T5" fmla="*/ 56 h 258"/>
                <a:gd name="T6" fmla="*/ 77 w 116"/>
                <a:gd name="T7" fmla="*/ 81 h 258"/>
                <a:gd name="T8" fmla="*/ 60 w 116"/>
                <a:gd name="T9" fmla="*/ 107 h 258"/>
                <a:gd name="T10" fmla="*/ 45 w 116"/>
                <a:gd name="T11" fmla="*/ 133 h 258"/>
                <a:gd name="T12" fmla="*/ 44 w 116"/>
                <a:gd name="T13" fmla="*/ 135 h 258"/>
                <a:gd name="T14" fmla="*/ 44 w 116"/>
                <a:gd name="T15" fmla="*/ 136 h 258"/>
                <a:gd name="T16" fmla="*/ 43 w 116"/>
                <a:gd name="T17" fmla="*/ 138 h 258"/>
                <a:gd name="T18" fmla="*/ 42 w 116"/>
                <a:gd name="T19" fmla="*/ 143 h 258"/>
                <a:gd name="T20" fmla="*/ 40 w 116"/>
                <a:gd name="T21" fmla="*/ 157 h 258"/>
                <a:gd name="T22" fmla="*/ 40 w 116"/>
                <a:gd name="T23" fmla="*/ 188 h 258"/>
                <a:gd name="T24" fmla="*/ 46 w 116"/>
                <a:gd name="T25" fmla="*/ 252 h 258"/>
                <a:gd name="T26" fmla="*/ 23 w 116"/>
                <a:gd name="T27" fmla="*/ 258 h 258"/>
                <a:gd name="T28" fmla="*/ 5 w 116"/>
                <a:gd name="T29" fmla="*/ 192 h 258"/>
                <a:gd name="T30" fmla="*/ 0 w 116"/>
                <a:gd name="T31" fmla="*/ 157 h 258"/>
                <a:gd name="T32" fmla="*/ 0 w 116"/>
                <a:gd name="T33" fmla="*/ 138 h 258"/>
                <a:gd name="T34" fmla="*/ 2 w 116"/>
                <a:gd name="T35" fmla="*/ 128 h 258"/>
                <a:gd name="T36" fmla="*/ 3 w 116"/>
                <a:gd name="T37" fmla="*/ 122 h 258"/>
                <a:gd name="T38" fmla="*/ 4 w 116"/>
                <a:gd name="T39" fmla="*/ 118 h 258"/>
                <a:gd name="T40" fmla="*/ 5 w 116"/>
                <a:gd name="T41" fmla="*/ 116 h 258"/>
                <a:gd name="T42" fmla="*/ 38 w 116"/>
                <a:gd name="T43" fmla="*/ 54 h 258"/>
                <a:gd name="T44" fmla="*/ 58 w 116"/>
                <a:gd name="T45" fmla="*/ 26 h 258"/>
                <a:gd name="T46" fmla="*/ 69 w 116"/>
                <a:gd name="T47" fmla="*/ 13 h 258"/>
                <a:gd name="T48" fmla="*/ 80 w 116"/>
                <a:gd name="T49" fmla="*/ 0 h 258"/>
                <a:gd name="T50" fmla="*/ 116 w 116"/>
                <a:gd name="T51" fmla="*/ 3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6" h="258">
                  <a:moveTo>
                    <a:pt x="116" y="31"/>
                  </a:moveTo>
                  <a:cubicBezTo>
                    <a:pt x="106" y="43"/>
                    <a:pt x="106" y="43"/>
                    <a:pt x="106" y="43"/>
                  </a:cubicBezTo>
                  <a:cubicBezTo>
                    <a:pt x="102" y="47"/>
                    <a:pt x="99" y="51"/>
                    <a:pt x="96" y="56"/>
                  </a:cubicBezTo>
                  <a:cubicBezTo>
                    <a:pt x="89" y="64"/>
                    <a:pt x="83" y="72"/>
                    <a:pt x="77" y="81"/>
                  </a:cubicBezTo>
                  <a:cubicBezTo>
                    <a:pt x="71" y="89"/>
                    <a:pt x="65" y="98"/>
                    <a:pt x="60" y="107"/>
                  </a:cubicBezTo>
                  <a:cubicBezTo>
                    <a:pt x="54" y="115"/>
                    <a:pt x="49" y="124"/>
                    <a:pt x="45" y="133"/>
                  </a:cubicBezTo>
                  <a:cubicBezTo>
                    <a:pt x="44" y="135"/>
                    <a:pt x="44" y="135"/>
                    <a:pt x="44" y="135"/>
                  </a:cubicBezTo>
                  <a:cubicBezTo>
                    <a:pt x="44" y="136"/>
                    <a:pt x="44" y="136"/>
                    <a:pt x="44" y="136"/>
                  </a:cubicBezTo>
                  <a:cubicBezTo>
                    <a:pt x="43" y="136"/>
                    <a:pt x="43" y="137"/>
                    <a:pt x="43" y="138"/>
                  </a:cubicBezTo>
                  <a:cubicBezTo>
                    <a:pt x="42" y="139"/>
                    <a:pt x="42" y="141"/>
                    <a:pt x="42" y="143"/>
                  </a:cubicBezTo>
                  <a:cubicBezTo>
                    <a:pt x="41" y="147"/>
                    <a:pt x="40" y="152"/>
                    <a:pt x="40" y="157"/>
                  </a:cubicBezTo>
                  <a:cubicBezTo>
                    <a:pt x="40" y="167"/>
                    <a:pt x="40" y="177"/>
                    <a:pt x="40" y="188"/>
                  </a:cubicBezTo>
                  <a:cubicBezTo>
                    <a:pt x="42" y="209"/>
                    <a:pt x="43" y="231"/>
                    <a:pt x="46" y="252"/>
                  </a:cubicBezTo>
                  <a:cubicBezTo>
                    <a:pt x="23" y="258"/>
                    <a:pt x="23" y="258"/>
                    <a:pt x="23" y="258"/>
                  </a:cubicBezTo>
                  <a:cubicBezTo>
                    <a:pt x="15" y="236"/>
                    <a:pt x="9" y="215"/>
                    <a:pt x="5" y="192"/>
                  </a:cubicBezTo>
                  <a:cubicBezTo>
                    <a:pt x="3" y="181"/>
                    <a:pt x="1" y="169"/>
                    <a:pt x="0" y="157"/>
                  </a:cubicBezTo>
                  <a:cubicBezTo>
                    <a:pt x="0" y="151"/>
                    <a:pt x="0" y="145"/>
                    <a:pt x="0" y="138"/>
                  </a:cubicBezTo>
                  <a:cubicBezTo>
                    <a:pt x="1" y="135"/>
                    <a:pt x="1" y="131"/>
                    <a:pt x="2" y="128"/>
                  </a:cubicBezTo>
                  <a:cubicBezTo>
                    <a:pt x="2" y="126"/>
                    <a:pt x="3" y="124"/>
                    <a:pt x="3" y="122"/>
                  </a:cubicBezTo>
                  <a:cubicBezTo>
                    <a:pt x="4" y="118"/>
                    <a:pt x="4" y="118"/>
                    <a:pt x="4" y="118"/>
                  </a:cubicBezTo>
                  <a:cubicBezTo>
                    <a:pt x="5" y="116"/>
                    <a:pt x="5" y="116"/>
                    <a:pt x="5" y="116"/>
                  </a:cubicBezTo>
                  <a:cubicBezTo>
                    <a:pt x="14" y="94"/>
                    <a:pt x="26" y="74"/>
                    <a:pt x="38" y="54"/>
                  </a:cubicBezTo>
                  <a:cubicBezTo>
                    <a:pt x="44" y="45"/>
                    <a:pt x="51" y="35"/>
                    <a:pt x="58" y="26"/>
                  </a:cubicBezTo>
                  <a:cubicBezTo>
                    <a:pt x="62" y="22"/>
                    <a:pt x="65" y="17"/>
                    <a:pt x="69" y="13"/>
                  </a:cubicBezTo>
                  <a:cubicBezTo>
                    <a:pt x="72" y="8"/>
                    <a:pt x="76" y="4"/>
                    <a:pt x="80" y="0"/>
                  </a:cubicBezTo>
                  <a:lnTo>
                    <a:pt x="116" y="31"/>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8" name="iSļiḓè">
              <a:extLst>
                <a:ext uri="{FF2B5EF4-FFF2-40B4-BE49-F238E27FC236}">
                  <a16:creationId xmlns:a16="http://schemas.microsoft.com/office/drawing/2014/main" id="{FA1EFB72-9F49-405A-810C-0EB6F7FA7FA5}"/>
                </a:ext>
              </a:extLst>
            </p:cNvPr>
            <p:cNvSpPr/>
            <p:nvPr/>
          </p:nvSpPr>
          <p:spPr bwMode="auto">
            <a:xfrm>
              <a:off x="5011042" y="2558582"/>
              <a:ext cx="316516" cy="351065"/>
            </a:xfrm>
            <a:custGeom>
              <a:avLst/>
              <a:gdLst>
                <a:gd name="T0" fmla="*/ 62 w 120"/>
                <a:gd name="T1" fmla="*/ 5 h 133"/>
                <a:gd name="T2" fmla="*/ 0 w 120"/>
                <a:gd name="T3" fmla="*/ 79 h 133"/>
                <a:gd name="T4" fmla="*/ 56 w 120"/>
                <a:gd name="T5" fmla="*/ 133 h 133"/>
                <a:gd name="T6" fmla="*/ 99 w 120"/>
                <a:gd name="T7" fmla="*/ 63 h 133"/>
                <a:gd name="T8" fmla="*/ 62 w 120"/>
                <a:gd name="T9" fmla="*/ 5 h 133"/>
              </a:gdLst>
              <a:ahLst/>
              <a:cxnLst>
                <a:cxn ang="0">
                  <a:pos x="T0" y="T1"/>
                </a:cxn>
                <a:cxn ang="0">
                  <a:pos x="T2" y="T3"/>
                </a:cxn>
                <a:cxn ang="0">
                  <a:pos x="T4" y="T5"/>
                </a:cxn>
                <a:cxn ang="0">
                  <a:pos x="T6" y="T7"/>
                </a:cxn>
                <a:cxn ang="0">
                  <a:pos x="T8" y="T9"/>
                </a:cxn>
              </a:cxnLst>
              <a:rect l="0" t="0" r="r" b="b"/>
              <a:pathLst>
                <a:path w="120" h="133">
                  <a:moveTo>
                    <a:pt x="62" y="5"/>
                  </a:moveTo>
                  <a:cubicBezTo>
                    <a:pt x="32" y="9"/>
                    <a:pt x="0" y="79"/>
                    <a:pt x="0" y="79"/>
                  </a:cubicBezTo>
                  <a:cubicBezTo>
                    <a:pt x="56" y="133"/>
                    <a:pt x="56" y="133"/>
                    <a:pt x="56" y="133"/>
                  </a:cubicBezTo>
                  <a:cubicBezTo>
                    <a:pt x="56" y="133"/>
                    <a:pt x="80" y="97"/>
                    <a:pt x="99" y="63"/>
                  </a:cubicBezTo>
                  <a:cubicBezTo>
                    <a:pt x="120" y="26"/>
                    <a:pt x="98" y="0"/>
                    <a:pt x="62" y="5"/>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9" name="îšḷïḍè">
              <a:extLst>
                <a:ext uri="{FF2B5EF4-FFF2-40B4-BE49-F238E27FC236}">
                  <a16:creationId xmlns:a16="http://schemas.microsoft.com/office/drawing/2014/main" id="{C0F81679-7A0A-4CFD-86D6-6772F30D74FB}"/>
                </a:ext>
              </a:extLst>
            </p:cNvPr>
            <p:cNvSpPr/>
            <p:nvPr/>
          </p:nvSpPr>
          <p:spPr bwMode="auto">
            <a:xfrm>
              <a:off x="4976493" y="3267399"/>
              <a:ext cx="134854" cy="90274"/>
            </a:xfrm>
            <a:custGeom>
              <a:avLst/>
              <a:gdLst>
                <a:gd name="T0" fmla="*/ 32 w 51"/>
                <a:gd name="T1" fmla="*/ 0 h 34"/>
                <a:gd name="T2" fmla="*/ 51 w 51"/>
                <a:gd name="T3" fmla="*/ 24 h 34"/>
                <a:gd name="T4" fmla="*/ 12 w 51"/>
                <a:gd name="T5" fmla="*/ 34 h 34"/>
                <a:gd name="T6" fmla="*/ 13 w 51"/>
                <a:gd name="T7" fmla="*/ 1 h 34"/>
                <a:gd name="T8" fmla="*/ 32 w 51"/>
                <a:gd name="T9" fmla="*/ 0 h 34"/>
              </a:gdLst>
              <a:ahLst/>
              <a:cxnLst>
                <a:cxn ang="0">
                  <a:pos x="T0" y="T1"/>
                </a:cxn>
                <a:cxn ang="0">
                  <a:pos x="T2" y="T3"/>
                </a:cxn>
                <a:cxn ang="0">
                  <a:pos x="T4" y="T5"/>
                </a:cxn>
                <a:cxn ang="0">
                  <a:pos x="T6" y="T7"/>
                </a:cxn>
                <a:cxn ang="0">
                  <a:pos x="T8" y="T9"/>
                </a:cxn>
              </a:cxnLst>
              <a:rect l="0" t="0" r="r" b="b"/>
              <a:pathLst>
                <a:path w="51" h="34">
                  <a:moveTo>
                    <a:pt x="32" y="0"/>
                  </a:moveTo>
                  <a:cubicBezTo>
                    <a:pt x="51" y="24"/>
                    <a:pt x="51" y="24"/>
                    <a:pt x="51" y="24"/>
                  </a:cubicBezTo>
                  <a:cubicBezTo>
                    <a:pt x="12" y="34"/>
                    <a:pt x="12" y="34"/>
                    <a:pt x="12" y="34"/>
                  </a:cubicBezTo>
                  <a:cubicBezTo>
                    <a:pt x="12" y="34"/>
                    <a:pt x="0" y="9"/>
                    <a:pt x="13" y="1"/>
                  </a:cubicBezTo>
                  <a:lnTo>
                    <a:pt x="32" y="0"/>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0" name="íṩḻiḑe">
              <a:extLst>
                <a:ext uri="{FF2B5EF4-FFF2-40B4-BE49-F238E27FC236}">
                  <a16:creationId xmlns:a16="http://schemas.microsoft.com/office/drawing/2014/main" id="{1DA7122D-0B06-4E2B-B587-A5ED05C5B0E7}"/>
                </a:ext>
              </a:extLst>
            </p:cNvPr>
            <p:cNvSpPr/>
            <p:nvPr/>
          </p:nvSpPr>
          <p:spPr bwMode="auto">
            <a:xfrm>
              <a:off x="5007698" y="3330925"/>
              <a:ext cx="103648" cy="86930"/>
            </a:xfrm>
            <a:custGeom>
              <a:avLst/>
              <a:gdLst>
                <a:gd name="T0" fmla="*/ 90 w 93"/>
                <a:gd name="T1" fmla="*/ 64 h 78"/>
                <a:gd name="T2" fmla="*/ 12 w 93"/>
                <a:gd name="T3" fmla="*/ 78 h 78"/>
                <a:gd name="T4" fmla="*/ 0 w 93"/>
                <a:gd name="T5" fmla="*/ 24 h 78"/>
                <a:gd name="T6" fmla="*/ 93 w 93"/>
                <a:gd name="T7" fmla="*/ 0 h 78"/>
                <a:gd name="T8" fmla="*/ 90 w 93"/>
                <a:gd name="T9" fmla="*/ 64 h 78"/>
              </a:gdLst>
              <a:ahLst/>
              <a:cxnLst>
                <a:cxn ang="0">
                  <a:pos x="T0" y="T1"/>
                </a:cxn>
                <a:cxn ang="0">
                  <a:pos x="T2" y="T3"/>
                </a:cxn>
                <a:cxn ang="0">
                  <a:pos x="T4" y="T5"/>
                </a:cxn>
                <a:cxn ang="0">
                  <a:pos x="T6" y="T7"/>
                </a:cxn>
                <a:cxn ang="0">
                  <a:pos x="T8" y="T9"/>
                </a:cxn>
              </a:cxnLst>
              <a:rect l="0" t="0" r="r" b="b"/>
              <a:pathLst>
                <a:path w="93" h="78">
                  <a:moveTo>
                    <a:pt x="90" y="64"/>
                  </a:moveTo>
                  <a:lnTo>
                    <a:pt x="12" y="78"/>
                  </a:lnTo>
                  <a:lnTo>
                    <a:pt x="0" y="24"/>
                  </a:lnTo>
                  <a:lnTo>
                    <a:pt x="93" y="0"/>
                  </a:lnTo>
                  <a:lnTo>
                    <a:pt x="90" y="64"/>
                  </a:lnTo>
                  <a:close/>
                </a:path>
              </a:pathLst>
            </a:custGeom>
            <a:solidFill>
              <a:srgbClr val="FFB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1" name="îṣḷïdê">
              <a:extLst>
                <a:ext uri="{FF2B5EF4-FFF2-40B4-BE49-F238E27FC236}">
                  <a16:creationId xmlns:a16="http://schemas.microsoft.com/office/drawing/2014/main" id="{A79D0E7D-9574-4EB5-97DB-C48E95B7BAF0}"/>
                </a:ext>
              </a:extLst>
            </p:cNvPr>
            <p:cNvSpPr/>
            <p:nvPr/>
          </p:nvSpPr>
          <p:spPr bwMode="auto">
            <a:xfrm>
              <a:off x="7281263" y="4832146"/>
              <a:ext cx="185006" cy="200609"/>
            </a:xfrm>
            <a:custGeom>
              <a:avLst/>
              <a:gdLst>
                <a:gd name="T0" fmla="*/ 166 w 166"/>
                <a:gd name="T1" fmla="*/ 152 h 180"/>
                <a:gd name="T2" fmla="*/ 95 w 166"/>
                <a:gd name="T3" fmla="*/ 180 h 180"/>
                <a:gd name="T4" fmla="*/ 0 w 166"/>
                <a:gd name="T5" fmla="*/ 31 h 180"/>
                <a:gd name="T6" fmla="*/ 69 w 166"/>
                <a:gd name="T7" fmla="*/ 0 h 180"/>
                <a:gd name="T8" fmla="*/ 166 w 166"/>
                <a:gd name="T9" fmla="*/ 152 h 180"/>
              </a:gdLst>
              <a:ahLst/>
              <a:cxnLst>
                <a:cxn ang="0">
                  <a:pos x="T0" y="T1"/>
                </a:cxn>
                <a:cxn ang="0">
                  <a:pos x="T2" y="T3"/>
                </a:cxn>
                <a:cxn ang="0">
                  <a:pos x="T4" y="T5"/>
                </a:cxn>
                <a:cxn ang="0">
                  <a:pos x="T6" y="T7"/>
                </a:cxn>
                <a:cxn ang="0">
                  <a:pos x="T8" y="T9"/>
                </a:cxn>
              </a:cxnLst>
              <a:rect l="0" t="0" r="r" b="b"/>
              <a:pathLst>
                <a:path w="166" h="180">
                  <a:moveTo>
                    <a:pt x="166" y="152"/>
                  </a:moveTo>
                  <a:lnTo>
                    <a:pt x="95" y="180"/>
                  </a:lnTo>
                  <a:lnTo>
                    <a:pt x="0" y="31"/>
                  </a:lnTo>
                  <a:lnTo>
                    <a:pt x="69" y="0"/>
                  </a:lnTo>
                  <a:lnTo>
                    <a:pt x="166" y="152"/>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2" name="iṡ1ïdè">
              <a:extLst>
                <a:ext uri="{FF2B5EF4-FFF2-40B4-BE49-F238E27FC236}">
                  <a16:creationId xmlns:a16="http://schemas.microsoft.com/office/drawing/2014/main" id="{28104A94-C902-4551-8251-428ECA778BE1}"/>
                </a:ext>
              </a:extLst>
            </p:cNvPr>
            <p:cNvSpPr/>
            <p:nvPr/>
          </p:nvSpPr>
          <p:spPr bwMode="auto">
            <a:xfrm>
              <a:off x="7281263" y="4832146"/>
              <a:ext cx="185006" cy="200609"/>
            </a:xfrm>
            <a:custGeom>
              <a:avLst/>
              <a:gdLst>
                <a:gd name="T0" fmla="*/ 166 w 166"/>
                <a:gd name="T1" fmla="*/ 152 h 180"/>
                <a:gd name="T2" fmla="*/ 95 w 166"/>
                <a:gd name="T3" fmla="*/ 180 h 180"/>
                <a:gd name="T4" fmla="*/ 0 w 166"/>
                <a:gd name="T5" fmla="*/ 31 h 180"/>
                <a:gd name="T6" fmla="*/ 69 w 166"/>
                <a:gd name="T7" fmla="*/ 0 h 180"/>
                <a:gd name="T8" fmla="*/ 166 w 166"/>
                <a:gd name="T9" fmla="*/ 152 h 180"/>
              </a:gdLst>
              <a:ahLst/>
              <a:cxnLst>
                <a:cxn ang="0">
                  <a:pos x="T0" y="T1"/>
                </a:cxn>
                <a:cxn ang="0">
                  <a:pos x="T2" y="T3"/>
                </a:cxn>
                <a:cxn ang="0">
                  <a:pos x="T4" y="T5"/>
                </a:cxn>
                <a:cxn ang="0">
                  <a:pos x="T6" y="T7"/>
                </a:cxn>
                <a:cxn ang="0">
                  <a:pos x="T8" y="T9"/>
                </a:cxn>
              </a:cxnLst>
              <a:rect l="0" t="0" r="r" b="b"/>
              <a:pathLst>
                <a:path w="166" h="180">
                  <a:moveTo>
                    <a:pt x="166" y="152"/>
                  </a:moveTo>
                  <a:lnTo>
                    <a:pt x="95" y="180"/>
                  </a:lnTo>
                  <a:lnTo>
                    <a:pt x="0" y="31"/>
                  </a:lnTo>
                  <a:lnTo>
                    <a:pt x="69" y="0"/>
                  </a:lnTo>
                  <a:lnTo>
                    <a:pt x="166" y="1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3" name="îŝļiḋê">
              <a:extLst>
                <a:ext uri="{FF2B5EF4-FFF2-40B4-BE49-F238E27FC236}">
                  <a16:creationId xmlns:a16="http://schemas.microsoft.com/office/drawing/2014/main" id="{0DA327F3-7640-4AE3-A581-FB7BBCD4BB4F}"/>
                </a:ext>
              </a:extLst>
            </p:cNvPr>
            <p:cNvSpPr/>
            <p:nvPr/>
          </p:nvSpPr>
          <p:spPr bwMode="auto">
            <a:xfrm>
              <a:off x="7404972" y="4905703"/>
              <a:ext cx="8916" cy="13374"/>
            </a:xfrm>
            <a:custGeom>
              <a:avLst/>
              <a:gdLst>
                <a:gd name="T0" fmla="*/ 0 w 8"/>
                <a:gd name="T1" fmla="*/ 0 h 12"/>
                <a:gd name="T2" fmla="*/ 0 w 8"/>
                <a:gd name="T3" fmla="*/ 0 h 12"/>
                <a:gd name="T4" fmla="*/ 8 w 8"/>
                <a:gd name="T5" fmla="*/ 12 h 12"/>
                <a:gd name="T6" fmla="*/ 8 w 8"/>
                <a:gd name="T7" fmla="*/ 12 h 12"/>
                <a:gd name="T8" fmla="*/ 0 w 8"/>
                <a:gd name="T9" fmla="*/ 0 h 12"/>
              </a:gdLst>
              <a:ahLst/>
              <a:cxnLst>
                <a:cxn ang="0">
                  <a:pos x="T0" y="T1"/>
                </a:cxn>
                <a:cxn ang="0">
                  <a:pos x="T2" y="T3"/>
                </a:cxn>
                <a:cxn ang="0">
                  <a:pos x="T4" y="T5"/>
                </a:cxn>
                <a:cxn ang="0">
                  <a:pos x="T6" y="T7"/>
                </a:cxn>
                <a:cxn ang="0">
                  <a:pos x="T8" y="T9"/>
                </a:cxn>
              </a:cxnLst>
              <a:rect l="0" t="0" r="r" b="b"/>
              <a:pathLst>
                <a:path w="8" h="12">
                  <a:moveTo>
                    <a:pt x="0" y="0"/>
                  </a:moveTo>
                  <a:lnTo>
                    <a:pt x="0" y="0"/>
                  </a:lnTo>
                  <a:lnTo>
                    <a:pt x="8" y="12"/>
                  </a:lnTo>
                  <a:lnTo>
                    <a:pt x="8" y="12"/>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4" name="işḻíḋé">
              <a:extLst>
                <a:ext uri="{FF2B5EF4-FFF2-40B4-BE49-F238E27FC236}">
                  <a16:creationId xmlns:a16="http://schemas.microsoft.com/office/drawing/2014/main" id="{067E51F9-0336-4A7C-B9C1-BB1228C1DC32}"/>
                </a:ext>
              </a:extLst>
            </p:cNvPr>
            <p:cNvSpPr/>
            <p:nvPr/>
          </p:nvSpPr>
          <p:spPr bwMode="auto">
            <a:xfrm>
              <a:off x="7404972" y="4905703"/>
              <a:ext cx="8916" cy="13374"/>
            </a:xfrm>
            <a:custGeom>
              <a:avLst/>
              <a:gdLst>
                <a:gd name="T0" fmla="*/ 0 w 8"/>
                <a:gd name="T1" fmla="*/ 0 h 12"/>
                <a:gd name="T2" fmla="*/ 0 w 8"/>
                <a:gd name="T3" fmla="*/ 0 h 12"/>
                <a:gd name="T4" fmla="*/ 8 w 8"/>
                <a:gd name="T5" fmla="*/ 12 h 12"/>
                <a:gd name="T6" fmla="*/ 8 w 8"/>
                <a:gd name="T7" fmla="*/ 12 h 12"/>
                <a:gd name="T8" fmla="*/ 0 w 8"/>
                <a:gd name="T9" fmla="*/ 0 h 12"/>
              </a:gdLst>
              <a:ahLst/>
              <a:cxnLst>
                <a:cxn ang="0">
                  <a:pos x="T0" y="T1"/>
                </a:cxn>
                <a:cxn ang="0">
                  <a:pos x="T2" y="T3"/>
                </a:cxn>
                <a:cxn ang="0">
                  <a:pos x="T4" y="T5"/>
                </a:cxn>
                <a:cxn ang="0">
                  <a:pos x="T6" y="T7"/>
                </a:cxn>
                <a:cxn ang="0">
                  <a:pos x="T8" y="T9"/>
                </a:cxn>
              </a:cxnLst>
              <a:rect l="0" t="0" r="r" b="b"/>
              <a:pathLst>
                <a:path w="8" h="12">
                  <a:moveTo>
                    <a:pt x="0" y="0"/>
                  </a:moveTo>
                  <a:lnTo>
                    <a:pt x="0" y="0"/>
                  </a:lnTo>
                  <a:lnTo>
                    <a:pt x="8" y="12"/>
                  </a:lnTo>
                  <a:lnTo>
                    <a:pt x="8"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5" name="islíḑe">
              <a:extLst>
                <a:ext uri="{FF2B5EF4-FFF2-40B4-BE49-F238E27FC236}">
                  <a16:creationId xmlns:a16="http://schemas.microsoft.com/office/drawing/2014/main" id="{42A6A518-A6A2-41B9-8DF9-135E43CC6744}"/>
                </a:ext>
              </a:extLst>
            </p:cNvPr>
            <p:cNvSpPr/>
            <p:nvPr/>
          </p:nvSpPr>
          <p:spPr bwMode="auto">
            <a:xfrm>
              <a:off x="7325843" y="4905703"/>
              <a:ext cx="88045" cy="47924"/>
            </a:xfrm>
            <a:custGeom>
              <a:avLst/>
              <a:gdLst>
                <a:gd name="T0" fmla="*/ 71 w 79"/>
                <a:gd name="T1" fmla="*/ 0 h 43"/>
                <a:gd name="T2" fmla="*/ 0 w 79"/>
                <a:gd name="T3" fmla="*/ 29 h 43"/>
                <a:gd name="T4" fmla="*/ 10 w 79"/>
                <a:gd name="T5" fmla="*/ 43 h 43"/>
                <a:gd name="T6" fmla="*/ 79 w 79"/>
                <a:gd name="T7" fmla="*/ 12 h 43"/>
                <a:gd name="T8" fmla="*/ 71 w 79"/>
                <a:gd name="T9" fmla="*/ 0 h 43"/>
              </a:gdLst>
              <a:ahLst/>
              <a:cxnLst>
                <a:cxn ang="0">
                  <a:pos x="T0" y="T1"/>
                </a:cxn>
                <a:cxn ang="0">
                  <a:pos x="T2" y="T3"/>
                </a:cxn>
                <a:cxn ang="0">
                  <a:pos x="T4" y="T5"/>
                </a:cxn>
                <a:cxn ang="0">
                  <a:pos x="T6" y="T7"/>
                </a:cxn>
                <a:cxn ang="0">
                  <a:pos x="T8" y="T9"/>
                </a:cxn>
              </a:cxnLst>
              <a:rect l="0" t="0" r="r" b="b"/>
              <a:pathLst>
                <a:path w="79" h="43">
                  <a:moveTo>
                    <a:pt x="71" y="0"/>
                  </a:moveTo>
                  <a:lnTo>
                    <a:pt x="0" y="29"/>
                  </a:lnTo>
                  <a:lnTo>
                    <a:pt x="10" y="43"/>
                  </a:lnTo>
                  <a:lnTo>
                    <a:pt x="79" y="12"/>
                  </a:lnTo>
                  <a:lnTo>
                    <a:pt x="71" y="0"/>
                  </a:lnTo>
                  <a:close/>
                </a:path>
              </a:pathLst>
            </a:custGeom>
            <a:solidFill>
              <a:srgbClr val="CC9C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6" name="isḻiḍè">
              <a:extLst>
                <a:ext uri="{FF2B5EF4-FFF2-40B4-BE49-F238E27FC236}">
                  <a16:creationId xmlns:a16="http://schemas.microsoft.com/office/drawing/2014/main" id="{199EB333-B10D-4521-B1B7-6B9AB74A4869}"/>
                </a:ext>
              </a:extLst>
            </p:cNvPr>
            <p:cNvSpPr/>
            <p:nvPr/>
          </p:nvSpPr>
          <p:spPr bwMode="auto">
            <a:xfrm>
              <a:off x="7325843" y="4905703"/>
              <a:ext cx="88045" cy="47924"/>
            </a:xfrm>
            <a:custGeom>
              <a:avLst/>
              <a:gdLst>
                <a:gd name="T0" fmla="*/ 71 w 79"/>
                <a:gd name="T1" fmla="*/ 0 h 43"/>
                <a:gd name="T2" fmla="*/ 0 w 79"/>
                <a:gd name="T3" fmla="*/ 29 h 43"/>
                <a:gd name="T4" fmla="*/ 10 w 79"/>
                <a:gd name="T5" fmla="*/ 43 h 43"/>
                <a:gd name="T6" fmla="*/ 79 w 79"/>
                <a:gd name="T7" fmla="*/ 12 h 43"/>
                <a:gd name="T8" fmla="*/ 71 w 79"/>
                <a:gd name="T9" fmla="*/ 0 h 43"/>
              </a:gdLst>
              <a:ahLst/>
              <a:cxnLst>
                <a:cxn ang="0">
                  <a:pos x="T0" y="T1"/>
                </a:cxn>
                <a:cxn ang="0">
                  <a:pos x="T2" y="T3"/>
                </a:cxn>
                <a:cxn ang="0">
                  <a:pos x="T4" y="T5"/>
                </a:cxn>
                <a:cxn ang="0">
                  <a:pos x="T6" y="T7"/>
                </a:cxn>
                <a:cxn ang="0">
                  <a:pos x="T8" y="T9"/>
                </a:cxn>
              </a:cxnLst>
              <a:rect l="0" t="0" r="r" b="b"/>
              <a:pathLst>
                <a:path w="79" h="43">
                  <a:moveTo>
                    <a:pt x="71" y="0"/>
                  </a:moveTo>
                  <a:lnTo>
                    <a:pt x="0" y="29"/>
                  </a:lnTo>
                  <a:lnTo>
                    <a:pt x="10" y="43"/>
                  </a:lnTo>
                  <a:lnTo>
                    <a:pt x="79" y="12"/>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7" name="î$1îďè">
              <a:extLst>
                <a:ext uri="{FF2B5EF4-FFF2-40B4-BE49-F238E27FC236}">
                  <a16:creationId xmlns:a16="http://schemas.microsoft.com/office/drawing/2014/main" id="{B64D1491-B4E5-44DA-8EC0-0B2BFB152BFE}"/>
                </a:ext>
              </a:extLst>
            </p:cNvPr>
            <p:cNvSpPr/>
            <p:nvPr/>
          </p:nvSpPr>
          <p:spPr bwMode="auto">
            <a:xfrm>
              <a:off x="6749650" y="3288574"/>
              <a:ext cx="685413" cy="1662823"/>
            </a:xfrm>
            <a:custGeom>
              <a:avLst/>
              <a:gdLst>
                <a:gd name="T0" fmla="*/ 0 w 259"/>
                <a:gd name="T1" fmla="*/ 9 h 628"/>
                <a:gd name="T2" fmla="*/ 78 w 259"/>
                <a:gd name="T3" fmla="*/ 361 h 628"/>
                <a:gd name="T4" fmla="*/ 205 w 259"/>
                <a:gd name="T5" fmla="*/ 628 h 628"/>
                <a:gd name="T6" fmla="*/ 259 w 259"/>
                <a:gd name="T7" fmla="*/ 604 h 628"/>
                <a:gd name="T8" fmla="*/ 175 w 259"/>
                <a:gd name="T9" fmla="*/ 372 h 628"/>
                <a:gd name="T10" fmla="*/ 110 w 259"/>
                <a:gd name="T11" fmla="*/ 0 h 628"/>
                <a:gd name="T12" fmla="*/ 0 w 259"/>
                <a:gd name="T13" fmla="*/ 9 h 628"/>
              </a:gdLst>
              <a:ahLst/>
              <a:cxnLst>
                <a:cxn ang="0">
                  <a:pos x="T0" y="T1"/>
                </a:cxn>
                <a:cxn ang="0">
                  <a:pos x="T2" y="T3"/>
                </a:cxn>
                <a:cxn ang="0">
                  <a:pos x="T4" y="T5"/>
                </a:cxn>
                <a:cxn ang="0">
                  <a:pos x="T6" y="T7"/>
                </a:cxn>
                <a:cxn ang="0">
                  <a:pos x="T8" y="T9"/>
                </a:cxn>
                <a:cxn ang="0">
                  <a:pos x="T10" y="T11"/>
                </a:cxn>
                <a:cxn ang="0">
                  <a:pos x="T12" y="T13"/>
                </a:cxn>
              </a:cxnLst>
              <a:rect l="0" t="0" r="r" b="b"/>
              <a:pathLst>
                <a:path w="259" h="628">
                  <a:moveTo>
                    <a:pt x="0" y="9"/>
                  </a:moveTo>
                  <a:cubicBezTo>
                    <a:pt x="0" y="9"/>
                    <a:pt x="52" y="271"/>
                    <a:pt x="78" y="361"/>
                  </a:cubicBezTo>
                  <a:cubicBezTo>
                    <a:pt x="107" y="460"/>
                    <a:pt x="205" y="628"/>
                    <a:pt x="205" y="628"/>
                  </a:cubicBezTo>
                  <a:cubicBezTo>
                    <a:pt x="259" y="604"/>
                    <a:pt x="259" y="604"/>
                    <a:pt x="259" y="604"/>
                  </a:cubicBezTo>
                  <a:cubicBezTo>
                    <a:pt x="259" y="604"/>
                    <a:pt x="199" y="469"/>
                    <a:pt x="175" y="372"/>
                  </a:cubicBezTo>
                  <a:cubicBezTo>
                    <a:pt x="148" y="261"/>
                    <a:pt x="110" y="0"/>
                    <a:pt x="110" y="0"/>
                  </a:cubicBezTo>
                  <a:cubicBezTo>
                    <a:pt x="0" y="9"/>
                    <a:pt x="0" y="9"/>
                    <a:pt x="0" y="9"/>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8" name="išḻíḋé">
              <a:extLst>
                <a:ext uri="{FF2B5EF4-FFF2-40B4-BE49-F238E27FC236}">
                  <a16:creationId xmlns:a16="http://schemas.microsoft.com/office/drawing/2014/main" id="{1F5E3BC3-8877-45DE-8532-1707DAE94C82}"/>
                </a:ext>
              </a:extLst>
            </p:cNvPr>
            <p:cNvSpPr/>
            <p:nvPr/>
          </p:nvSpPr>
          <p:spPr bwMode="auto">
            <a:xfrm>
              <a:off x="6849955" y="3550480"/>
              <a:ext cx="42351" cy="436881"/>
            </a:xfrm>
            <a:custGeom>
              <a:avLst/>
              <a:gdLst>
                <a:gd name="T0" fmla="*/ 6 w 16"/>
                <a:gd name="T1" fmla="*/ 0 h 165"/>
                <a:gd name="T2" fmla="*/ 0 w 16"/>
                <a:gd name="T3" fmla="*/ 94 h 165"/>
                <a:gd name="T4" fmla="*/ 16 w 16"/>
                <a:gd name="T5" fmla="*/ 165 h 165"/>
                <a:gd name="T6" fmla="*/ 6 w 16"/>
                <a:gd name="T7" fmla="*/ 0 h 165"/>
              </a:gdLst>
              <a:ahLst/>
              <a:cxnLst>
                <a:cxn ang="0">
                  <a:pos x="T0" y="T1"/>
                </a:cxn>
                <a:cxn ang="0">
                  <a:pos x="T2" y="T3"/>
                </a:cxn>
                <a:cxn ang="0">
                  <a:pos x="T4" y="T5"/>
                </a:cxn>
                <a:cxn ang="0">
                  <a:pos x="T6" y="T7"/>
                </a:cxn>
              </a:cxnLst>
              <a:rect l="0" t="0" r="r" b="b"/>
              <a:pathLst>
                <a:path w="16" h="165">
                  <a:moveTo>
                    <a:pt x="6" y="0"/>
                  </a:moveTo>
                  <a:cubicBezTo>
                    <a:pt x="4" y="42"/>
                    <a:pt x="2" y="68"/>
                    <a:pt x="0" y="94"/>
                  </a:cubicBezTo>
                  <a:cubicBezTo>
                    <a:pt x="6" y="118"/>
                    <a:pt x="11" y="142"/>
                    <a:pt x="16" y="165"/>
                  </a:cubicBezTo>
                  <a:cubicBezTo>
                    <a:pt x="14" y="113"/>
                    <a:pt x="12" y="65"/>
                    <a:pt x="6"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9" name="ï$1ïďé">
              <a:extLst>
                <a:ext uri="{FF2B5EF4-FFF2-40B4-BE49-F238E27FC236}">
                  <a16:creationId xmlns:a16="http://schemas.microsoft.com/office/drawing/2014/main" id="{4F5B93F8-7717-448F-976E-3AA3169067B8}"/>
                </a:ext>
              </a:extLst>
            </p:cNvPr>
            <p:cNvSpPr/>
            <p:nvPr/>
          </p:nvSpPr>
          <p:spPr bwMode="auto">
            <a:xfrm>
              <a:off x="6792001" y="4995977"/>
              <a:ext cx="102533" cy="198380"/>
            </a:xfrm>
            <a:custGeom>
              <a:avLst/>
              <a:gdLst>
                <a:gd name="T0" fmla="*/ 92 w 92"/>
                <a:gd name="T1" fmla="*/ 178 h 178"/>
                <a:gd name="T2" fmla="*/ 16 w 92"/>
                <a:gd name="T3" fmla="*/ 178 h 178"/>
                <a:gd name="T4" fmla="*/ 0 w 92"/>
                <a:gd name="T5" fmla="*/ 0 h 178"/>
                <a:gd name="T6" fmla="*/ 76 w 92"/>
                <a:gd name="T7" fmla="*/ 2 h 178"/>
                <a:gd name="T8" fmla="*/ 92 w 92"/>
                <a:gd name="T9" fmla="*/ 178 h 178"/>
              </a:gdLst>
              <a:ahLst/>
              <a:cxnLst>
                <a:cxn ang="0">
                  <a:pos x="T0" y="T1"/>
                </a:cxn>
                <a:cxn ang="0">
                  <a:pos x="T2" y="T3"/>
                </a:cxn>
                <a:cxn ang="0">
                  <a:pos x="T4" y="T5"/>
                </a:cxn>
                <a:cxn ang="0">
                  <a:pos x="T6" y="T7"/>
                </a:cxn>
                <a:cxn ang="0">
                  <a:pos x="T8" y="T9"/>
                </a:cxn>
              </a:cxnLst>
              <a:rect l="0" t="0" r="r" b="b"/>
              <a:pathLst>
                <a:path w="92" h="178">
                  <a:moveTo>
                    <a:pt x="92" y="178"/>
                  </a:moveTo>
                  <a:lnTo>
                    <a:pt x="16" y="178"/>
                  </a:lnTo>
                  <a:lnTo>
                    <a:pt x="0" y="0"/>
                  </a:lnTo>
                  <a:lnTo>
                    <a:pt x="76" y="2"/>
                  </a:lnTo>
                  <a:lnTo>
                    <a:pt x="92" y="178"/>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0" name="iśľiďê">
              <a:extLst>
                <a:ext uri="{FF2B5EF4-FFF2-40B4-BE49-F238E27FC236}">
                  <a16:creationId xmlns:a16="http://schemas.microsoft.com/office/drawing/2014/main" id="{FC5096D7-0FDC-40CE-863E-0AC2083F31AB}"/>
                </a:ext>
              </a:extLst>
            </p:cNvPr>
            <p:cNvSpPr/>
            <p:nvPr/>
          </p:nvSpPr>
          <p:spPr bwMode="auto">
            <a:xfrm>
              <a:off x="6792001" y="4995977"/>
              <a:ext cx="102533" cy="198380"/>
            </a:xfrm>
            <a:custGeom>
              <a:avLst/>
              <a:gdLst>
                <a:gd name="T0" fmla="*/ 92 w 92"/>
                <a:gd name="T1" fmla="*/ 178 h 178"/>
                <a:gd name="T2" fmla="*/ 16 w 92"/>
                <a:gd name="T3" fmla="*/ 178 h 178"/>
                <a:gd name="T4" fmla="*/ 0 w 92"/>
                <a:gd name="T5" fmla="*/ 0 h 178"/>
                <a:gd name="T6" fmla="*/ 76 w 92"/>
                <a:gd name="T7" fmla="*/ 2 h 178"/>
                <a:gd name="T8" fmla="*/ 92 w 92"/>
                <a:gd name="T9" fmla="*/ 178 h 178"/>
              </a:gdLst>
              <a:ahLst/>
              <a:cxnLst>
                <a:cxn ang="0">
                  <a:pos x="T0" y="T1"/>
                </a:cxn>
                <a:cxn ang="0">
                  <a:pos x="T2" y="T3"/>
                </a:cxn>
                <a:cxn ang="0">
                  <a:pos x="T4" y="T5"/>
                </a:cxn>
                <a:cxn ang="0">
                  <a:pos x="T6" y="T7"/>
                </a:cxn>
                <a:cxn ang="0">
                  <a:pos x="T8" y="T9"/>
                </a:cxn>
              </a:cxnLst>
              <a:rect l="0" t="0" r="r" b="b"/>
              <a:pathLst>
                <a:path w="92" h="178">
                  <a:moveTo>
                    <a:pt x="92" y="178"/>
                  </a:moveTo>
                  <a:lnTo>
                    <a:pt x="16" y="178"/>
                  </a:lnTo>
                  <a:lnTo>
                    <a:pt x="0" y="0"/>
                  </a:lnTo>
                  <a:lnTo>
                    <a:pt x="76" y="2"/>
                  </a:lnTo>
                  <a:lnTo>
                    <a:pt x="92" y="1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1" name="îṣḷïḑê">
              <a:extLst>
                <a:ext uri="{FF2B5EF4-FFF2-40B4-BE49-F238E27FC236}">
                  <a16:creationId xmlns:a16="http://schemas.microsoft.com/office/drawing/2014/main" id="{A56D9333-65B6-40B4-8B26-9D5604DFEAD8}"/>
                </a:ext>
              </a:extLst>
            </p:cNvPr>
            <p:cNvSpPr/>
            <p:nvPr/>
          </p:nvSpPr>
          <p:spPr bwMode="auto">
            <a:xfrm>
              <a:off x="6884504" y="5082907"/>
              <a:ext cx="2229" cy="16718"/>
            </a:xfrm>
            <a:custGeom>
              <a:avLst/>
              <a:gdLst>
                <a:gd name="T0" fmla="*/ 0 w 2"/>
                <a:gd name="T1" fmla="*/ 0 h 15"/>
                <a:gd name="T2" fmla="*/ 2 w 2"/>
                <a:gd name="T3" fmla="*/ 15 h 15"/>
                <a:gd name="T4" fmla="*/ 2 w 2"/>
                <a:gd name="T5" fmla="*/ 15 h 15"/>
                <a:gd name="T6" fmla="*/ 0 w 2"/>
                <a:gd name="T7" fmla="*/ 0 h 15"/>
                <a:gd name="T8" fmla="*/ 0 w 2"/>
                <a:gd name="T9" fmla="*/ 0 h 15"/>
              </a:gdLst>
              <a:ahLst/>
              <a:cxnLst>
                <a:cxn ang="0">
                  <a:pos x="T0" y="T1"/>
                </a:cxn>
                <a:cxn ang="0">
                  <a:pos x="T2" y="T3"/>
                </a:cxn>
                <a:cxn ang="0">
                  <a:pos x="T4" y="T5"/>
                </a:cxn>
                <a:cxn ang="0">
                  <a:pos x="T6" y="T7"/>
                </a:cxn>
                <a:cxn ang="0">
                  <a:pos x="T8" y="T9"/>
                </a:cxn>
              </a:cxnLst>
              <a:rect l="0" t="0" r="r" b="b"/>
              <a:pathLst>
                <a:path w="2" h="15">
                  <a:moveTo>
                    <a:pt x="0" y="0"/>
                  </a:moveTo>
                  <a:lnTo>
                    <a:pt x="2" y="15"/>
                  </a:lnTo>
                  <a:lnTo>
                    <a:pt x="2" y="15"/>
                  </a:lnTo>
                  <a:lnTo>
                    <a:pt x="0"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2" name="îṩľiḑe">
              <a:extLst>
                <a:ext uri="{FF2B5EF4-FFF2-40B4-BE49-F238E27FC236}">
                  <a16:creationId xmlns:a16="http://schemas.microsoft.com/office/drawing/2014/main" id="{CF276A8A-38F8-4967-A68E-2185221D3E97}"/>
                </a:ext>
              </a:extLst>
            </p:cNvPr>
            <p:cNvSpPr/>
            <p:nvPr/>
          </p:nvSpPr>
          <p:spPr bwMode="auto">
            <a:xfrm>
              <a:off x="6884504" y="5082907"/>
              <a:ext cx="2229" cy="16718"/>
            </a:xfrm>
            <a:custGeom>
              <a:avLst/>
              <a:gdLst>
                <a:gd name="T0" fmla="*/ 0 w 2"/>
                <a:gd name="T1" fmla="*/ 0 h 15"/>
                <a:gd name="T2" fmla="*/ 2 w 2"/>
                <a:gd name="T3" fmla="*/ 15 h 15"/>
                <a:gd name="T4" fmla="*/ 2 w 2"/>
                <a:gd name="T5" fmla="*/ 15 h 15"/>
                <a:gd name="T6" fmla="*/ 0 w 2"/>
                <a:gd name="T7" fmla="*/ 0 h 15"/>
                <a:gd name="T8" fmla="*/ 0 w 2"/>
                <a:gd name="T9" fmla="*/ 0 h 15"/>
              </a:gdLst>
              <a:ahLst/>
              <a:cxnLst>
                <a:cxn ang="0">
                  <a:pos x="T0" y="T1"/>
                </a:cxn>
                <a:cxn ang="0">
                  <a:pos x="T2" y="T3"/>
                </a:cxn>
                <a:cxn ang="0">
                  <a:pos x="T4" y="T5"/>
                </a:cxn>
                <a:cxn ang="0">
                  <a:pos x="T6" y="T7"/>
                </a:cxn>
                <a:cxn ang="0">
                  <a:pos x="T8" y="T9"/>
                </a:cxn>
              </a:cxnLst>
              <a:rect l="0" t="0" r="r" b="b"/>
              <a:pathLst>
                <a:path w="2" h="15">
                  <a:moveTo>
                    <a:pt x="0" y="0"/>
                  </a:moveTo>
                  <a:lnTo>
                    <a:pt x="2" y="15"/>
                  </a:lnTo>
                  <a:lnTo>
                    <a:pt x="2" y="15"/>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3" name="ïṩḻîḋè">
              <a:extLst>
                <a:ext uri="{FF2B5EF4-FFF2-40B4-BE49-F238E27FC236}">
                  <a16:creationId xmlns:a16="http://schemas.microsoft.com/office/drawing/2014/main" id="{60036451-4219-4C0F-8625-653A07208F37}"/>
                </a:ext>
              </a:extLst>
            </p:cNvPr>
            <p:cNvSpPr/>
            <p:nvPr/>
          </p:nvSpPr>
          <p:spPr bwMode="auto">
            <a:xfrm>
              <a:off x="6799802" y="5080678"/>
              <a:ext cx="86930" cy="18947"/>
            </a:xfrm>
            <a:custGeom>
              <a:avLst/>
              <a:gdLst>
                <a:gd name="T0" fmla="*/ 0 w 78"/>
                <a:gd name="T1" fmla="*/ 0 h 17"/>
                <a:gd name="T2" fmla="*/ 2 w 78"/>
                <a:gd name="T3" fmla="*/ 14 h 17"/>
                <a:gd name="T4" fmla="*/ 78 w 78"/>
                <a:gd name="T5" fmla="*/ 17 h 17"/>
                <a:gd name="T6" fmla="*/ 76 w 78"/>
                <a:gd name="T7" fmla="*/ 2 h 17"/>
                <a:gd name="T8" fmla="*/ 0 w 78"/>
                <a:gd name="T9" fmla="*/ 0 h 17"/>
              </a:gdLst>
              <a:ahLst/>
              <a:cxnLst>
                <a:cxn ang="0">
                  <a:pos x="T0" y="T1"/>
                </a:cxn>
                <a:cxn ang="0">
                  <a:pos x="T2" y="T3"/>
                </a:cxn>
                <a:cxn ang="0">
                  <a:pos x="T4" y="T5"/>
                </a:cxn>
                <a:cxn ang="0">
                  <a:pos x="T6" y="T7"/>
                </a:cxn>
                <a:cxn ang="0">
                  <a:pos x="T8" y="T9"/>
                </a:cxn>
              </a:cxnLst>
              <a:rect l="0" t="0" r="r" b="b"/>
              <a:pathLst>
                <a:path w="78" h="17">
                  <a:moveTo>
                    <a:pt x="0" y="0"/>
                  </a:moveTo>
                  <a:lnTo>
                    <a:pt x="2" y="14"/>
                  </a:lnTo>
                  <a:lnTo>
                    <a:pt x="78" y="17"/>
                  </a:lnTo>
                  <a:lnTo>
                    <a:pt x="76" y="2"/>
                  </a:lnTo>
                  <a:lnTo>
                    <a:pt x="0" y="0"/>
                  </a:lnTo>
                  <a:close/>
                </a:path>
              </a:pathLst>
            </a:custGeom>
            <a:solidFill>
              <a:srgbClr val="CC9C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4" name="ïṧḻíḑè">
              <a:extLst>
                <a:ext uri="{FF2B5EF4-FFF2-40B4-BE49-F238E27FC236}">
                  <a16:creationId xmlns:a16="http://schemas.microsoft.com/office/drawing/2014/main" id="{91B6656D-CDF4-45AC-954F-27255BA93A68}"/>
                </a:ext>
              </a:extLst>
            </p:cNvPr>
            <p:cNvSpPr/>
            <p:nvPr/>
          </p:nvSpPr>
          <p:spPr bwMode="auto">
            <a:xfrm>
              <a:off x="6799802" y="5080678"/>
              <a:ext cx="86930" cy="18947"/>
            </a:xfrm>
            <a:custGeom>
              <a:avLst/>
              <a:gdLst>
                <a:gd name="T0" fmla="*/ 0 w 78"/>
                <a:gd name="T1" fmla="*/ 0 h 17"/>
                <a:gd name="T2" fmla="*/ 2 w 78"/>
                <a:gd name="T3" fmla="*/ 14 h 17"/>
                <a:gd name="T4" fmla="*/ 78 w 78"/>
                <a:gd name="T5" fmla="*/ 17 h 17"/>
                <a:gd name="T6" fmla="*/ 76 w 78"/>
                <a:gd name="T7" fmla="*/ 2 h 17"/>
                <a:gd name="T8" fmla="*/ 0 w 78"/>
                <a:gd name="T9" fmla="*/ 0 h 17"/>
              </a:gdLst>
              <a:ahLst/>
              <a:cxnLst>
                <a:cxn ang="0">
                  <a:pos x="T0" y="T1"/>
                </a:cxn>
                <a:cxn ang="0">
                  <a:pos x="T2" y="T3"/>
                </a:cxn>
                <a:cxn ang="0">
                  <a:pos x="T4" y="T5"/>
                </a:cxn>
                <a:cxn ang="0">
                  <a:pos x="T6" y="T7"/>
                </a:cxn>
                <a:cxn ang="0">
                  <a:pos x="T8" y="T9"/>
                </a:cxn>
              </a:cxnLst>
              <a:rect l="0" t="0" r="r" b="b"/>
              <a:pathLst>
                <a:path w="78" h="17">
                  <a:moveTo>
                    <a:pt x="0" y="0"/>
                  </a:moveTo>
                  <a:lnTo>
                    <a:pt x="2" y="14"/>
                  </a:lnTo>
                  <a:lnTo>
                    <a:pt x="78" y="17"/>
                  </a:lnTo>
                  <a:lnTo>
                    <a:pt x="76"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5" name="islíďe">
              <a:extLst>
                <a:ext uri="{FF2B5EF4-FFF2-40B4-BE49-F238E27FC236}">
                  <a16:creationId xmlns:a16="http://schemas.microsoft.com/office/drawing/2014/main" id="{1C50F4B4-20FF-4BA3-98E6-CD802409D642}"/>
                </a:ext>
              </a:extLst>
            </p:cNvPr>
            <p:cNvSpPr/>
            <p:nvPr/>
          </p:nvSpPr>
          <p:spPr bwMode="auto">
            <a:xfrm>
              <a:off x="6576904" y="3301948"/>
              <a:ext cx="336577" cy="1778730"/>
            </a:xfrm>
            <a:custGeom>
              <a:avLst/>
              <a:gdLst>
                <a:gd name="T0" fmla="*/ 73 w 127"/>
                <a:gd name="T1" fmla="*/ 671 h 672"/>
                <a:gd name="T2" fmla="*/ 127 w 127"/>
                <a:gd name="T3" fmla="*/ 672 h 672"/>
                <a:gd name="T4" fmla="*/ 99 w 127"/>
                <a:gd name="T5" fmla="*/ 361 h 672"/>
                <a:gd name="T6" fmla="*/ 100 w 127"/>
                <a:gd name="T7" fmla="*/ 241 h 672"/>
                <a:gd name="T8" fmla="*/ 110 w 127"/>
                <a:gd name="T9" fmla="*/ 86 h 672"/>
                <a:gd name="T10" fmla="*/ 117 w 127"/>
                <a:gd name="T11" fmla="*/ 0 h 672"/>
                <a:gd name="T12" fmla="*/ 4 w 127"/>
                <a:gd name="T13" fmla="*/ 9 h 672"/>
                <a:gd name="T14" fmla="*/ 13 w 127"/>
                <a:gd name="T15" fmla="*/ 361 h 672"/>
                <a:gd name="T16" fmla="*/ 73 w 127"/>
                <a:gd name="T17" fmla="*/ 671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672">
                  <a:moveTo>
                    <a:pt x="73" y="671"/>
                  </a:moveTo>
                  <a:cubicBezTo>
                    <a:pt x="127" y="672"/>
                    <a:pt x="127" y="672"/>
                    <a:pt x="127" y="672"/>
                  </a:cubicBezTo>
                  <a:cubicBezTo>
                    <a:pt x="127" y="672"/>
                    <a:pt x="106" y="460"/>
                    <a:pt x="99" y="361"/>
                  </a:cubicBezTo>
                  <a:cubicBezTo>
                    <a:pt x="97" y="330"/>
                    <a:pt x="98" y="287"/>
                    <a:pt x="100" y="241"/>
                  </a:cubicBezTo>
                  <a:cubicBezTo>
                    <a:pt x="103" y="183"/>
                    <a:pt x="105" y="160"/>
                    <a:pt x="110" y="86"/>
                  </a:cubicBezTo>
                  <a:cubicBezTo>
                    <a:pt x="113" y="34"/>
                    <a:pt x="117" y="0"/>
                    <a:pt x="117" y="0"/>
                  </a:cubicBezTo>
                  <a:cubicBezTo>
                    <a:pt x="4" y="9"/>
                    <a:pt x="4" y="9"/>
                    <a:pt x="4" y="9"/>
                  </a:cubicBezTo>
                  <a:cubicBezTo>
                    <a:pt x="4" y="9"/>
                    <a:pt x="0" y="264"/>
                    <a:pt x="13" y="361"/>
                  </a:cubicBezTo>
                  <a:cubicBezTo>
                    <a:pt x="26" y="462"/>
                    <a:pt x="73" y="671"/>
                    <a:pt x="73" y="671"/>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6" name="iṥlidè">
              <a:extLst>
                <a:ext uri="{FF2B5EF4-FFF2-40B4-BE49-F238E27FC236}">
                  <a16:creationId xmlns:a16="http://schemas.microsoft.com/office/drawing/2014/main" id="{5E81D3C3-2F28-485F-B72C-4A3EA91F0A4F}"/>
                </a:ext>
              </a:extLst>
            </p:cNvPr>
            <p:cNvSpPr/>
            <p:nvPr/>
          </p:nvSpPr>
          <p:spPr bwMode="auto">
            <a:xfrm>
              <a:off x="6634857" y="5184326"/>
              <a:ext cx="294226" cy="96961"/>
            </a:xfrm>
            <a:custGeom>
              <a:avLst/>
              <a:gdLst>
                <a:gd name="T0" fmla="*/ 67 w 111"/>
                <a:gd name="T1" fmla="*/ 0 h 37"/>
                <a:gd name="T2" fmla="*/ 102 w 111"/>
                <a:gd name="T3" fmla="*/ 0 h 37"/>
                <a:gd name="T4" fmla="*/ 104 w 111"/>
                <a:gd name="T5" fmla="*/ 3 h 37"/>
                <a:gd name="T6" fmla="*/ 110 w 111"/>
                <a:gd name="T7" fmla="*/ 31 h 37"/>
                <a:gd name="T8" fmla="*/ 106 w 111"/>
                <a:gd name="T9" fmla="*/ 37 h 37"/>
                <a:gd name="T10" fmla="*/ 59 w 111"/>
                <a:gd name="T11" fmla="*/ 35 h 37"/>
                <a:gd name="T12" fmla="*/ 16 w 111"/>
                <a:gd name="T13" fmla="*/ 35 h 37"/>
                <a:gd name="T14" fmla="*/ 5 w 111"/>
                <a:gd name="T15" fmla="*/ 21 h 37"/>
                <a:gd name="T16" fmla="*/ 59 w 111"/>
                <a:gd name="T17" fmla="*/ 2 h 37"/>
                <a:gd name="T18" fmla="*/ 67 w 111"/>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37">
                  <a:moveTo>
                    <a:pt x="67" y="0"/>
                  </a:moveTo>
                  <a:cubicBezTo>
                    <a:pt x="102" y="0"/>
                    <a:pt x="102" y="0"/>
                    <a:pt x="102" y="0"/>
                  </a:cubicBezTo>
                  <a:cubicBezTo>
                    <a:pt x="103" y="0"/>
                    <a:pt x="104" y="1"/>
                    <a:pt x="104" y="3"/>
                  </a:cubicBezTo>
                  <a:cubicBezTo>
                    <a:pt x="110" y="31"/>
                    <a:pt x="110" y="31"/>
                    <a:pt x="110" y="31"/>
                  </a:cubicBezTo>
                  <a:cubicBezTo>
                    <a:pt x="111" y="34"/>
                    <a:pt x="109" y="37"/>
                    <a:pt x="106" y="37"/>
                  </a:cubicBezTo>
                  <a:cubicBezTo>
                    <a:pt x="93" y="36"/>
                    <a:pt x="75" y="35"/>
                    <a:pt x="59" y="35"/>
                  </a:cubicBezTo>
                  <a:cubicBezTo>
                    <a:pt x="40" y="35"/>
                    <a:pt x="38" y="36"/>
                    <a:pt x="16" y="35"/>
                  </a:cubicBezTo>
                  <a:cubicBezTo>
                    <a:pt x="3" y="35"/>
                    <a:pt x="0" y="22"/>
                    <a:pt x="5" y="21"/>
                  </a:cubicBezTo>
                  <a:cubicBezTo>
                    <a:pt x="30" y="16"/>
                    <a:pt x="37" y="15"/>
                    <a:pt x="59" y="2"/>
                  </a:cubicBezTo>
                  <a:cubicBezTo>
                    <a:pt x="61" y="1"/>
                    <a:pt x="64" y="0"/>
                    <a:pt x="6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7" name="îślïḓé">
              <a:extLst>
                <a:ext uri="{FF2B5EF4-FFF2-40B4-BE49-F238E27FC236}">
                  <a16:creationId xmlns:a16="http://schemas.microsoft.com/office/drawing/2014/main" id="{C786FDFC-8E0C-4900-B4D6-91C37CAD1E17}"/>
                </a:ext>
              </a:extLst>
            </p:cNvPr>
            <p:cNvSpPr/>
            <p:nvPr/>
          </p:nvSpPr>
          <p:spPr bwMode="auto">
            <a:xfrm>
              <a:off x="6740735" y="5022725"/>
              <a:ext cx="182777" cy="60183"/>
            </a:xfrm>
            <a:custGeom>
              <a:avLst/>
              <a:gdLst>
                <a:gd name="T0" fmla="*/ 10 w 164"/>
                <a:gd name="T1" fmla="*/ 52 h 54"/>
                <a:gd name="T2" fmla="*/ 164 w 164"/>
                <a:gd name="T3" fmla="*/ 54 h 54"/>
                <a:gd name="T4" fmla="*/ 164 w 164"/>
                <a:gd name="T5" fmla="*/ 4 h 54"/>
                <a:gd name="T6" fmla="*/ 0 w 164"/>
                <a:gd name="T7" fmla="*/ 0 h 54"/>
                <a:gd name="T8" fmla="*/ 10 w 164"/>
                <a:gd name="T9" fmla="*/ 52 h 54"/>
              </a:gdLst>
              <a:ahLst/>
              <a:cxnLst>
                <a:cxn ang="0">
                  <a:pos x="T0" y="T1"/>
                </a:cxn>
                <a:cxn ang="0">
                  <a:pos x="T2" y="T3"/>
                </a:cxn>
                <a:cxn ang="0">
                  <a:pos x="T4" y="T5"/>
                </a:cxn>
                <a:cxn ang="0">
                  <a:pos x="T6" y="T7"/>
                </a:cxn>
                <a:cxn ang="0">
                  <a:pos x="T8" y="T9"/>
                </a:cxn>
              </a:cxnLst>
              <a:rect l="0" t="0" r="r" b="b"/>
              <a:pathLst>
                <a:path w="164" h="54">
                  <a:moveTo>
                    <a:pt x="10" y="52"/>
                  </a:moveTo>
                  <a:lnTo>
                    <a:pt x="164" y="54"/>
                  </a:lnTo>
                  <a:lnTo>
                    <a:pt x="164" y="4"/>
                  </a:lnTo>
                  <a:lnTo>
                    <a:pt x="0" y="0"/>
                  </a:lnTo>
                  <a:lnTo>
                    <a:pt x="10" y="52"/>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8" name="íṧḷidè">
              <a:extLst>
                <a:ext uri="{FF2B5EF4-FFF2-40B4-BE49-F238E27FC236}">
                  <a16:creationId xmlns:a16="http://schemas.microsoft.com/office/drawing/2014/main" id="{38FCA85A-5F25-4B1A-BE88-F731023FE425}"/>
                </a:ext>
              </a:extLst>
            </p:cNvPr>
            <p:cNvSpPr/>
            <p:nvPr/>
          </p:nvSpPr>
          <p:spPr bwMode="auto">
            <a:xfrm>
              <a:off x="6740735" y="5022725"/>
              <a:ext cx="182777" cy="60183"/>
            </a:xfrm>
            <a:custGeom>
              <a:avLst/>
              <a:gdLst>
                <a:gd name="T0" fmla="*/ 10 w 164"/>
                <a:gd name="T1" fmla="*/ 52 h 54"/>
                <a:gd name="T2" fmla="*/ 164 w 164"/>
                <a:gd name="T3" fmla="*/ 54 h 54"/>
                <a:gd name="T4" fmla="*/ 164 w 164"/>
                <a:gd name="T5" fmla="*/ 4 h 54"/>
                <a:gd name="T6" fmla="*/ 0 w 164"/>
                <a:gd name="T7" fmla="*/ 0 h 54"/>
                <a:gd name="T8" fmla="*/ 10 w 164"/>
                <a:gd name="T9" fmla="*/ 52 h 54"/>
              </a:gdLst>
              <a:ahLst/>
              <a:cxnLst>
                <a:cxn ang="0">
                  <a:pos x="T0" y="T1"/>
                </a:cxn>
                <a:cxn ang="0">
                  <a:pos x="T2" y="T3"/>
                </a:cxn>
                <a:cxn ang="0">
                  <a:pos x="T4" y="T5"/>
                </a:cxn>
                <a:cxn ang="0">
                  <a:pos x="T6" y="T7"/>
                </a:cxn>
                <a:cxn ang="0">
                  <a:pos x="T8" y="T9"/>
                </a:cxn>
              </a:cxnLst>
              <a:rect l="0" t="0" r="r" b="b"/>
              <a:pathLst>
                <a:path w="164" h="54">
                  <a:moveTo>
                    <a:pt x="10" y="52"/>
                  </a:moveTo>
                  <a:lnTo>
                    <a:pt x="164" y="54"/>
                  </a:lnTo>
                  <a:lnTo>
                    <a:pt x="164" y="4"/>
                  </a:lnTo>
                  <a:lnTo>
                    <a:pt x="0" y="0"/>
                  </a:lnTo>
                  <a:lnTo>
                    <a:pt x="10" y="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9" name="îṥ1ïḍe">
              <a:extLst>
                <a:ext uri="{FF2B5EF4-FFF2-40B4-BE49-F238E27FC236}">
                  <a16:creationId xmlns:a16="http://schemas.microsoft.com/office/drawing/2014/main" id="{23200AEF-17E6-4E8B-8BAD-44295F068184}"/>
                </a:ext>
              </a:extLst>
            </p:cNvPr>
            <p:cNvSpPr/>
            <p:nvPr/>
          </p:nvSpPr>
          <p:spPr bwMode="auto">
            <a:xfrm>
              <a:off x="6740735" y="5022725"/>
              <a:ext cx="182777" cy="60183"/>
            </a:xfrm>
            <a:custGeom>
              <a:avLst/>
              <a:gdLst>
                <a:gd name="T0" fmla="*/ 0 w 164"/>
                <a:gd name="T1" fmla="*/ 0 h 54"/>
                <a:gd name="T2" fmla="*/ 10 w 164"/>
                <a:gd name="T3" fmla="*/ 52 h 54"/>
                <a:gd name="T4" fmla="*/ 164 w 164"/>
                <a:gd name="T5" fmla="*/ 54 h 54"/>
                <a:gd name="T6" fmla="*/ 164 w 164"/>
                <a:gd name="T7" fmla="*/ 4 h 54"/>
                <a:gd name="T8" fmla="*/ 150 w 164"/>
                <a:gd name="T9" fmla="*/ 4 h 54"/>
                <a:gd name="T10" fmla="*/ 15 w 164"/>
                <a:gd name="T11" fmla="*/ 0 h 54"/>
                <a:gd name="T12" fmla="*/ 0 w 16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164" h="54">
                  <a:moveTo>
                    <a:pt x="0" y="0"/>
                  </a:moveTo>
                  <a:lnTo>
                    <a:pt x="10" y="52"/>
                  </a:lnTo>
                  <a:lnTo>
                    <a:pt x="164" y="54"/>
                  </a:lnTo>
                  <a:lnTo>
                    <a:pt x="164" y="4"/>
                  </a:lnTo>
                  <a:lnTo>
                    <a:pt x="150" y="4"/>
                  </a:lnTo>
                  <a:lnTo>
                    <a:pt x="15" y="0"/>
                  </a:lnTo>
                  <a:lnTo>
                    <a:pt x="0" y="0"/>
                  </a:lnTo>
                  <a:close/>
                </a:path>
              </a:pathLst>
            </a:custGeom>
            <a:solidFill>
              <a:srgbClr val="2D5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0" name="ïs1íḓè">
              <a:extLst>
                <a:ext uri="{FF2B5EF4-FFF2-40B4-BE49-F238E27FC236}">
                  <a16:creationId xmlns:a16="http://schemas.microsoft.com/office/drawing/2014/main" id="{A128E461-EB3D-45AB-BC0F-4631487FBC18}"/>
                </a:ext>
              </a:extLst>
            </p:cNvPr>
            <p:cNvSpPr/>
            <p:nvPr/>
          </p:nvSpPr>
          <p:spPr bwMode="auto">
            <a:xfrm>
              <a:off x="6740735" y="5022725"/>
              <a:ext cx="182777" cy="60183"/>
            </a:xfrm>
            <a:custGeom>
              <a:avLst/>
              <a:gdLst>
                <a:gd name="T0" fmla="*/ 0 w 164"/>
                <a:gd name="T1" fmla="*/ 0 h 54"/>
                <a:gd name="T2" fmla="*/ 10 w 164"/>
                <a:gd name="T3" fmla="*/ 52 h 54"/>
                <a:gd name="T4" fmla="*/ 164 w 164"/>
                <a:gd name="T5" fmla="*/ 54 h 54"/>
                <a:gd name="T6" fmla="*/ 164 w 164"/>
                <a:gd name="T7" fmla="*/ 4 h 54"/>
                <a:gd name="T8" fmla="*/ 150 w 164"/>
                <a:gd name="T9" fmla="*/ 4 h 54"/>
                <a:gd name="T10" fmla="*/ 15 w 164"/>
                <a:gd name="T11" fmla="*/ 0 h 54"/>
                <a:gd name="T12" fmla="*/ 0 w 16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164" h="54">
                  <a:moveTo>
                    <a:pt x="0" y="0"/>
                  </a:moveTo>
                  <a:lnTo>
                    <a:pt x="10" y="52"/>
                  </a:lnTo>
                  <a:lnTo>
                    <a:pt x="164" y="54"/>
                  </a:lnTo>
                  <a:lnTo>
                    <a:pt x="164" y="4"/>
                  </a:lnTo>
                  <a:lnTo>
                    <a:pt x="150" y="4"/>
                  </a:lnTo>
                  <a:lnTo>
                    <a:pt x="1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1" name="îśľíde">
              <a:extLst>
                <a:ext uri="{FF2B5EF4-FFF2-40B4-BE49-F238E27FC236}">
                  <a16:creationId xmlns:a16="http://schemas.microsoft.com/office/drawing/2014/main" id="{06649D5B-3665-47BC-A75B-C619A7C2B823}"/>
                </a:ext>
              </a:extLst>
            </p:cNvPr>
            <p:cNvSpPr/>
            <p:nvPr/>
          </p:nvSpPr>
          <p:spPr bwMode="auto">
            <a:xfrm>
              <a:off x="6751879" y="5170952"/>
              <a:ext cx="52381" cy="28977"/>
            </a:xfrm>
            <a:custGeom>
              <a:avLst/>
              <a:gdLst>
                <a:gd name="T0" fmla="*/ 19 w 20"/>
                <a:gd name="T1" fmla="*/ 9 h 11"/>
                <a:gd name="T2" fmla="*/ 20 w 20"/>
                <a:gd name="T3" fmla="*/ 9 h 11"/>
                <a:gd name="T4" fmla="*/ 20 w 20"/>
                <a:gd name="T5" fmla="*/ 8 h 11"/>
                <a:gd name="T6" fmla="*/ 1 w 20"/>
                <a:gd name="T7" fmla="*/ 2 h 11"/>
                <a:gd name="T8" fmla="*/ 0 w 20"/>
                <a:gd name="T9" fmla="*/ 4 h 11"/>
                <a:gd name="T10" fmla="*/ 1 w 20"/>
                <a:gd name="T11" fmla="*/ 8 h 11"/>
                <a:gd name="T12" fmla="*/ 19 w 20"/>
                <a:gd name="T13" fmla="*/ 9 h 11"/>
                <a:gd name="T14" fmla="*/ 2 w 20"/>
                <a:gd name="T15" fmla="*/ 4 h 11"/>
                <a:gd name="T16" fmla="*/ 17 w 20"/>
                <a:gd name="T17" fmla="*/ 8 h 11"/>
                <a:gd name="T18" fmla="*/ 2 w 20"/>
                <a:gd name="T19" fmla="*/ 7 h 11"/>
                <a:gd name="T20" fmla="*/ 2 w 20"/>
                <a:gd name="T21" fmla="*/ 5 h 11"/>
                <a:gd name="T22" fmla="*/ 2 w 20"/>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19" y="9"/>
                  </a:moveTo>
                  <a:cubicBezTo>
                    <a:pt x="20" y="9"/>
                    <a:pt x="20" y="9"/>
                    <a:pt x="20" y="9"/>
                  </a:cubicBezTo>
                  <a:cubicBezTo>
                    <a:pt x="20" y="8"/>
                    <a:pt x="20" y="8"/>
                    <a:pt x="20" y="8"/>
                  </a:cubicBezTo>
                  <a:cubicBezTo>
                    <a:pt x="18" y="7"/>
                    <a:pt x="5" y="0"/>
                    <a:pt x="1" y="2"/>
                  </a:cubicBezTo>
                  <a:cubicBezTo>
                    <a:pt x="1" y="3"/>
                    <a:pt x="0" y="4"/>
                    <a:pt x="0" y="4"/>
                  </a:cubicBezTo>
                  <a:cubicBezTo>
                    <a:pt x="0" y="6"/>
                    <a:pt x="0" y="7"/>
                    <a:pt x="1" y="8"/>
                  </a:cubicBezTo>
                  <a:cubicBezTo>
                    <a:pt x="5" y="11"/>
                    <a:pt x="14" y="10"/>
                    <a:pt x="19" y="9"/>
                  </a:cubicBezTo>
                  <a:close/>
                  <a:moveTo>
                    <a:pt x="2" y="4"/>
                  </a:moveTo>
                  <a:cubicBezTo>
                    <a:pt x="5" y="3"/>
                    <a:pt x="12" y="6"/>
                    <a:pt x="17" y="8"/>
                  </a:cubicBezTo>
                  <a:cubicBezTo>
                    <a:pt x="10" y="9"/>
                    <a:pt x="4" y="9"/>
                    <a:pt x="2" y="7"/>
                  </a:cubicBezTo>
                  <a:cubicBezTo>
                    <a:pt x="2" y="6"/>
                    <a:pt x="2" y="6"/>
                    <a:pt x="2" y="5"/>
                  </a:cubicBezTo>
                  <a:cubicBezTo>
                    <a:pt x="2" y="4"/>
                    <a:pt x="2" y="4"/>
                    <a:pt x="2" y="4"/>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2" name="ïṧľîdê">
              <a:extLst>
                <a:ext uri="{FF2B5EF4-FFF2-40B4-BE49-F238E27FC236}">
                  <a16:creationId xmlns:a16="http://schemas.microsoft.com/office/drawing/2014/main" id="{84BEC115-BF85-4FF4-B256-675B2BBD1EA0}"/>
                </a:ext>
              </a:extLst>
            </p:cNvPr>
            <p:cNvSpPr/>
            <p:nvPr/>
          </p:nvSpPr>
          <p:spPr bwMode="auto">
            <a:xfrm>
              <a:off x="6770826" y="5154235"/>
              <a:ext cx="33435" cy="40122"/>
            </a:xfrm>
            <a:custGeom>
              <a:avLst/>
              <a:gdLst>
                <a:gd name="T0" fmla="*/ 12 w 13"/>
                <a:gd name="T1" fmla="*/ 15 h 15"/>
                <a:gd name="T2" fmla="*/ 13 w 13"/>
                <a:gd name="T3" fmla="*/ 15 h 15"/>
                <a:gd name="T4" fmla="*/ 13 w 13"/>
                <a:gd name="T5" fmla="*/ 14 h 15"/>
                <a:gd name="T6" fmla="*/ 8 w 13"/>
                <a:gd name="T7" fmla="*/ 2 h 15"/>
                <a:gd name="T8" fmla="*/ 4 w 13"/>
                <a:gd name="T9" fmla="*/ 1 h 15"/>
                <a:gd name="T10" fmla="*/ 1 w 13"/>
                <a:gd name="T11" fmla="*/ 3 h 15"/>
                <a:gd name="T12" fmla="*/ 12 w 13"/>
                <a:gd name="T13" fmla="*/ 15 h 15"/>
                <a:gd name="T14" fmla="*/ 3 w 13"/>
                <a:gd name="T15" fmla="*/ 2 h 15"/>
                <a:gd name="T16" fmla="*/ 4 w 13"/>
                <a:gd name="T17" fmla="*/ 2 h 15"/>
                <a:gd name="T18" fmla="*/ 7 w 13"/>
                <a:gd name="T19" fmla="*/ 3 h 15"/>
                <a:gd name="T20" fmla="*/ 11 w 13"/>
                <a:gd name="T21" fmla="*/ 13 h 15"/>
                <a:gd name="T22" fmla="*/ 3 w 13"/>
                <a:gd name="T23" fmla="*/ 3 h 15"/>
                <a:gd name="T24" fmla="*/ 3 w 13"/>
                <a:gd name="T25" fmla="*/ 2 h 15"/>
                <a:gd name="T26" fmla="*/ 4 w 13"/>
                <a:gd name="T27" fmla="*/ 1 h 15"/>
                <a:gd name="T28" fmla="*/ 4 w 13"/>
                <a:gd name="T2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5">
                  <a:moveTo>
                    <a:pt x="12" y="15"/>
                  </a:moveTo>
                  <a:cubicBezTo>
                    <a:pt x="13" y="15"/>
                    <a:pt x="13" y="15"/>
                    <a:pt x="13" y="15"/>
                  </a:cubicBezTo>
                  <a:cubicBezTo>
                    <a:pt x="13" y="14"/>
                    <a:pt x="13" y="14"/>
                    <a:pt x="13" y="14"/>
                  </a:cubicBezTo>
                  <a:cubicBezTo>
                    <a:pt x="13" y="14"/>
                    <a:pt x="12" y="5"/>
                    <a:pt x="8" y="2"/>
                  </a:cubicBezTo>
                  <a:cubicBezTo>
                    <a:pt x="7" y="1"/>
                    <a:pt x="6" y="0"/>
                    <a:pt x="4" y="1"/>
                  </a:cubicBezTo>
                  <a:cubicBezTo>
                    <a:pt x="2" y="1"/>
                    <a:pt x="1" y="2"/>
                    <a:pt x="1" y="3"/>
                  </a:cubicBezTo>
                  <a:cubicBezTo>
                    <a:pt x="0" y="6"/>
                    <a:pt x="8" y="13"/>
                    <a:pt x="12" y="15"/>
                  </a:cubicBezTo>
                  <a:close/>
                  <a:moveTo>
                    <a:pt x="3" y="2"/>
                  </a:moveTo>
                  <a:cubicBezTo>
                    <a:pt x="4" y="2"/>
                    <a:pt x="4" y="2"/>
                    <a:pt x="4" y="2"/>
                  </a:cubicBezTo>
                  <a:cubicBezTo>
                    <a:pt x="5" y="2"/>
                    <a:pt x="6" y="2"/>
                    <a:pt x="7" y="3"/>
                  </a:cubicBezTo>
                  <a:cubicBezTo>
                    <a:pt x="10" y="5"/>
                    <a:pt x="11" y="11"/>
                    <a:pt x="11" y="13"/>
                  </a:cubicBezTo>
                  <a:cubicBezTo>
                    <a:pt x="7" y="11"/>
                    <a:pt x="2" y="5"/>
                    <a:pt x="3" y="3"/>
                  </a:cubicBezTo>
                  <a:cubicBezTo>
                    <a:pt x="3" y="3"/>
                    <a:pt x="3" y="2"/>
                    <a:pt x="3" y="2"/>
                  </a:cubicBezTo>
                  <a:close/>
                  <a:moveTo>
                    <a:pt x="4" y="1"/>
                  </a:moveTo>
                  <a:cubicBezTo>
                    <a:pt x="4" y="1"/>
                    <a:pt x="4" y="1"/>
                    <a:pt x="4"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3" name="iṧ1idé">
              <a:extLst>
                <a:ext uri="{FF2B5EF4-FFF2-40B4-BE49-F238E27FC236}">
                  <a16:creationId xmlns:a16="http://schemas.microsoft.com/office/drawing/2014/main" id="{3DE4AEF9-70FD-45CC-A187-0228AC3CE16B}"/>
                </a:ext>
              </a:extLst>
            </p:cNvPr>
            <p:cNvSpPr/>
            <p:nvPr/>
          </p:nvSpPr>
          <p:spPr bwMode="auto">
            <a:xfrm>
              <a:off x="7275691" y="4974801"/>
              <a:ext cx="251875" cy="209525"/>
            </a:xfrm>
            <a:custGeom>
              <a:avLst/>
              <a:gdLst>
                <a:gd name="T0" fmla="*/ 36 w 95"/>
                <a:gd name="T1" fmla="*/ 21 h 79"/>
                <a:gd name="T2" fmla="*/ 69 w 95"/>
                <a:gd name="T3" fmla="*/ 1 h 79"/>
                <a:gd name="T4" fmla="*/ 73 w 95"/>
                <a:gd name="T5" fmla="*/ 1 h 79"/>
                <a:gd name="T6" fmla="*/ 93 w 95"/>
                <a:gd name="T7" fmla="*/ 23 h 79"/>
                <a:gd name="T8" fmla="*/ 92 w 95"/>
                <a:gd name="T9" fmla="*/ 30 h 79"/>
                <a:gd name="T10" fmla="*/ 59 w 95"/>
                <a:gd name="T11" fmla="*/ 48 h 79"/>
                <a:gd name="T12" fmla="*/ 20 w 95"/>
                <a:gd name="T13" fmla="*/ 73 h 79"/>
                <a:gd name="T14" fmla="*/ 4 w 95"/>
                <a:gd name="T15" fmla="*/ 65 h 79"/>
                <a:gd name="T16" fmla="*/ 32 w 95"/>
                <a:gd name="T17" fmla="*/ 25 h 79"/>
                <a:gd name="T18" fmla="*/ 36 w 95"/>
                <a:gd name="T19" fmla="*/ 2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9">
                  <a:moveTo>
                    <a:pt x="36" y="21"/>
                  </a:moveTo>
                  <a:cubicBezTo>
                    <a:pt x="69" y="1"/>
                    <a:pt x="69" y="1"/>
                    <a:pt x="69" y="1"/>
                  </a:cubicBezTo>
                  <a:cubicBezTo>
                    <a:pt x="70" y="0"/>
                    <a:pt x="72" y="0"/>
                    <a:pt x="73" y="1"/>
                  </a:cubicBezTo>
                  <a:cubicBezTo>
                    <a:pt x="93" y="23"/>
                    <a:pt x="93" y="23"/>
                    <a:pt x="93" y="23"/>
                  </a:cubicBezTo>
                  <a:cubicBezTo>
                    <a:pt x="95" y="25"/>
                    <a:pt x="94" y="28"/>
                    <a:pt x="92" y="30"/>
                  </a:cubicBezTo>
                  <a:cubicBezTo>
                    <a:pt x="81" y="36"/>
                    <a:pt x="73" y="40"/>
                    <a:pt x="59" y="48"/>
                  </a:cubicBezTo>
                  <a:cubicBezTo>
                    <a:pt x="51" y="53"/>
                    <a:pt x="31" y="66"/>
                    <a:pt x="20" y="73"/>
                  </a:cubicBezTo>
                  <a:cubicBezTo>
                    <a:pt x="8" y="79"/>
                    <a:pt x="0" y="69"/>
                    <a:pt x="4" y="65"/>
                  </a:cubicBezTo>
                  <a:cubicBezTo>
                    <a:pt x="21" y="47"/>
                    <a:pt x="29" y="35"/>
                    <a:pt x="32" y="25"/>
                  </a:cubicBezTo>
                  <a:cubicBezTo>
                    <a:pt x="33" y="23"/>
                    <a:pt x="34" y="22"/>
                    <a:pt x="36" y="2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4" name="ïS1ïḑè">
              <a:extLst>
                <a:ext uri="{FF2B5EF4-FFF2-40B4-BE49-F238E27FC236}">
                  <a16:creationId xmlns:a16="http://schemas.microsoft.com/office/drawing/2014/main" id="{0683C936-0EA6-4435-96F5-280DB0640257}"/>
                </a:ext>
              </a:extLst>
            </p:cNvPr>
            <p:cNvSpPr/>
            <p:nvPr/>
          </p:nvSpPr>
          <p:spPr bwMode="auto">
            <a:xfrm>
              <a:off x="6018543" y="2094953"/>
              <a:ext cx="113678" cy="105877"/>
            </a:xfrm>
            <a:custGeom>
              <a:avLst/>
              <a:gdLst>
                <a:gd name="T0" fmla="*/ 37 w 43"/>
                <a:gd name="T1" fmla="*/ 37 h 40"/>
                <a:gd name="T2" fmla="*/ 43 w 43"/>
                <a:gd name="T3" fmla="*/ 9 h 40"/>
                <a:gd name="T4" fmla="*/ 10 w 43"/>
                <a:gd name="T5" fmla="*/ 0 h 40"/>
                <a:gd name="T6" fmla="*/ 19 w 43"/>
                <a:gd name="T7" fmla="*/ 40 h 40"/>
                <a:gd name="T8" fmla="*/ 37 w 43"/>
                <a:gd name="T9" fmla="*/ 37 h 40"/>
              </a:gdLst>
              <a:ahLst/>
              <a:cxnLst>
                <a:cxn ang="0">
                  <a:pos x="T0" y="T1"/>
                </a:cxn>
                <a:cxn ang="0">
                  <a:pos x="T2" y="T3"/>
                </a:cxn>
                <a:cxn ang="0">
                  <a:pos x="T4" y="T5"/>
                </a:cxn>
                <a:cxn ang="0">
                  <a:pos x="T6" y="T7"/>
                </a:cxn>
                <a:cxn ang="0">
                  <a:pos x="T8" y="T9"/>
                </a:cxn>
              </a:cxnLst>
              <a:rect l="0" t="0" r="r" b="b"/>
              <a:pathLst>
                <a:path w="43" h="40">
                  <a:moveTo>
                    <a:pt x="37" y="37"/>
                  </a:moveTo>
                  <a:cubicBezTo>
                    <a:pt x="43" y="9"/>
                    <a:pt x="43" y="9"/>
                    <a:pt x="43" y="9"/>
                  </a:cubicBezTo>
                  <a:cubicBezTo>
                    <a:pt x="10" y="0"/>
                    <a:pt x="10" y="0"/>
                    <a:pt x="10" y="0"/>
                  </a:cubicBezTo>
                  <a:cubicBezTo>
                    <a:pt x="10" y="0"/>
                    <a:pt x="0" y="27"/>
                    <a:pt x="19" y="40"/>
                  </a:cubicBezTo>
                  <a:lnTo>
                    <a:pt x="37" y="37"/>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5" name="is1iḋê">
              <a:extLst>
                <a:ext uri="{FF2B5EF4-FFF2-40B4-BE49-F238E27FC236}">
                  <a16:creationId xmlns:a16="http://schemas.microsoft.com/office/drawing/2014/main" id="{3C2A5E0B-F263-4CB5-AD59-A0C5A266928E}"/>
                </a:ext>
              </a:extLst>
            </p:cNvPr>
            <p:cNvSpPr/>
            <p:nvPr/>
          </p:nvSpPr>
          <p:spPr bwMode="auto">
            <a:xfrm>
              <a:off x="6045291" y="2010251"/>
              <a:ext cx="86930" cy="108106"/>
            </a:xfrm>
            <a:custGeom>
              <a:avLst/>
              <a:gdLst>
                <a:gd name="T0" fmla="*/ 69 w 78"/>
                <a:gd name="T1" fmla="*/ 33 h 97"/>
                <a:gd name="T2" fmla="*/ 7 w 78"/>
                <a:gd name="T3" fmla="*/ 0 h 97"/>
                <a:gd name="T4" fmla="*/ 0 w 78"/>
                <a:gd name="T5" fmla="*/ 76 h 97"/>
                <a:gd name="T6" fmla="*/ 78 w 78"/>
                <a:gd name="T7" fmla="*/ 97 h 97"/>
                <a:gd name="T8" fmla="*/ 69 w 78"/>
                <a:gd name="T9" fmla="*/ 33 h 97"/>
              </a:gdLst>
              <a:ahLst/>
              <a:cxnLst>
                <a:cxn ang="0">
                  <a:pos x="T0" y="T1"/>
                </a:cxn>
                <a:cxn ang="0">
                  <a:pos x="T2" y="T3"/>
                </a:cxn>
                <a:cxn ang="0">
                  <a:pos x="T4" y="T5"/>
                </a:cxn>
                <a:cxn ang="0">
                  <a:pos x="T6" y="T7"/>
                </a:cxn>
                <a:cxn ang="0">
                  <a:pos x="T8" y="T9"/>
                </a:cxn>
              </a:cxnLst>
              <a:rect l="0" t="0" r="r" b="b"/>
              <a:pathLst>
                <a:path w="78" h="97">
                  <a:moveTo>
                    <a:pt x="69" y="33"/>
                  </a:moveTo>
                  <a:lnTo>
                    <a:pt x="7" y="0"/>
                  </a:lnTo>
                  <a:lnTo>
                    <a:pt x="0" y="76"/>
                  </a:lnTo>
                  <a:lnTo>
                    <a:pt x="78" y="97"/>
                  </a:lnTo>
                  <a:lnTo>
                    <a:pt x="69" y="33"/>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6" name="í$ľîḋè">
              <a:extLst>
                <a:ext uri="{FF2B5EF4-FFF2-40B4-BE49-F238E27FC236}">
                  <a16:creationId xmlns:a16="http://schemas.microsoft.com/office/drawing/2014/main" id="{1AB55069-10D1-4ED6-ACD6-B3E142E0A3CF}"/>
                </a:ext>
              </a:extLst>
            </p:cNvPr>
            <p:cNvSpPr/>
            <p:nvPr/>
          </p:nvSpPr>
          <p:spPr bwMode="auto">
            <a:xfrm>
              <a:off x="6053092" y="2166280"/>
              <a:ext cx="537185" cy="569506"/>
            </a:xfrm>
            <a:custGeom>
              <a:avLst/>
              <a:gdLst>
                <a:gd name="T0" fmla="*/ 185 w 203"/>
                <a:gd name="T1" fmla="*/ 215 h 215"/>
                <a:gd name="T2" fmla="*/ 150 w 203"/>
                <a:gd name="T3" fmla="*/ 203 h 215"/>
                <a:gd name="T4" fmla="*/ 116 w 203"/>
                <a:gd name="T5" fmla="*/ 190 h 215"/>
                <a:gd name="T6" fmla="*/ 83 w 203"/>
                <a:gd name="T7" fmla="*/ 174 h 215"/>
                <a:gd name="T8" fmla="*/ 66 w 203"/>
                <a:gd name="T9" fmla="*/ 165 h 215"/>
                <a:gd name="T10" fmla="*/ 58 w 203"/>
                <a:gd name="T11" fmla="*/ 160 h 215"/>
                <a:gd name="T12" fmla="*/ 56 w 203"/>
                <a:gd name="T13" fmla="*/ 158 h 215"/>
                <a:gd name="T14" fmla="*/ 53 w 203"/>
                <a:gd name="T15" fmla="*/ 156 h 215"/>
                <a:gd name="T16" fmla="*/ 47 w 203"/>
                <a:gd name="T17" fmla="*/ 152 h 215"/>
                <a:gd name="T18" fmla="*/ 31 w 203"/>
                <a:gd name="T19" fmla="*/ 133 h 215"/>
                <a:gd name="T20" fmla="*/ 21 w 203"/>
                <a:gd name="T21" fmla="*/ 114 h 215"/>
                <a:gd name="T22" fmla="*/ 9 w 203"/>
                <a:gd name="T23" fmla="*/ 77 h 215"/>
                <a:gd name="T24" fmla="*/ 2 w 203"/>
                <a:gd name="T25" fmla="*/ 40 h 215"/>
                <a:gd name="T26" fmla="*/ 0 w 203"/>
                <a:gd name="T27" fmla="*/ 3 h 215"/>
                <a:gd name="T28" fmla="*/ 29 w 203"/>
                <a:gd name="T29" fmla="*/ 0 h 215"/>
                <a:gd name="T30" fmla="*/ 51 w 203"/>
                <a:gd name="T31" fmla="*/ 63 h 215"/>
                <a:gd name="T32" fmla="*/ 65 w 203"/>
                <a:gd name="T33" fmla="*/ 92 h 215"/>
                <a:gd name="T34" fmla="*/ 73 w 203"/>
                <a:gd name="T35" fmla="*/ 103 h 215"/>
                <a:gd name="T36" fmla="*/ 81 w 203"/>
                <a:gd name="T37" fmla="*/ 110 h 215"/>
                <a:gd name="T38" fmla="*/ 82 w 203"/>
                <a:gd name="T39" fmla="*/ 111 h 215"/>
                <a:gd name="T40" fmla="*/ 83 w 203"/>
                <a:gd name="T41" fmla="*/ 111 h 215"/>
                <a:gd name="T42" fmla="*/ 85 w 203"/>
                <a:gd name="T43" fmla="*/ 112 h 215"/>
                <a:gd name="T44" fmla="*/ 92 w 203"/>
                <a:gd name="T45" fmla="*/ 116 h 215"/>
                <a:gd name="T46" fmla="*/ 107 w 203"/>
                <a:gd name="T47" fmla="*/ 122 h 215"/>
                <a:gd name="T48" fmla="*/ 139 w 203"/>
                <a:gd name="T49" fmla="*/ 135 h 215"/>
                <a:gd name="T50" fmla="*/ 171 w 203"/>
                <a:gd name="T51" fmla="*/ 146 h 215"/>
                <a:gd name="T52" fmla="*/ 203 w 203"/>
                <a:gd name="T53" fmla="*/ 157 h 215"/>
                <a:gd name="T54" fmla="*/ 185 w 203"/>
                <a:gd name="T55"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3" h="215">
                  <a:moveTo>
                    <a:pt x="185" y="215"/>
                  </a:moveTo>
                  <a:cubicBezTo>
                    <a:pt x="173" y="211"/>
                    <a:pt x="162" y="207"/>
                    <a:pt x="150" y="203"/>
                  </a:cubicBezTo>
                  <a:cubicBezTo>
                    <a:pt x="139" y="199"/>
                    <a:pt x="127" y="195"/>
                    <a:pt x="116" y="190"/>
                  </a:cubicBezTo>
                  <a:cubicBezTo>
                    <a:pt x="105" y="185"/>
                    <a:pt x="94" y="179"/>
                    <a:pt x="83" y="174"/>
                  </a:cubicBezTo>
                  <a:cubicBezTo>
                    <a:pt x="77" y="171"/>
                    <a:pt x="72" y="168"/>
                    <a:pt x="66" y="165"/>
                  </a:cubicBezTo>
                  <a:cubicBezTo>
                    <a:pt x="58" y="160"/>
                    <a:pt x="58" y="160"/>
                    <a:pt x="58" y="160"/>
                  </a:cubicBezTo>
                  <a:cubicBezTo>
                    <a:pt x="56" y="158"/>
                    <a:pt x="56" y="158"/>
                    <a:pt x="56" y="158"/>
                  </a:cubicBezTo>
                  <a:cubicBezTo>
                    <a:pt x="53" y="156"/>
                    <a:pt x="53" y="156"/>
                    <a:pt x="53" y="156"/>
                  </a:cubicBezTo>
                  <a:cubicBezTo>
                    <a:pt x="51" y="155"/>
                    <a:pt x="49" y="153"/>
                    <a:pt x="47" y="152"/>
                  </a:cubicBezTo>
                  <a:cubicBezTo>
                    <a:pt x="40" y="146"/>
                    <a:pt x="35" y="140"/>
                    <a:pt x="31" y="133"/>
                  </a:cubicBezTo>
                  <a:cubicBezTo>
                    <a:pt x="27" y="127"/>
                    <a:pt x="24" y="121"/>
                    <a:pt x="21" y="114"/>
                  </a:cubicBezTo>
                  <a:cubicBezTo>
                    <a:pt x="16" y="102"/>
                    <a:pt x="12" y="90"/>
                    <a:pt x="9" y="77"/>
                  </a:cubicBezTo>
                  <a:cubicBezTo>
                    <a:pt x="6" y="65"/>
                    <a:pt x="4" y="53"/>
                    <a:pt x="2" y="40"/>
                  </a:cubicBezTo>
                  <a:cubicBezTo>
                    <a:pt x="1" y="28"/>
                    <a:pt x="0" y="16"/>
                    <a:pt x="0" y="3"/>
                  </a:cubicBezTo>
                  <a:cubicBezTo>
                    <a:pt x="29" y="0"/>
                    <a:pt x="29" y="0"/>
                    <a:pt x="29" y="0"/>
                  </a:cubicBezTo>
                  <a:cubicBezTo>
                    <a:pt x="36" y="21"/>
                    <a:pt x="43" y="43"/>
                    <a:pt x="51" y="63"/>
                  </a:cubicBezTo>
                  <a:cubicBezTo>
                    <a:pt x="55" y="74"/>
                    <a:pt x="60" y="83"/>
                    <a:pt x="65" y="92"/>
                  </a:cubicBezTo>
                  <a:cubicBezTo>
                    <a:pt x="68" y="96"/>
                    <a:pt x="70" y="100"/>
                    <a:pt x="73" y="103"/>
                  </a:cubicBezTo>
                  <a:cubicBezTo>
                    <a:pt x="76" y="106"/>
                    <a:pt x="79" y="109"/>
                    <a:pt x="81" y="110"/>
                  </a:cubicBezTo>
                  <a:cubicBezTo>
                    <a:pt x="81" y="110"/>
                    <a:pt x="82" y="111"/>
                    <a:pt x="82" y="111"/>
                  </a:cubicBezTo>
                  <a:cubicBezTo>
                    <a:pt x="83" y="111"/>
                    <a:pt x="83" y="111"/>
                    <a:pt x="83" y="111"/>
                  </a:cubicBezTo>
                  <a:cubicBezTo>
                    <a:pt x="85" y="112"/>
                    <a:pt x="85" y="112"/>
                    <a:pt x="85" y="112"/>
                  </a:cubicBezTo>
                  <a:cubicBezTo>
                    <a:pt x="92" y="116"/>
                    <a:pt x="92" y="116"/>
                    <a:pt x="92" y="116"/>
                  </a:cubicBezTo>
                  <a:cubicBezTo>
                    <a:pt x="97" y="118"/>
                    <a:pt x="102" y="120"/>
                    <a:pt x="107" y="122"/>
                  </a:cubicBezTo>
                  <a:cubicBezTo>
                    <a:pt x="118" y="127"/>
                    <a:pt x="128" y="131"/>
                    <a:pt x="139" y="135"/>
                  </a:cubicBezTo>
                  <a:cubicBezTo>
                    <a:pt x="149" y="139"/>
                    <a:pt x="160" y="143"/>
                    <a:pt x="171" y="146"/>
                  </a:cubicBezTo>
                  <a:cubicBezTo>
                    <a:pt x="203" y="157"/>
                    <a:pt x="203" y="157"/>
                    <a:pt x="203" y="157"/>
                  </a:cubicBezTo>
                  <a:cubicBezTo>
                    <a:pt x="185" y="215"/>
                    <a:pt x="185" y="215"/>
                    <a:pt x="185" y="215"/>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7" name="ísḷîḋè">
              <a:extLst>
                <a:ext uri="{FF2B5EF4-FFF2-40B4-BE49-F238E27FC236}">
                  <a16:creationId xmlns:a16="http://schemas.microsoft.com/office/drawing/2014/main" id="{2F370270-BE25-4AE8-8258-CCFDDB17AD5A}"/>
                </a:ext>
              </a:extLst>
            </p:cNvPr>
            <p:cNvSpPr/>
            <p:nvPr/>
          </p:nvSpPr>
          <p:spPr bwMode="auto">
            <a:xfrm>
              <a:off x="6648231" y="2325653"/>
              <a:ext cx="217326" cy="314287"/>
            </a:xfrm>
            <a:custGeom>
              <a:avLst/>
              <a:gdLst>
                <a:gd name="T0" fmla="*/ 66 w 82"/>
                <a:gd name="T1" fmla="*/ 0 h 119"/>
                <a:gd name="T2" fmla="*/ 82 w 82"/>
                <a:gd name="T3" fmla="*/ 81 h 119"/>
                <a:gd name="T4" fmla="*/ 27 w 82"/>
                <a:gd name="T5" fmla="*/ 115 h 119"/>
                <a:gd name="T6" fmla="*/ 9 w 82"/>
                <a:gd name="T7" fmla="*/ 88 h 119"/>
                <a:gd name="T8" fmla="*/ 25 w 82"/>
                <a:gd name="T9" fmla="*/ 42 h 119"/>
                <a:gd name="T10" fmla="*/ 66 w 82"/>
                <a:gd name="T11" fmla="*/ 0 h 119"/>
              </a:gdLst>
              <a:ahLst/>
              <a:cxnLst>
                <a:cxn ang="0">
                  <a:pos x="T0" y="T1"/>
                </a:cxn>
                <a:cxn ang="0">
                  <a:pos x="T2" y="T3"/>
                </a:cxn>
                <a:cxn ang="0">
                  <a:pos x="T4" y="T5"/>
                </a:cxn>
                <a:cxn ang="0">
                  <a:pos x="T6" y="T7"/>
                </a:cxn>
                <a:cxn ang="0">
                  <a:pos x="T8" y="T9"/>
                </a:cxn>
                <a:cxn ang="0">
                  <a:pos x="T10" y="T11"/>
                </a:cxn>
              </a:cxnLst>
              <a:rect l="0" t="0" r="r" b="b"/>
              <a:pathLst>
                <a:path w="82" h="119">
                  <a:moveTo>
                    <a:pt x="66" y="0"/>
                  </a:moveTo>
                  <a:cubicBezTo>
                    <a:pt x="64" y="24"/>
                    <a:pt x="64" y="67"/>
                    <a:pt x="82" y="81"/>
                  </a:cubicBezTo>
                  <a:cubicBezTo>
                    <a:pt x="70" y="95"/>
                    <a:pt x="55" y="111"/>
                    <a:pt x="27" y="115"/>
                  </a:cubicBezTo>
                  <a:cubicBezTo>
                    <a:pt x="0" y="119"/>
                    <a:pt x="3" y="99"/>
                    <a:pt x="9" y="88"/>
                  </a:cubicBezTo>
                  <a:cubicBezTo>
                    <a:pt x="34" y="79"/>
                    <a:pt x="32" y="60"/>
                    <a:pt x="25" y="42"/>
                  </a:cubicBezTo>
                  <a:lnTo>
                    <a:pt x="66" y="0"/>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8" name="iSľiḓé">
              <a:extLst>
                <a:ext uri="{FF2B5EF4-FFF2-40B4-BE49-F238E27FC236}">
                  <a16:creationId xmlns:a16="http://schemas.microsoft.com/office/drawing/2014/main" id="{4EEB6B99-7B77-4D0D-81B2-D0AD702E6F19}"/>
                </a:ext>
              </a:extLst>
            </p:cNvPr>
            <p:cNvSpPr/>
            <p:nvPr/>
          </p:nvSpPr>
          <p:spPr bwMode="auto">
            <a:xfrm>
              <a:off x="6613682" y="2250982"/>
              <a:ext cx="18947" cy="23405"/>
            </a:xfrm>
            <a:custGeom>
              <a:avLst/>
              <a:gdLst>
                <a:gd name="T0" fmla="*/ 7 w 7"/>
                <a:gd name="T1" fmla="*/ 5 h 9"/>
                <a:gd name="T2" fmla="*/ 3 w 7"/>
                <a:gd name="T3" fmla="*/ 9 h 9"/>
                <a:gd name="T4" fmla="*/ 1 w 7"/>
                <a:gd name="T5" fmla="*/ 4 h 9"/>
                <a:gd name="T6" fmla="*/ 4 w 7"/>
                <a:gd name="T7" fmla="*/ 0 h 9"/>
                <a:gd name="T8" fmla="*/ 7 w 7"/>
                <a:gd name="T9" fmla="*/ 5 h 9"/>
              </a:gdLst>
              <a:ahLst/>
              <a:cxnLst>
                <a:cxn ang="0">
                  <a:pos x="T0" y="T1"/>
                </a:cxn>
                <a:cxn ang="0">
                  <a:pos x="T2" y="T3"/>
                </a:cxn>
                <a:cxn ang="0">
                  <a:pos x="T4" y="T5"/>
                </a:cxn>
                <a:cxn ang="0">
                  <a:pos x="T6" y="T7"/>
                </a:cxn>
                <a:cxn ang="0">
                  <a:pos x="T8" y="T9"/>
                </a:cxn>
              </a:cxnLst>
              <a:rect l="0" t="0" r="r" b="b"/>
              <a:pathLst>
                <a:path w="7" h="9">
                  <a:moveTo>
                    <a:pt x="7" y="5"/>
                  </a:moveTo>
                  <a:cubicBezTo>
                    <a:pt x="7" y="7"/>
                    <a:pt x="5" y="9"/>
                    <a:pt x="3" y="9"/>
                  </a:cubicBezTo>
                  <a:cubicBezTo>
                    <a:pt x="2" y="9"/>
                    <a:pt x="0" y="7"/>
                    <a:pt x="1" y="4"/>
                  </a:cubicBezTo>
                  <a:cubicBezTo>
                    <a:pt x="1" y="2"/>
                    <a:pt x="3" y="0"/>
                    <a:pt x="4" y="0"/>
                  </a:cubicBezTo>
                  <a:cubicBezTo>
                    <a:pt x="6" y="0"/>
                    <a:pt x="7" y="2"/>
                    <a:pt x="7"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9" name="iŝḻíḑê">
              <a:extLst>
                <a:ext uri="{FF2B5EF4-FFF2-40B4-BE49-F238E27FC236}">
                  <a16:creationId xmlns:a16="http://schemas.microsoft.com/office/drawing/2014/main" id="{192BD50F-6614-4FB9-A965-2CC79F7C22B4}"/>
                </a:ext>
              </a:extLst>
            </p:cNvPr>
            <p:cNvSpPr/>
            <p:nvPr/>
          </p:nvSpPr>
          <p:spPr bwMode="auto">
            <a:xfrm>
              <a:off x="6590278" y="2269928"/>
              <a:ext cx="40122" cy="67984"/>
            </a:xfrm>
            <a:custGeom>
              <a:avLst/>
              <a:gdLst>
                <a:gd name="T0" fmla="*/ 15 w 15"/>
                <a:gd name="T1" fmla="*/ 0 h 26"/>
                <a:gd name="T2" fmla="*/ 0 w 15"/>
                <a:gd name="T3" fmla="*/ 21 h 26"/>
                <a:gd name="T4" fmla="*/ 12 w 15"/>
                <a:gd name="T5" fmla="*/ 25 h 26"/>
                <a:gd name="T6" fmla="*/ 15 w 15"/>
                <a:gd name="T7" fmla="*/ 0 h 26"/>
              </a:gdLst>
              <a:ahLst/>
              <a:cxnLst>
                <a:cxn ang="0">
                  <a:pos x="T0" y="T1"/>
                </a:cxn>
                <a:cxn ang="0">
                  <a:pos x="T2" y="T3"/>
                </a:cxn>
                <a:cxn ang="0">
                  <a:pos x="T4" y="T5"/>
                </a:cxn>
                <a:cxn ang="0">
                  <a:pos x="T6" y="T7"/>
                </a:cxn>
              </a:cxnLst>
              <a:rect l="0" t="0" r="r" b="b"/>
              <a:pathLst>
                <a:path w="15" h="26">
                  <a:moveTo>
                    <a:pt x="15" y="0"/>
                  </a:moveTo>
                  <a:cubicBezTo>
                    <a:pt x="15" y="0"/>
                    <a:pt x="8" y="15"/>
                    <a:pt x="0" y="21"/>
                  </a:cubicBezTo>
                  <a:cubicBezTo>
                    <a:pt x="5" y="26"/>
                    <a:pt x="12" y="25"/>
                    <a:pt x="12" y="25"/>
                  </a:cubicBezTo>
                  <a:lnTo>
                    <a:pt x="15" y="0"/>
                  </a:lnTo>
                  <a:close/>
                </a:path>
              </a:pathLst>
            </a:custGeom>
            <a:solidFill>
              <a:srgbClr val="ED84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0" name="íşḷiḋê">
              <a:extLst>
                <a:ext uri="{FF2B5EF4-FFF2-40B4-BE49-F238E27FC236}">
                  <a16:creationId xmlns:a16="http://schemas.microsoft.com/office/drawing/2014/main" id="{EB231CC2-7704-4F94-B644-C469A9899C1B}"/>
                </a:ext>
              </a:extLst>
            </p:cNvPr>
            <p:cNvSpPr/>
            <p:nvPr/>
          </p:nvSpPr>
          <p:spPr bwMode="auto">
            <a:xfrm>
              <a:off x="6627056" y="2203059"/>
              <a:ext cx="28977" cy="34550"/>
            </a:xfrm>
            <a:custGeom>
              <a:avLst/>
              <a:gdLst>
                <a:gd name="T0" fmla="*/ 9 w 11"/>
                <a:gd name="T1" fmla="*/ 13 h 13"/>
                <a:gd name="T2" fmla="*/ 8 w 11"/>
                <a:gd name="T3" fmla="*/ 12 h 13"/>
                <a:gd name="T4" fmla="*/ 1 w 11"/>
                <a:gd name="T5" fmla="*/ 4 h 13"/>
                <a:gd name="T6" fmla="*/ 0 w 11"/>
                <a:gd name="T7" fmla="*/ 2 h 13"/>
                <a:gd name="T8" fmla="*/ 2 w 11"/>
                <a:gd name="T9" fmla="*/ 1 h 13"/>
                <a:gd name="T10" fmla="*/ 11 w 11"/>
                <a:gd name="T11" fmla="*/ 11 h 13"/>
                <a:gd name="T12" fmla="*/ 10 w 11"/>
                <a:gd name="T13" fmla="*/ 13 h 13"/>
                <a:gd name="T14" fmla="*/ 9 w 11"/>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3">
                  <a:moveTo>
                    <a:pt x="9" y="13"/>
                  </a:moveTo>
                  <a:cubicBezTo>
                    <a:pt x="8" y="13"/>
                    <a:pt x="8" y="13"/>
                    <a:pt x="8" y="12"/>
                  </a:cubicBezTo>
                  <a:cubicBezTo>
                    <a:pt x="6" y="6"/>
                    <a:pt x="1" y="4"/>
                    <a:pt x="1" y="4"/>
                  </a:cubicBezTo>
                  <a:cubicBezTo>
                    <a:pt x="0" y="3"/>
                    <a:pt x="0" y="2"/>
                    <a:pt x="0" y="2"/>
                  </a:cubicBezTo>
                  <a:cubicBezTo>
                    <a:pt x="0" y="1"/>
                    <a:pt x="1" y="0"/>
                    <a:pt x="2" y="1"/>
                  </a:cubicBezTo>
                  <a:cubicBezTo>
                    <a:pt x="2" y="1"/>
                    <a:pt x="9" y="3"/>
                    <a:pt x="11" y="11"/>
                  </a:cubicBezTo>
                  <a:cubicBezTo>
                    <a:pt x="11" y="12"/>
                    <a:pt x="10" y="13"/>
                    <a:pt x="10" y="13"/>
                  </a:cubicBezTo>
                  <a:lnTo>
                    <a:pt x="9" y="13"/>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1" name="ïṣļíḋê">
              <a:extLst>
                <a:ext uri="{FF2B5EF4-FFF2-40B4-BE49-F238E27FC236}">
                  <a16:creationId xmlns:a16="http://schemas.microsoft.com/office/drawing/2014/main" id="{B2D1E66B-5E39-424B-92B7-6E5D4B179EF7}"/>
                </a:ext>
              </a:extLst>
            </p:cNvPr>
            <p:cNvSpPr/>
            <p:nvPr/>
          </p:nvSpPr>
          <p:spPr bwMode="auto">
            <a:xfrm>
              <a:off x="6609224" y="2113899"/>
              <a:ext cx="271936" cy="381156"/>
            </a:xfrm>
            <a:custGeom>
              <a:avLst/>
              <a:gdLst>
                <a:gd name="T0" fmla="*/ 97 w 103"/>
                <a:gd name="T1" fmla="*/ 59 h 144"/>
                <a:gd name="T2" fmla="*/ 70 w 103"/>
                <a:gd name="T3" fmla="*/ 123 h 144"/>
                <a:gd name="T4" fmla="*/ 3 w 103"/>
                <a:gd name="T5" fmla="*/ 92 h 144"/>
                <a:gd name="T6" fmla="*/ 43 w 103"/>
                <a:gd name="T7" fmla="*/ 8 h 144"/>
                <a:gd name="T8" fmla="*/ 97 w 103"/>
                <a:gd name="T9" fmla="*/ 59 h 144"/>
              </a:gdLst>
              <a:ahLst/>
              <a:cxnLst>
                <a:cxn ang="0">
                  <a:pos x="T0" y="T1"/>
                </a:cxn>
                <a:cxn ang="0">
                  <a:pos x="T2" y="T3"/>
                </a:cxn>
                <a:cxn ang="0">
                  <a:pos x="T4" y="T5"/>
                </a:cxn>
                <a:cxn ang="0">
                  <a:pos x="T6" y="T7"/>
                </a:cxn>
                <a:cxn ang="0">
                  <a:pos x="T8" y="T9"/>
                </a:cxn>
              </a:cxnLst>
              <a:rect l="0" t="0" r="r" b="b"/>
              <a:pathLst>
                <a:path w="103" h="144">
                  <a:moveTo>
                    <a:pt x="97" y="59"/>
                  </a:moveTo>
                  <a:cubicBezTo>
                    <a:pt x="91" y="90"/>
                    <a:pt x="89" y="109"/>
                    <a:pt x="70" y="123"/>
                  </a:cubicBezTo>
                  <a:cubicBezTo>
                    <a:pt x="43" y="144"/>
                    <a:pt x="6" y="124"/>
                    <a:pt x="3" y="92"/>
                  </a:cubicBezTo>
                  <a:cubicBezTo>
                    <a:pt x="0" y="63"/>
                    <a:pt x="11" y="16"/>
                    <a:pt x="43" y="8"/>
                  </a:cubicBezTo>
                  <a:cubicBezTo>
                    <a:pt x="75" y="0"/>
                    <a:pt x="103" y="28"/>
                    <a:pt x="97" y="59"/>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2" name="íṡļîďe">
              <a:extLst>
                <a:ext uri="{FF2B5EF4-FFF2-40B4-BE49-F238E27FC236}">
                  <a16:creationId xmlns:a16="http://schemas.microsoft.com/office/drawing/2014/main" id="{8032F0B0-B458-42FE-8D6C-22957E95B07E}"/>
                </a:ext>
              </a:extLst>
            </p:cNvPr>
            <p:cNvSpPr/>
            <p:nvPr/>
          </p:nvSpPr>
          <p:spPr bwMode="auto">
            <a:xfrm>
              <a:off x="6619255" y="2052602"/>
              <a:ext cx="367783" cy="362210"/>
            </a:xfrm>
            <a:custGeom>
              <a:avLst/>
              <a:gdLst>
                <a:gd name="T0" fmla="*/ 29 w 139"/>
                <a:gd name="T1" fmla="*/ 91 h 137"/>
                <a:gd name="T2" fmla="*/ 29 w 139"/>
                <a:gd name="T3" fmla="*/ 47 h 137"/>
                <a:gd name="T4" fmla="*/ 0 w 139"/>
                <a:gd name="T5" fmla="*/ 32 h 137"/>
                <a:gd name="T6" fmla="*/ 67 w 139"/>
                <a:gd name="T7" fmla="*/ 5 h 137"/>
                <a:gd name="T8" fmla="*/ 129 w 139"/>
                <a:gd name="T9" fmla="*/ 27 h 137"/>
                <a:gd name="T10" fmla="*/ 122 w 139"/>
                <a:gd name="T11" fmla="*/ 51 h 137"/>
                <a:gd name="T12" fmla="*/ 76 w 139"/>
                <a:gd name="T13" fmla="*/ 136 h 137"/>
                <a:gd name="T14" fmla="*/ 51 w 139"/>
                <a:gd name="T15" fmla="*/ 137 h 137"/>
                <a:gd name="T16" fmla="*/ 46 w 139"/>
                <a:gd name="T17" fmla="*/ 135 h 137"/>
                <a:gd name="T18" fmla="*/ 29 w 139"/>
                <a:gd name="T19" fmla="*/ 9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137">
                  <a:moveTo>
                    <a:pt x="29" y="91"/>
                  </a:moveTo>
                  <a:cubicBezTo>
                    <a:pt x="20" y="80"/>
                    <a:pt x="24" y="58"/>
                    <a:pt x="29" y="47"/>
                  </a:cubicBezTo>
                  <a:cubicBezTo>
                    <a:pt x="23" y="52"/>
                    <a:pt x="0" y="50"/>
                    <a:pt x="0" y="32"/>
                  </a:cubicBezTo>
                  <a:cubicBezTo>
                    <a:pt x="0" y="6"/>
                    <a:pt x="43" y="0"/>
                    <a:pt x="67" y="5"/>
                  </a:cubicBezTo>
                  <a:cubicBezTo>
                    <a:pt x="95" y="10"/>
                    <a:pt x="120" y="36"/>
                    <a:pt x="129" y="27"/>
                  </a:cubicBezTo>
                  <a:cubicBezTo>
                    <a:pt x="139" y="44"/>
                    <a:pt x="122" y="51"/>
                    <a:pt x="122" y="51"/>
                  </a:cubicBezTo>
                  <a:cubicBezTo>
                    <a:pt x="122" y="51"/>
                    <a:pt x="139" y="94"/>
                    <a:pt x="76" y="136"/>
                  </a:cubicBezTo>
                  <a:cubicBezTo>
                    <a:pt x="70" y="135"/>
                    <a:pt x="63" y="134"/>
                    <a:pt x="51" y="137"/>
                  </a:cubicBezTo>
                  <a:cubicBezTo>
                    <a:pt x="49" y="137"/>
                    <a:pt x="47" y="136"/>
                    <a:pt x="46" y="135"/>
                  </a:cubicBezTo>
                  <a:cubicBezTo>
                    <a:pt x="39" y="128"/>
                    <a:pt x="22" y="109"/>
                    <a:pt x="29" y="9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3" name="ïsḷîḓé">
              <a:extLst>
                <a:ext uri="{FF2B5EF4-FFF2-40B4-BE49-F238E27FC236}">
                  <a16:creationId xmlns:a16="http://schemas.microsoft.com/office/drawing/2014/main" id="{FB485025-29B1-4C37-B518-F95E0F26B413}"/>
                </a:ext>
              </a:extLst>
            </p:cNvPr>
            <p:cNvSpPr/>
            <p:nvPr/>
          </p:nvSpPr>
          <p:spPr bwMode="auto">
            <a:xfrm>
              <a:off x="6934656" y="2168509"/>
              <a:ext cx="42351" cy="30092"/>
            </a:xfrm>
            <a:custGeom>
              <a:avLst/>
              <a:gdLst>
                <a:gd name="T0" fmla="*/ 0 w 16"/>
                <a:gd name="T1" fmla="*/ 6 h 11"/>
                <a:gd name="T2" fmla="*/ 16 w 16"/>
                <a:gd name="T3" fmla="*/ 0 h 11"/>
                <a:gd name="T4" fmla="*/ 0 w 16"/>
                <a:gd name="T5" fmla="*/ 6 h 11"/>
              </a:gdLst>
              <a:ahLst/>
              <a:cxnLst>
                <a:cxn ang="0">
                  <a:pos x="T0" y="T1"/>
                </a:cxn>
                <a:cxn ang="0">
                  <a:pos x="T2" y="T3"/>
                </a:cxn>
                <a:cxn ang="0">
                  <a:pos x="T4" y="T5"/>
                </a:cxn>
              </a:cxnLst>
              <a:rect l="0" t="0" r="r" b="b"/>
              <a:pathLst>
                <a:path w="16" h="11">
                  <a:moveTo>
                    <a:pt x="0" y="6"/>
                  </a:moveTo>
                  <a:cubicBezTo>
                    <a:pt x="0" y="6"/>
                    <a:pt x="12" y="8"/>
                    <a:pt x="16" y="0"/>
                  </a:cubicBezTo>
                  <a:cubicBezTo>
                    <a:pt x="15" y="11"/>
                    <a:pt x="8" y="11"/>
                    <a:pt x="0"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4" name="ïşlídè">
              <a:extLst>
                <a:ext uri="{FF2B5EF4-FFF2-40B4-BE49-F238E27FC236}">
                  <a16:creationId xmlns:a16="http://schemas.microsoft.com/office/drawing/2014/main" id="{803FDD20-51D8-4DEE-A078-1E7946787413}"/>
                </a:ext>
              </a:extLst>
            </p:cNvPr>
            <p:cNvSpPr/>
            <p:nvPr/>
          </p:nvSpPr>
          <p:spPr bwMode="auto">
            <a:xfrm>
              <a:off x="6661605" y="2258783"/>
              <a:ext cx="103648" cy="105877"/>
            </a:xfrm>
            <a:custGeom>
              <a:avLst/>
              <a:gdLst>
                <a:gd name="T0" fmla="*/ 34 w 39"/>
                <a:gd name="T1" fmla="*/ 23 h 40"/>
                <a:gd name="T2" fmla="*/ 16 w 39"/>
                <a:gd name="T3" fmla="*/ 37 h 40"/>
                <a:gd name="T4" fmla="*/ 3 w 39"/>
                <a:gd name="T5" fmla="*/ 21 h 40"/>
                <a:gd name="T6" fmla="*/ 25 w 39"/>
                <a:gd name="T7" fmla="*/ 2 h 40"/>
                <a:gd name="T8" fmla="*/ 34 w 39"/>
                <a:gd name="T9" fmla="*/ 23 h 40"/>
              </a:gdLst>
              <a:ahLst/>
              <a:cxnLst>
                <a:cxn ang="0">
                  <a:pos x="T0" y="T1"/>
                </a:cxn>
                <a:cxn ang="0">
                  <a:pos x="T2" y="T3"/>
                </a:cxn>
                <a:cxn ang="0">
                  <a:pos x="T4" y="T5"/>
                </a:cxn>
                <a:cxn ang="0">
                  <a:pos x="T6" y="T7"/>
                </a:cxn>
                <a:cxn ang="0">
                  <a:pos x="T8" y="T9"/>
                </a:cxn>
              </a:cxnLst>
              <a:rect l="0" t="0" r="r" b="b"/>
              <a:pathLst>
                <a:path w="39" h="40">
                  <a:moveTo>
                    <a:pt x="34" y="23"/>
                  </a:moveTo>
                  <a:cubicBezTo>
                    <a:pt x="30" y="30"/>
                    <a:pt x="22" y="35"/>
                    <a:pt x="16" y="37"/>
                  </a:cubicBezTo>
                  <a:cubicBezTo>
                    <a:pt x="5" y="40"/>
                    <a:pt x="0" y="30"/>
                    <a:pt x="3" y="21"/>
                  </a:cubicBezTo>
                  <a:cubicBezTo>
                    <a:pt x="6" y="12"/>
                    <a:pt x="15" y="0"/>
                    <a:pt x="25" y="2"/>
                  </a:cubicBezTo>
                  <a:cubicBezTo>
                    <a:pt x="35" y="3"/>
                    <a:pt x="39" y="14"/>
                    <a:pt x="34" y="23"/>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5" name="ïşļîḋè">
              <a:extLst>
                <a:ext uri="{FF2B5EF4-FFF2-40B4-BE49-F238E27FC236}">
                  <a16:creationId xmlns:a16="http://schemas.microsoft.com/office/drawing/2014/main" id="{2BFAA74C-73C9-4A2B-873A-5018C1B2212A}"/>
                </a:ext>
              </a:extLst>
            </p:cNvPr>
            <p:cNvSpPr/>
            <p:nvPr/>
          </p:nvSpPr>
          <p:spPr bwMode="auto">
            <a:xfrm>
              <a:off x="6963633" y="2610963"/>
              <a:ext cx="367783" cy="677611"/>
            </a:xfrm>
            <a:custGeom>
              <a:avLst/>
              <a:gdLst>
                <a:gd name="T0" fmla="*/ 42 w 139"/>
                <a:gd name="T1" fmla="*/ 0 h 256"/>
                <a:gd name="T2" fmla="*/ 54 w 139"/>
                <a:gd name="T3" fmla="*/ 13 h 256"/>
                <a:gd name="T4" fmla="*/ 66 w 139"/>
                <a:gd name="T5" fmla="*/ 26 h 256"/>
                <a:gd name="T6" fmla="*/ 87 w 139"/>
                <a:gd name="T7" fmla="*/ 52 h 256"/>
                <a:gd name="T8" fmla="*/ 107 w 139"/>
                <a:gd name="T9" fmla="*/ 80 h 256"/>
                <a:gd name="T10" fmla="*/ 112 w 139"/>
                <a:gd name="T11" fmla="*/ 88 h 256"/>
                <a:gd name="T12" fmla="*/ 117 w 139"/>
                <a:gd name="T13" fmla="*/ 97 h 256"/>
                <a:gd name="T14" fmla="*/ 125 w 139"/>
                <a:gd name="T15" fmla="*/ 115 h 256"/>
                <a:gd name="T16" fmla="*/ 135 w 139"/>
                <a:gd name="T17" fmla="*/ 151 h 256"/>
                <a:gd name="T18" fmla="*/ 138 w 139"/>
                <a:gd name="T19" fmla="*/ 187 h 256"/>
                <a:gd name="T20" fmla="*/ 137 w 139"/>
                <a:gd name="T21" fmla="*/ 222 h 256"/>
                <a:gd name="T22" fmla="*/ 132 w 139"/>
                <a:gd name="T23" fmla="*/ 256 h 256"/>
                <a:gd name="T24" fmla="*/ 103 w 139"/>
                <a:gd name="T25" fmla="*/ 253 h 256"/>
                <a:gd name="T26" fmla="*/ 100 w 139"/>
                <a:gd name="T27" fmla="*/ 222 h 256"/>
                <a:gd name="T28" fmla="*/ 96 w 139"/>
                <a:gd name="T29" fmla="*/ 191 h 256"/>
                <a:gd name="T30" fmla="*/ 78 w 139"/>
                <a:gd name="T31" fmla="*/ 135 h 256"/>
                <a:gd name="T32" fmla="*/ 71 w 139"/>
                <a:gd name="T33" fmla="*/ 124 h 256"/>
                <a:gd name="T34" fmla="*/ 68 w 139"/>
                <a:gd name="T35" fmla="*/ 119 h 256"/>
                <a:gd name="T36" fmla="*/ 66 w 139"/>
                <a:gd name="T37" fmla="*/ 116 h 256"/>
                <a:gd name="T38" fmla="*/ 63 w 139"/>
                <a:gd name="T39" fmla="*/ 113 h 256"/>
                <a:gd name="T40" fmla="*/ 42 w 139"/>
                <a:gd name="T41" fmla="*/ 89 h 256"/>
                <a:gd name="T42" fmla="*/ 21 w 139"/>
                <a:gd name="T43" fmla="*/ 66 h 256"/>
                <a:gd name="T44" fmla="*/ 0 w 139"/>
                <a:gd name="T45" fmla="*/ 43 h 256"/>
                <a:gd name="T46" fmla="*/ 42 w 139"/>
                <a:gd name="T4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9" h="256">
                  <a:moveTo>
                    <a:pt x="42" y="0"/>
                  </a:moveTo>
                  <a:cubicBezTo>
                    <a:pt x="47" y="5"/>
                    <a:pt x="50" y="9"/>
                    <a:pt x="54" y="13"/>
                  </a:cubicBezTo>
                  <a:cubicBezTo>
                    <a:pt x="58" y="17"/>
                    <a:pt x="62" y="21"/>
                    <a:pt x="66" y="26"/>
                  </a:cubicBezTo>
                  <a:cubicBezTo>
                    <a:pt x="73" y="34"/>
                    <a:pt x="80" y="43"/>
                    <a:pt x="87" y="52"/>
                  </a:cubicBezTo>
                  <a:cubicBezTo>
                    <a:pt x="94" y="61"/>
                    <a:pt x="101" y="71"/>
                    <a:pt x="107" y="80"/>
                  </a:cubicBezTo>
                  <a:cubicBezTo>
                    <a:pt x="112" y="88"/>
                    <a:pt x="112" y="88"/>
                    <a:pt x="112" y="88"/>
                  </a:cubicBezTo>
                  <a:cubicBezTo>
                    <a:pt x="114" y="91"/>
                    <a:pt x="115" y="94"/>
                    <a:pt x="117" y="97"/>
                  </a:cubicBezTo>
                  <a:cubicBezTo>
                    <a:pt x="120" y="103"/>
                    <a:pt x="123" y="109"/>
                    <a:pt x="125" y="115"/>
                  </a:cubicBezTo>
                  <a:cubicBezTo>
                    <a:pt x="130" y="127"/>
                    <a:pt x="133" y="139"/>
                    <a:pt x="135" y="151"/>
                  </a:cubicBezTo>
                  <a:cubicBezTo>
                    <a:pt x="137" y="163"/>
                    <a:pt x="138" y="175"/>
                    <a:pt x="138" y="187"/>
                  </a:cubicBezTo>
                  <a:cubicBezTo>
                    <a:pt x="139" y="198"/>
                    <a:pt x="138" y="210"/>
                    <a:pt x="137" y="222"/>
                  </a:cubicBezTo>
                  <a:cubicBezTo>
                    <a:pt x="136" y="233"/>
                    <a:pt x="135" y="244"/>
                    <a:pt x="132" y="256"/>
                  </a:cubicBezTo>
                  <a:cubicBezTo>
                    <a:pt x="103" y="253"/>
                    <a:pt x="103" y="253"/>
                    <a:pt x="103" y="253"/>
                  </a:cubicBezTo>
                  <a:cubicBezTo>
                    <a:pt x="102" y="243"/>
                    <a:pt x="101" y="232"/>
                    <a:pt x="100" y="222"/>
                  </a:cubicBezTo>
                  <a:cubicBezTo>
                    <a:pt x="99" y="211"/>
                    <a:pt x="98" y="201"/>
                    <a:pt x="96" y="191"/>
                  </a:cubicBezTo>
                  <a:cubicBezTo>
                    <a:pt x="92" y="171"/>
                    <a:pt x="86" y="151"/>
                    <a:pt x="78" y="135"/>
                  </a:cubicBezTo>
                  <a:cubicBezTo>
                    <a:pt x="76" y="131"/>
                    <a:pt x="74" y="127"/>
                    <a:pt x="71" y="124"/>
                  </a:cubicBezTo>
                  <a:cubicBezTo>
                    <a:pt x="70" y="122"/>
                    <a:pt x="69" y="120"/>
                    <a:pt x="68" y="119"/>
                  </a:cubicBezTo>
                  <a:cubicBezTo>
                    <a:pt x="67" y="118"/>
                    <a:pt x="67" y="117"/>
                    <a:pt x="66" y="116"/>
                  </a:cubicBezTo>
                  <a:cubicBezTo>
                    <a:pt x="63" y="113"/>
                    <a:pt x="63" y="113"/>
                    <a:pt x="63" y="113"/>
                  </a:cubicBezTo>
                  <a:cubicBezTo>
                    <a:pt x="56" y="105"/>
                    <a:pt x="49" y="97"/>
                    <a:pt x="42" y="89"/>
                  </a:cubicBezTo>
                  <a:cubicBezTo>
                    <a:pt x="35" y="81"/>
                    <a:pt x="28" y="74"/>
                    <a:pt x="21" y="66"/>
                  </a:cubicBezTo>
                  <a:cubicBezTo>
                    <a:pt x="0" y="43"/>
                    <a:pt x="0" y="43"/>
                    <a:pt x="0" y="43"/>
                  </a:cubicBezTo>
                  <a:cubicBezTo>
                    <a:pt x="42" y="0"/>
                    <a:pt x="42" y="0"/>
                    <a:pt x="42" y="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6" name="ïśḻïḓé">
              <a:extLst>
                <a:ext uri="{FF2B5EF4-FFF2-40B4-BE49-F238E27FC236}">
                  <a16:creationId xmlns:a16="http://schemas.microsoft.com/office/drawing/2014/main" id="{DCC7312F-92FC-4EE0-B7B4-5DEF7B6C1584}"/>
                </a:ext>
              </a:extLst>
            </p:cNvPr>
            <p:cNvSpPr/>
            <p:nvPr/>
          </p:nvSpPr>
          <p:spPr bwMode="auto">
            <a:xfrm>
              <a:off x="6852184" y="2497285"/>
              <a:ext cx="336577" cy="354409"/>
            </a:xfrm>
            <a:custGeom>
              <a:avLst/>
              <a:gdLst>
                <a:gd name="T0" fmla="*/ 5 w 127"/>
                <a:gd name="T1" fmla="*/ 69 h 134"/>
                <a:gd name="T2" fmla="*/ 71 w 127"/>
                <a:gd name="T3" fmla="*/ 134 h 134"/>
                <a:gd name="T4" fmla="*/ 127 w 127"/>
                <a:gd name="T5" fmla="*/ 86 h 134"/>
                <a:gd name="T6" fmla="*/ 79 w 127"/>
                <a:gd name="T7" fmla="*/ 29 h 134"/>
                <a:gd name="T8" fmla="*/ 5 w 127"/>
                <a:gd name="T9" fmla="*/ 69 h 134"/>
              </a:gdLst>
              <a:ahLst/>
              <a:cxnLst>
                <a:cxn ang="0">
                  <a:pos x="T0" y="T1"/>
                </a:cxn>
                <a:cxn ang="0">
                  <a:pos x="T2" y="T3"/>
                </a:cxn>
                <a:cxn ang="0">
                  <a:pos x="T4" y="T5"/>
                </a:cxn>
                <a:cxn ang="0">
                  <a:pos x="T6" y="T7"/>
                </a:cxn>
                <a:cxn ang="0">
                  <a:pos x="T8" y="T9"/>
                </a:cxn>
              </a:cxnLst>
              <a:rect l="0" t="0" r="r" b="b"/>
              <a:pathLst>
                <a:path w="127" h="134">
                  <a:moveTo>
                    <a:pt x="5" y="69"/>
                  </a:moveTo>
                  <a:cubicBezTo>
                    <a:pt x="0" y="92"/>
                    <a:pt x="71" y="134"/>
                    <a:pt x="71" y="134"/>
                  </a:cubicBezTo>
                  <a:cubicBezTo>
                    <a:pt x="127" y="86"/>
                    <a:pt x="127" y="86"/>
                    <a:pt x="127" y="86"/>
                  </a:cubicBezTo>
                  <a:cubicBezTo>
                    <a:pt x="127" y="86"/>
                    <a:pt x="108" y="57"/>
                    <a:pt x="79" y="29"/>
                  </a:cubicBezTo>
                  <a:cubicBezTo>
                    <a:pt x="50" y="0"/>
                    <a:pt x="13" y="31"/>
                    <a:pt x="5" y="6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7" name="ïṥḷîḓè">
              <a:extLst>
                <a:ext uri="{FF2B5EF4-FFF2-40B4-BE49-F238E27FC236}">
                  <a16:creationId xmlns:a16="http://schemas.microsoft.com/office/drawing/2014/main" id="{8619288A-5614-440E-93CC-A01A4F4CE9D1}"/>
                </a:ext>
              </a:extLst>
            </p:cNvPr>
            <p:cNvSpPr/>
            <p:nvPr/>
          </p:nvSpPr>
          <p:spPr bwMode="auto">
            <a:xfrm>
              <a:off x="7021587" y="2766992"/>
              <a:ext cx="36779" cy="84701"/>
            </a:xfrm>
            <a:custGeom>
              <a:avLst/>
              <a:gdLst>
                <a:gd name="T0" fmla="*/ 0 w 14"/>
                <a:gd name="T1" fmla="*/ 0 h 32"/>
                <a:gd name="T2" fmla="*/ 1 w 14"/>
                <a:gd name="T3" fmla="*/ 28 h 32"/>
                <a:gd name="T4" fmla="*/ 7 w 14"/>
                <a:gd name="T5" fmla="*/ 32 h 32"/>
                <a:gd name="T6" fmla="*/ 14 w 14"/>
                <a:gd name="T7" fmla="*/ 26 h 32"/>
                <a:gd name="T8" fmla="*/ 0 w 14"/>
                <a:gd name="T9" fmla="*/ 0 h 32"/>
              </a:gdLst>
              <a:ahLst/>
              <a:cxnLst>
                <a:cxn ang="0">
                  <a:pos x="T0" y="T1"/>
                </a:cxn>
                <a:cxn ang="0">
                  <a:pos x="T2" y="T3"/>
                </a:cxn>
                <a:cxn ang="0">
                  <a:pos x="T4" y="T5"/>
                </a:cxn>
                <a:cxn ang="0">
                  <a:pos x="T6" y="T7"/>
                </a:cxn>
                <a:cxn ang="0">
                  <a:pos x="T8" y="T9"/>
                </a:cxn>
              </a:cxnLst>
              <a:rect l="0" t="0" r="r" b="b"/>
              <a:pathLst>
                <a:path w="14" h="32">
                  <a:moveTo>
                    <a:pt x="0" y="0"/>
                  </a:moveTo>
                  <a:cubicBezTo>
                    <a:pt x="0" y="9"/>
                    <a:pt x="0" y="19"/>
                    <a:pt x="1" y="28"/>
                  </a:cubicBezTo>
                  <a:cubicBezTo>
                    <a:pt x="5" y="31"/>
                    <a:pt x="7" y="32"/>
                    <a:pt x="7" y="32"/>
                  </a:cubicBezTo>
                  <a:cubicBezTo>
                    <a:pt x="14" y="26"/>
                    <a:pt x="14" y="26"/>
                    <a:pt x="14" y="26"/>
                  </a:cubicBezTo>
                  <a:cubicBezTo>
                    <a:pt x="10" y="16"/>
                    <a:pt x="6" y="7"/>
                    <a:pt x="0"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8" name="iṥḷïḍè">
              <a:extLst>
                <a:ext uri="{FF2B5EF4-FFF2-40B4-BE49-F238E27FC236}">
                  <a16:creationId xmlns:a16="http://schemas.microsoft.com/office/drawing/2014/main" id="{DDDEACC6-1F0B-4F88-9774-DCBE8FDE11BA}"/>
                </a:ext>
              </a:extLst>
            </p:cNvPr>
            <p:cNvSpPr/>
            <p:nvPr/>
          </p:nvSpPr>
          <p:spPr bwMode="auto">
            <a:xfrm>
              <a:off x="7193218" y="3251796"/>
              <a:ext cx="119251" cy="105877"/>
            </a:xfrm>
            <a:custGeom>
              <a:avLst/>
              <a:gdLst>
                <a:gd name="T0" fmla="*/ 15 w 45"/>
                <a:gd name="T1" fmla="*/ 6 h 40"/>
                <a:gd name="T2" fmla="*/ 0 w 45"/>
                <a:gd name="T3" fmla="*/ 26 h 40"/>
                <a:gd name="T4" fmla="*/ 36 w 45"/>
                <a:gd name="T5" fmla="*/ 40 h 40"/>
                <a:gd name="T6" fmla="*/ 43 w 45"/>
                <a:gd name="T7" fmla="*/ 12 h 40"/>
                <a:gd name="T8" fmla="*/ 34 w 45"/>
                <a:gd name="T9" fmla="*/ 3 h 40"/>
                <a:gd name="T10" fmla="*/ 28 w 45"/>
                <a:gd name="T11" fmla="*/ 1 h 40"/>
                <a:gd name="T12" fmla="*/ 15 w 45"/>
                <a:gd name="T13" fmla="*/ 6 h 40"/>
              </a:gdLst>
              <a:ahLst/>
              <a:cxnLst>
                <a:cxn ang="0">
                  <a:pos x="T0" y="T1"/>
                </a:cxn>
                <a:cxn ang="0">
                  <a:pos x="T2" y="T3"/>
                </a:cxn>
                <a:cxn ang="0">
                  <a:pos x="T4" y="T5"/>
                </a:cxn>
                <a:cxn ang="0">
                  <a:pos x="T6" y="T7"/>
                </a:cxn>
                <a:cxn ang="0">
                  <a:pos x="T8" y="T9"/>
                </a:cxn>
                <a:cxn ang="0">
                  <a:pos x="T10" y="T11"/>
                </a:cxn>
                <a:cxn ang="0">
                  <a:pos x="T12" y="T13"/>
                </a:cxn>
              </a:cxnLst>
              <a:rect l="0" t="0" r="r" b="b"/>
              <a:pathLst>
                <a:path w="45" h="40">
                  <a:moveTo>
                    <a:pt x="15" y="6"/>
                  </a:moveTo>
                  <a:cubicBezTo>
                    <a:pt x="0" y="26"/>
                    <a:pt x="0" y="26"/>
                    <a:pt x="0" y="26"/>
                  </a:cubicBezTo>
                  <a:cubicBezTo>
                    <a:pt x="36" y="40"/>
                    <a:pt x="36" y="40"/>
                    <a:pt x="36" y="40"/>
                  </a:cubicBezTo>
                  <a:cubicBezTo>
                    <a:pt x="36" y="40"/>
                    <a:pt x="45" y="24"/>
                    <a:pt x="43" y="12"/>
                  </a:cubicBezTo>
                  <a:cubicBezTo>
                    <a:pt x="43" y="7"/>
                    <a:pt x="39" y="4"/>
                    <a:pt x="34" y="3"/>
                  </a:cubicBezTo>
                  <a:cubicBezTo>
                    <a:pt x="28" y="1"/>
                    <a:pt x="28" y="1"/>
                    <a:pt x="28" y="1"/>
                  </a:cubicBezTo>
                  <a:cubicBezTo>
                    <a:pt x="23" y="0"/>
                    <a:pt x="18" y="2"/>
                    <a:pt x="15" y="6"/>
                  </a:cubicBez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9" name="ïṧlide">
              <a:extLst>
                <a:ext uri="{FF2B5EF4-FFF2-40B4-BE49-F238E27FC236}">
                  <a16:creationId xmlns:a16="http://schemas.microsoft.com/office/drawing/2014/main" id="{AF3C047D-A798-429E-A704-3F270557BBB0}"/>
                </a:ext>
              </a:extLst>
            </p:cNvPr>
            <p:cNvSpPr/>
            <p:nvPr/>
          </p:nvSpPr>
          <p:spPr bwMode="auto">
            <a:xfrm>
              <a:off x="7175387" y="3320894"/>
              <a:ext cx="113678" cy="102533"/>
            </a:xfrm>
            <a:custGeom>
              <a:avLst/>
              <a:gdLst>
                <a:gd name="T0" fmla="*/ 0 w 102"/>
                <a:gd name="T1" fmla="*/ 73 h 92"/>
                <a:gd name="T2" fmla="*/ 81 w 102"/>
                <a:gd name="T3" fmla="*/ 92 h 92"/>
                <a:gd name="T4" fmla="*/ 102 w 102"/>
                <a:gd name="T5" fmla="*/ 33 h 92"/>
                <a:gd name="T6" fmla="*/ 16 w 102"/>
                <a:gd name="T7" fmla="*/ 0 h 92"/>
                <a:gd name="T8" fmla="*/ 0 w 102"/>
                <a:gd name="T9" fmla="*/ 73 h 92"/>
              </a:gdLst>
              <a:ahLst/>
              <a:cxnLst>
                <a:cxn ang="0">
                  <a:pos x="T0" y="T1"/>
                </a:cxn>
                <a:cxn ang="0">
                  <a:pos x="T2" y="T3"/>
                </a:cxn>
                <a:cxn ang="0">
                  <a:pos x="T4" y="T5"/>
                </a:cxn>
                <a:cxn ang="0">
                  <a:pos x="T6" y="T7"/>
                </a:cxn>
                <a:cxn ang="0">
                  <a:pos x="T8" y="T9"/>
                </a:cxn>
              </a:cxnLst>
              <a:rect l="0" t="0" r="r" b="b"/>
              <a:pathLst>
                <a:path w="102" h="92">
                  <a:moveTo>
                    <a:pt x="0" y="73"/>
                  </a:moveTo>
                  <a:lnTo>
                    <a:pt x="81" y="92"/>
                  </a:lnTo>
                  <a:lnTo>
                    <a:pt x="102" y="33"/>
                  </a:lnTo>
                  <a:lnTo>
                    <a:pt x="16" y="0"/>
                  </a:lnTo>
                  <a:lnTo>
                    <a:pt x="0" y="73"/>
                  </a:lnTo>
                  <a:close/>
                </a:path>
              </a:pathLst>
            </a:custGeom>
            <a:solidFill>
              <a:srgbClr val="FFC3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0" name="îṥļiḑè">
              <a:extLst>
                <a:ext uri="{FF2B5EF4-FFF2-40B4-BE49-F238E27FC236}">
                  <a16:creationId xmlns:a16="http://schemas.microsoft.com/office/drawing/2014/main" id="{C8709ACA-6012-40EE-8387-188C4B742F12}"/>
                </a:ext>
              </a:extLst>
            </p:cNvPr>
            <p:cNvSpPr/>
            <p:nvPr/>
          </p:nvSpPr>
          <p:spPr bwMode="auto">
            <a:xfrm>
              <a:off x="6486630" y="2537407"/>
              <a:ext cx="611857" cy="891594"/>
            </a:xfrm>
            <a:custGeom>
              <a:avLst/>
              <a:gdLst>
                <a:gd name="T0" fmla="*/ 205 w 231"/>
                <a:gd name="T1" fmla="*/ 19 h 337"/>
                <a:gd name="T2" fmla="*/ 231 w 231"/>
                <a:gd name="T3" fmla="*/ 319 h 337"/>
                <a:gd name="T4" fmla="*/ 30 w 231"/>
                <a:gd name="T5" fmla="*/ 337 h 337"/>
                <a:gd name="T6" fmla="*/ 28 w 231"/>
                <a:gd name="T7" fmla="*/ 14 h 337"/>
                <a:gd name="T8" fmla="*/ 53 w 231"/>
                <a:gd name="T9" fmla="*/ 7 h 337"/>
                <a:gd name="T10" fmla="*/ 68 w 231"/>
                <a:gd name="T11" fmla="*/ 4 h 337"/>
                <a:gd name="T12" fmla="*/ 77 w 231"/>
                <a:gd name="T13" fmla="*/ 3 h 337"/>
                <a:gd name="T14" fmla="*/ 149 w 231"/>
                <a:gd name="T15" fmla="*/ 0 h 337"/>
                <a:gd name="T16" fmla="*/ 163 w 231"/>
                <a:gd name="T17" fmla="*/ 0 h 337"/>
                <a:gd name="T18" fmla="*/ 176 w 231"/>
                <a:gd name="T19" fmla="*/ 1 h 337"/>
                <a:gd name="T20" fmla="*/ 192 w 231"/>
                <a:gd name="T21" fmla="*/ 2 h 337"/>
                <a:gd name="T22" fmla="*/ 205 w 231"/>
                <a:gd name="T23" fmla="*/ 1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337">
                  <a:moveTo>
                    <a:pt x="205" y="19"/>
                  </a:moveTo>
                  <a:cubicBezTo>
                    <a:pt x="191" y="142"/>
                    <a:pt x="230" y="294"/>
                    <a:pt x="231" y="319"/>
                  </a:cubicBezTo>
                  <a:cubicBezTo>
                    <a:pt x="206" y="321"/>
                    <a:pt x="82" y="333"/>
                    <a:pt x="30" y="337"/>
                  </a:cubicBezTo>
                  <a:cubicBezTo>
                    <a:pt x="0" y="118"/>
                    <a:pt x="28" y="14"/>
                    <a:pt x="28" y="14"/>
                  </a:cubicBezTo>
                  <a:cubicBezTo>
                    <a:pt x="28" y="14"/>
                    <a:pt x="38" y="11"/>
                    <a:pt x="53" y="7"/>
                  </a:cubicBezTo>
                  <a:cubicBezTo>
                    <a:pt x="58" y="6"/>
                    <a:pt x="63" y="5"/>
                    <a:pt x="68" y="4"/>
                  </a:cubicBezTo>
                  <a:cubicBezTo>
                    <a:pt x="71" y="4"/>
                    <a:pt x="74" y="3"/>
                    <a:pt x="77" y="3"/>
                  </a:cubicBezTo>
                  <a:cubicBezTo>
                    <a:pt x="96" y="0"/>
                    <a:pt x="127" y="0"/>
                    <a:pt x="149" y="0"/>
                  </a:cubicBezTo>
                  <a:cubicBezTo>
                    <a:pt x="154" y="0"/>
                    <a:pt x="159" y="0"/>
                    <a:pt x="163" y="0"/>
                  </a:cubicBezTo>
                  <a:cubicBezTo>
                    <a:pt x="168" y="0"/>
                    <a:pt x="172" y="0"/>
                    <a:pt x="176" y="1"/>
                  </a:cubicBezTo>
                  <a:cubicBezTo>
                    <a:pt x="182" y="1"/>
                    <a:pt x="187" y="2"/>
                    <a:pt x="192" y="2"/>
                  </a:cubicBezTo>
                  <a:cubicBezTo>
                    <a:pt x="200" y="3"/>
                    <a:pt x="206" y="11"/>
                    <a:pt x="205" y="1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1" name="íṧ1iḓé">
              <a:extLst>
                <a:ext uri="{FF2B5EF4-FFF2-40B4-BE49-F238E27FC236}">
                  <a16:creationId xmlns:a16="http://schemas.microsoft.com/office/drawing/2014/main" id="{1A91B979-D5BD-488B-BCC7-9CFD86B39033}"/>
                </a:ext>
              </a:extLst>
            </p:cNvPr>
            <p:cNvSpPr/>
            <p:nvPr/>
          </p:nvSpPr>
          <p:spPr bwMode="auto">
            <a:xfrm>
              <a:off x="6534553" y="2732442"/>
              <a:ext cx="3344" cy="53496"/>
            </a:xfrm>
            <a:custGeom>
              <a:avLst/>
              <a:gdLst>
                <a:gd name="T0" fmla="*/ 1 w 1"/>
                <a:gd name="T1" fmla="*/ 0 h 20"/>
                <a:gd name="T2" fmla="*/ 0 w 1"/>
                <a:gd name="T3" fmla="*/ 20 h 20"/>
                <a:gd name="T4" fmla="*/ 0 w 1"/>
                <a:gd name="T5" fmla="*/ 20 h 20"/>
                <a:gd name="T6" fmla="*/ 1 w 1"/>
                <a:gd name="T7" fmla="*/ 0 h 20"/>
                <a:gd name="T8" fmla="*/ 1 w 1"/>
                <a:gd name="T9" fmla="*/ 0 h 20"/>
              </a:gdLst>
              <a:ahLst/>
              <a:cxnLst>
                <a:cxn ang="0">
                  <a:pos x="T0" y="T1"/>
                </a:cxn>
                <a:cxn ang="0">
                  <a:pos x="T2" y="T3"/>
                </a:cxn>
                <a:cxn ang="0">
                  <a:pos x="T4" y="T5"/>
                </a:cxn>
                <a:cxn ang="0">
                  <a:pos x="T6" y="T7"/>
                </a:cxn>
                <a:cxn ang="0">
                  <a:pos x="T8" y="T9"/>
                </a:cxn>
              </a:cxnLst>
              <a:rect l="0" t="0" r="r" b="b"/>
              <a:pathLst>
                <a:path w="1" h="20">
                  <a:moveTo>
                    <a:pt x="1" y="0"/>
                  </a:moveTo>
                  <a:cubicBezTo>
                    <a:pt x="0" y="6"/>
                    <a:pt x="0" y="13"/>
                    <a:pt x="0" y="20"/>
                  </a:cubicBezTo>
                  <a:cubicBezTo>
                    <a:pt x="0" y="20"/>
                    <a:pt x="0" y="20"/>
                    <a:pt x="0" y="20"/>
                  </a:cubicBezTo>
                  <a:cubicBezTo>
                    <a:pt x="0" y="13"/>
                    <a:pt x="0" y="6"/>
                    <a:pt x="1" y="0"/>
                  </a:cubicBezTo>
                  <a:cubicBezTo>
                    <a:pt x="1" y="0"/>
                    <a:pt x="1" y="0"/>
                    <a:pt x="1" y="0"/>
                  </a:cubicBezTo>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2" name="iSľiďe">
              <a:extLst>
                <a:ext uri="{FF2B5EF4-FFF2-40B4-BE49-F238E27FC236}">
                  <a16:creationId xmlns:a16="http://schemas.microsoft.com/office/drawing/2014/main" id="{A5421398-A324-4BF1-8A69-503350F78F15}"/>
                </a:ext>
              </a:extLst>
            </p:cNvPr>
            <p:cNvSpPr/>
            <p:nvPr/>
          </p:nvSpPr>
          <p:spPr bwMode="auto">
            <a:xfrm>
              <a:off x="6537897" y="2730213"/>
              <a:ext cx="0" cy="2229"/>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1"/>
                    <a:pt x="0" y="1"/>
                  </a:cubicBezTo>
                  <a:cubicBezTo>
                    <a:pt x="0" y="1"/>
                    <a:pt x="0" y="1"/>
                    <a:pt x="0" y="1"/>
                  </a:cubicBezTo>
                  <a:cubicBezTo>
                    <a:pt x="0" y="1"/>
                    <a:pt x="0" y="0"/>
                    <a:pt x="0" y="0"/>
                  </a:cubicBezTo>
                  <a:cubicBezTo>
                    <a:pt x="0" y="0"/>
                    <a:pt x="0" y="0"/>
                    <a:pt x="0" y="0"/>
                  </a:cubicBezTo>
                </a:path>
              </a:pathLst>
            </a:custGeom>
            <a:solidFill>
              <a:srgbClr val="3362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3" name="ïṡlïḋé">
              <a:extLst>
                <a:ext uri="{FF2B5EF4-FFF2-40B4-BE49-F238E27FC236}">
                  <a16:creationId xmlns:a16="http://schemas.microsoft.com/office/drawing/2014/main" id="{1AE2991E-BDA0-4E62-9AAB-9058F0948DBC}"/>
                </a:ext>
              </a:extLst>
            </p:cNvPr>
            <p:cNvSpPr/>
            <p:nvPr/>
          </p:nvSpPr>
          <p:spPr bwMode="auto">
            <a:xfrm>
              <a:off x="6534553" y="2730213"/>
              <a:ext cx="100304" cy="55725"/>
            </a:xfrm>
            <a:custGeom>
              <a:avLst/>
              <a:gdLst>
                <a:gd name="T0" fmla="*/ 1 w 38"/>
                <a:gd name="T1" fmla="*/ 0 h 21"/>
                <a:gd name="T2" fmla="*/ 1 w 38"/>
                <a:gd name="T3" fmla="*/ 1 h 21"/>
                <a:gd name="T4" fmla="*/ 0 w 38"/>
                <a:gd name="T5" fmla="*/ 21 h 21"/>
                <a:gd name="T6" fmla="*/ 31 w 38"/>
                <a:gd name="T7" fmla="*/ 10 h 21"/>
                <a:gd name="T8" fmla="*/ 1 w 38"/>
                <a:gd name="T9" fmla="*/ 0 h 21"/>
              </a:gdLst>
              <a:ahLst/>
              <a:cxnLst>
                <a:cxn ang="0">
                  <a:pos x="T0" y="T1"/>
                </a:cxn>
                <a:cxn ang="0">
                  <a:pos x="T2" y="T3"/>
                </a:cxn>
                <a:cxn ang="0">
                  <a:pos x="T4" y="T5"/>
                </a:cxn>
                <a:cxn ang="0">
                  <a:pos x="T6" y="T7"/>
                </a:cxn>
                <a:cxn ang="0">
                  <a:pos x="T8" y="T9"/>
                </a:cxn>
              </a:cxnLst>
              <a:rect l="0" t="0" r="r" b="b"/>
              <a:pathLst>
                <a:path w="38" h="21">
                  <a:moveTo>
                    <a:pt x="1" y="0"/>
                  </a:moveTo>
                  <a:cubicBezTo>
                    <a:pt x="1" y="0"/>
                    <a:pt x="1" y="1"/>
                    <a:pt x="1" y="1"/>
                  </a:cubicBezTo>
                  <a:cubicBezTo>
                    <a:pt x="0" y="7"/>
                    <a:pt x="0" y="14"/>
                    <a:pt x="0" y="21"/>
                  </a:cubicBezTo>
                  <a:cubicBezTo>
                    <a:pt x="11" y="19"/>
                    <a:pt x="25" y="17"/>
                    <a:pt x="31" y="10"/>
                  </a:cubicBezTo>
                  <a:cubicBezTo>
                    <a:pt x="38" y="2"/>
                    <a:pt x="16" y="0"/>
                    <a:pt x="1"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4" name="îşļiḓé">
              <a:extLst>
                <a:ext uri="{FF2B5EF4-FFF2-40B4-BE49-F238E27FC236}">
                  <a16:creationId xmlns:a16="http://schemas.microsoft.com/office/drawing/2014/main" id="{8B03110F-2B36-4E75-B32C-5A21ADEE107A}"/>
                </a:ext>
              </a:extLst>
            </p:cNvPr>
            <p:cNvSpPr/>
            <p:nvPr/>
          </p:nvSpPr>
          <p:spPr bwMode="auto">
            <a:xfrm>
              <a:off x="6439822" y="2520689"/>
              <a:ext cx="364439" cy="275280"/>
            </a:xfrm>
            <a:custGeom>
              <a:avLst/>
              <a:gdLst>
                <a:gd name="T0" fmla="*/ 80 w 138"/>
                <a:gd name="T1" fmla="*/ 90 h 104"/>
                <a:gd name="T2" fmla="*/ 0 w 138"/>
                <a:gd name="T3" fmla="*/ 81 h 104"/>
                <a:gd name="T4" fmla="*/ 1 w 138"/>
                <a:gd name="T5" fmla="*/ 0 h 104"/>
                <a:gd name="T6" fmla="*/ 97 w 138"/>
                <a:gd name="T7" fmla="*/ 9 h 104"/>
                <a:gd name="T8" fmla="*/ 80 w 138"/>
                <a:gd name="T9" fmla="*/ 90 h 104"/>
              </a:gdLst>
              <a:ahLst/>
              <a:cxnLst>
                <a:cxn ang="0">
                  <a:pos x="T0" y="T1"/>
                </a:cxn>
                <a:cxn ang="0">
                  <a:pos x="T2" y="T3"/>
                </a:cxn>
                <a:cxn ang="0">
                  <a:pos x="T4" y="T5"/>
                </a:cxn>
                <a:cxn ang="0">
                  <a:pos x="T6" y="T7"/>
                </a:cxn>
                <a:cxn ang="0">
                  <a:pos x="T8" y="T9"/>
                </a:cxn>
              </a:cxnLst>
              <a:rect l="0" t="0" r="r" b="b"/>
              <a:pathLst>
                <a:path w="138" h="104">
                  <a:moveTo>
                    <a:pt x="80" y="90"/>
                  </a:moveTo>
                  <a:cubicBezTo>
                    <a:pt x="52" y="104"/>
                    <a:pt x="0" y="81"/>
                    <a:pt x="0" y="81"/>
                  </a:cubicBezTo>
                  <a:cubicBezTo>
                    <a:pt x="1" y="0"/>
                    <a:pt x="1" y="0"/>
                    <a:pt x="1" y="0"/>
                  </a:cubicBezTo>
                  <a:cubicBezTo>
                    <a:pt x="1" y="0"/>
                    <a:pt x="57" y="9"/>
                    <a:pt x="97" y="9"/>
                  </a:cubicBezTo>
                  <a:cubicBezTo>
                    <a:pt x="138" y="8"/>
                    <a:pt x="110" y="75"/>
                    <a:pt x="80" y="9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5" name="iŝlîḋe">
              <a:extLst>
                <a:ext uri="{FF2B5EF4-FFF2-40B4-BE49-F238E27FC236}">
                  <a16:creationId xmlns:a16="http://schemas.microsoft.com/office/drawing/2014/main" id="{7899DAF2-D732-42B8-A75D-59886A52EB18}"/>
                </a:ext>
              </a:extLst>
            </p:cNvPr>
            <p:cNvSpPr/>
            <p:nvPr/>
          </p:nvSpPr>
          <p:spPr bwMode="auto">
            <a:xfrm>
              <a:off x="7231111" y="4836604"/>
              <a:ext cx="213983" cy="124823"/>
            </a:xfrm>
            <a:custGeom>
              <a:avLst/>
              <a:gdLst>
                <a:gd name="T0" fmla="*/ 40 w 192"/>
                <a:gd name="T1" fmla="*/ 112 h 112"/>
                <a:gd name="T2" fmla="*/ 192 w 192"/>
                <a:gd name="T3" fmla="*/ 46 h 112"/>
                <a:gd name="T4" fmla="*/ 173 w 192"/>
                <a:gd name="T5" fmla="*/ 0 h 112"/>
                <a:gd name="T6" fmla="*/ 0 w 192"/>
                <a:gd name="T7" fmla="*/ 57 h 112"/>
                <a:gd name="T8" fmla="*/ 40 w 192"/>
                <a:gd name="T9" fmla="*/ 112 h 112"/>
              </a:gdLst>
              <a:ahLst/>
              <a:cxnLst>
                <a:cxn ang="0">
                  <a:pos x="T0" y="T1"/>
                </a:cxn>
                <a:cxn ang="0">
                  <a:pos x="T2" y="T3"/>
                </a:cxn>
                <a:cxn ang="0">
                  <a:pos x="T4" y="T5"/>
                </a:cxn>
                <a:cxn ang="0">
                  <a:pos x="T6" y="T7"/>
                </a:cxn>
                <a:cxn ang="0">
                  <a:pos x="T8" y="T9"/>
                </a:cxn>
              </a:cxnLst>
              <a:rect l="0" t="0" r="r" b="b"/>
              <a:pathLst>
                <a:path w="192" h="112">
                  <a:moveTo>
                    <a:pt x="40" y="112"/>
                  </a:moveTo>
                  <a:lnTo>
                    <a:pt x="192" y="46"/>
                  </a:lnTo>
                  <a:lnTo>
                    <a:pt x="173" y="0"/>
                  </a:lnTo>
                  <a:lnTo>
                    <a:pt x="0" y="57"/>
                  </a:lnTo>
                  <a:lnTo>
                    <a:pt x="40" y="112"/>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6" name="iṣḻíḋê">
              <a:extLst>
                <a:ext uri="{FF2B5EF4-FFF2-40B4-BE49-F238E27FC236}">
                  <a16:creationId xmlns:a16="http://schemas.microsoft.com/office/drawing/2014/main" id="{ED3BEAA6-A071-43DE-A6DA-0D0D03772B4C}"/>
                </a:ext>
              </a:extLst>
            </p:cNvPr>
            <p:cNvSpPr/>
            <p:nvPr/>
          </p:nvSpPr>
          <p:spPr bwMode="auto">
            <a:xfrm>
              <a:off x="7231111" y="4836604"/>
              <a:ext cx="213983" cy="124823"/>
            </a:xfrm>
            <a:custGeom>
              <a:avLst/>
              <a:gdLst>
                <a:gd name="T0" fmla="*/ 40 w 192"/>
                <a:gd name="T1" fmla="*/ 112 h 112"/>
                <a:gd name="T2" fmla="*/ 192 w 192"/>
                <a:gd name="T3" fmla="*/ 46 h 112"/>
                <a:gd name="T4" fmla="*/ 173 w 192"/>
                <a:gd name="T5" fmla="*/ 0 h 112"/>
                <a:gd name="T6" fmla="*/ 0 w 192"/>
                <a:gd name="T7" fmla="*/ 57 h 112"/>
                <a:gd name="T8" fmla="*/ 40 w 192"/>
                <a:gd name="T9" fmla="*/ 112 h 112"/>
              </a:gdLst>
              <a:ahLst/>
              <a:cxnLst>
                <a:cxn ang="0">
                  <a:pos x="T0" y="T1"/>
                </a:cxn>
                <a:cxn ang="0">
                  <a:pos x="T2" y="T3"/>
                </a:cxn>
                <a:cxn ang="0">
                  <a:pos x="T4" y="T5"/>
                </a:cxn>
                <a:cxn ang="0">
                  <a:pos x="T6" y="T7"/>
                </a:cxn>
                <a:cxn ang="0">
                  <a:pos x="T8" y="T9"/>
                </a:cxn>
              </a:cxnLst>
              <a:rect l="0" t="0" r="r" b="b"/>
              <a:pathLst>
                <a:path w="192" h="112">
                  <a:moveTo>
                    <a:pt x="40" y="112"/>
                  </a:moveTo>
                  <a:lnTo>
                    <a:pt x="192" y="46"/>
                  </a:lnTo>
                  <a:lnTo>
                    <a:pt x="173" y="0"/>
                  </a:lnTo>
                  <a:lnTo>
                    <a:pt x="0" y="57"/>
                  </a:lnTo>
                  <a:lnTo>
                    <a:pt x="40" y="1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7" name="íšḷiďè">
              <a:extLst>
                <a:ext uri="{FF2B5EF4-FFF2-40B4-BE49-F238E27FC236}">
                  <a16:creationId xmlns:a16="http://schemas.microsoft.com/office/drawing/2014/main" id="{4E55A949-E4DE-47B5-A048-90A2F9E2FB75}"/>
                </a:ext>
              </a:extLst>
            </p:cNvPr>
            <p:cNvSpPr/>
            <p:nvPr/>
          </p:nvSpPr>
          <p:spPr bwMode="auto">
            <a:xfrm>
              <a:off x="7231111" y="4836604"/>
              <a:ext cx="213983" cy="124823"/>
            </a:xfrm>
            <a:custGeom>
              <a:avLst/>
              <a:gdLst>
                <a:gd name="T0" fmla="*/ 173 w 192"/>
                <a:gd name="T1" fmla="*/ 0 h 112"/>
                <a:gd name="T2" fmla="*/ 164 w 192"/>
                <a:gd name="T3" fmla="*/ 3 h 112"/>
                <a:gd name="T4" fmla="*/ 23 w 192"/>
                <a:gd name="T5" fmla="*/ 50 h 112"/>
                <a:gd name="T6" fmla="*/ 0 w 192"/>
                <a:gd name="T7" fmla="*/ 57 h 112"/>
                <a:gd name="T8" fmla="*/ 40 w 192"/>
                <a:gd name="T9" fmla="*/ 112 h 112"/>
                <a:gd name="T10" fmla="*/ 192 w 192"/>
                <a:gd name="T11" fmla="*/ 46 h 112"/>
                <a:gd name="T12" fmla="*/ 173 w 19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92" h="112">
                  <a:moveTo>
                    <a:pt x="173" y="0"/>
                  </a:moveTo>
                  <a:lnTo>
                    <a:pt x="164" y="3"/>
                  </a:lnTo>
                  <a:lnTo>
                    <a:pt x="23" y="50"/>
                  </a:lnTo>
                  <a:lnTo>
                    <a:pt x="0" y="57"/>
                  </a:lnTo>
                  <a:lnTo>
                    <a:pt x="40" y="112"/>
                  </a:lnTo>
                  <a:lnTo>
                    <a:pt x="192" y="46"/>
                  </a:lnTo>
                  <a:lnTo>
                    <a:pt x="173" y="0"/>
                  </a:lnTo>
                  <a:close/>
                </a:path>
              </a:pathLst>
            </a:custGeom>
            <a:solidFill>
              <a:srgbClr val="2D5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8" name="iṧḷiḍé">
              <a:extLst>
                <a:ext uri="{FF2B5EF4-FFF2-40B4-BE49-F238E27FC236}">
                  <a16:creationId xmlns:a16="http://schemas.microsoft.com/office/drawing/2014/main" id="{898FDC68-1060-40D9-B6D2-63B827CFF58D}"/>
                </a:ext>
              </a:extLst>
            </p:cNvPr>
            <p:cNvSpPr/>
            <p:nvPr/>
          </p:nvSpPr>
          <p:spPr bwMode="auto">
            <a:xfrm>
              <a:off x="7231111" y="4836604"/>
              <a:ext cx="213983" cy="124823"/>
            </a:xfrm>
            <a:custGeom>
              <a:avLst/>
              <a:gdLst>
                <a:gd name="T0" fmla="*/ 173 w 192"/>
                <a:gd name="T1" fmla="*/ 0 h 112"/>
                <a:gd name="T2" fmla="*/ 164 w 192"/>
                <a:gd name="T3" fmla="*/ 3 h 112"/>
                <a:gd name="T4" fmla="*/ 23 w 192"/>
                <a:gd name="T5" fmla="*/ 50 h 112"/>
                <a:gd name="T6" fmla="*/ 0 w 192"/>
                <a:gd name="T7" fmla="*/ 57 h 112"/>
                <a:gd name="T8" fmla="*/ 40 w 192"/>
                <a:gd name="T9" fmla="*/ 112 h 112"/>
                <a:gd name="T10" fmla="*/ 192 w 192"/>
                <a:gd name="T11" fmla="*/ 46 h 112"/>
                <a:gd name="T12" fmla="*/ 173 w 19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92" h="112">
                  <a:moveTo>
                    <a:pt x="173" y="0"/>
                  </a:moveTo>
                  <a:lnTo>
                    <a:pt x="164" y="3"/>
                  </a:lnTo>
                  <a:lnTo>
                    <a:pt x="23" y="50"/>
                  </a:lnTo>
                  <a:lnTo>
                    <a:pt x="0" y="57"/>
                  </a:lnTo>
                  <a:lnTo>
                    <a:pt x="40" y="112"/>
                  </a:lnTo>
                  <a:lnTo>
                    <a:pt x="192" y="46"/>
                  </a:lnTo>
                  <a:lnTo>
                    <a:pt x="1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9" name="ïŝlïḍé">
              <a:extLst>
                <a:ext uri="{FF2B5EF4-FFF2-40B4-BE49-F238E27FC236}">
                  <a16:creationId xmlns:a16="http://schemas.microsoft.com/office/drawing/2014/main" id="{3E6435D4-B5BD-4FB3-8EB1-AC6A287D37D5}"/>
                </a:ext>
              </a:extLst>
            </p:cNvPr>
            <p:cNvSpPr/>
            <p:nvPr/>
          </p:nvSpPr>
          <p:spPr bwMode="auto">
            <a:xfrm>
              <a:off x="7325843" y="5038328"/>
              <a:ext cx="45695" cy="23405"/>
            </a:xfrm>
            <a:custGeom>
              <a:avLst/>
              <a:gdLst>
                <a:gd name="T0" fmla="*/ 10 w 17"/>
                <a:gd name="T1" fmla="*/ 7 h 9"/>
                <a:gd name="T2" fmla="*/ 17 w 17"/>
                <a:gd name="T3" fmla="*/ 2 h 9"/>
                <a:gd name="T4" fmla="*/ 17 w 17"/>
                <a:gd name="T5" fmla="*/ 1 h 9"/>
                <a:gd name="T6" fmla="*/ 17 w 17"/>
                <a:gd name="T7" fmla="*/ 0 h 9"/>
                <a:gd name="T8" fmla="*/ 1 w 17"/>
                <a:gd name="T9" fmla="*/ 4 h 9"/>
                <a:gd name="T10" fmla="*/ 1 w 17"/>
                <a:gd name="T11" fmla="*/ 6 h 9"/>
                <a:gd name="T12" fmla="*/ 4 w 17"/>
                <a:gd name="T13" fmla="*/ 9 h 9"/>
                <a:gd name="T14" fmla="*/ 10 w 17"/>
                <a:gd name="T15" fmla="*/ 7 h 9"/>
                <a:gd name="T16" fmla="*/ 15 w 17"/>
                <a:gd name="T17" fmla="*/ 2 h 9"/>
                <a:gd name="T18" fmla="*/ 5 w 17"/>
                <a:gd name="T19" fmla="*/ 7 h 9"/>
                <a:gd name="T20" fmla="*/ 2 w 17"/>
                <a:gd name="T21" fmla="*/ 5 h 9"/>
                <a:gd name="T22" fmla="*/ 2 w 17"/>
                <a:gd name="T23" fmla="*/ 4 h 9"/>
                <a:gd name="T24" fmla="*/ 15 w 17"/>
                <a:gd name="T2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9">
                  <a:moveTo>
                    <a:pt x="10" y="7"/>
                  </a:moveTo>
                  <a:cubicBezTo>
                    <a:pt x="13" y="6"/>
                    <a:pt x="15" y="3"/>
                    <a:pt x="17" y="2"/>
                  </a:cubicBezTo>
                  <a:cubicBezTo>
                    <a:pt x="17" y="1"/>
                    <a:pt x="17" y="1"/>
                    <a:pt x="17" y="1"/>
                  </a:cubicBezTo>
                  <a:cubicBezTo>
                    <a:pt x="17" y="0"/>
                    <a:pt x="17" y="0"/>
                    <a:pt x="17" y="0"/>
                  </a:cubicBezTo>
                  <a:cubicBezTo>
                    <a:pt x="15" y="0"/>
                    <a:pt x="3" y="0"/>
                    <a:pt x="1" y="4"/>
                  </a:cubicBezTo>
                  <a:cubicBezTo>
                    <a:pt x="1" y="4"/>
                    <a:pt x="0" y="5"/>
                    <a:pt x="1" y="6"/>
                  </a:cubicBezTo>
                  <a:cubicBezTo>
                    <a:pt x="2" y="8"/>
                    <a:pt x="3" y="9"/>
                    <a:pt x="4" y="9"/>
                  </a:cubicBezTo>
                  <a:cubicBezTo>
                    <a:pt x="6" y="9"/>
                    <a:pt x="8" y="8"/>
                    <a:pt x="10" y="7"/>
                  </a:cubicBezTo>
                  <a:close/>
                  <a:moveTo>
                    <a:pt x="15" y="2"/>
                  </a:moveTo>
                  <a:cubicBezTo>
                    <a:pt x="11" y="6"/>
                    <a:pt x="7" y="8"/>
                    <a:pt x="5" y="7"/>
                  </a:cubicBezTo>
                  <a:cubicBezTo>
                    <a:pt x="4" y="7"/>
                    <a:pt x="3" y="7"/>
                    <a:pt x="2" y="5"/>
                  </a:cubicBezTo>
                  <a:cubicBezTo>
                    <a:pt x="2" y="5"/>
                    <a:pt x="2" y="5"/>
                    <a:pt x="2" y="4"/>
                  </a:cubicBezTo>
                  <a:cubicBezTo>
                    <a:pt x="3" y="3"/>
                    <a:pt x="10" y="2"/>
                    <a:pt x="15" y="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0" name="ïs1îde">
              <a:extLst>
                <a:ext uri="{FF2B5EF4-FFF2-40B4-BE49-F238E27FC236}">
                  <a16:creationId xmlns:a16="http://schemas.microsoft.com/office/drawing/2014/main" id="{A0B27AA1-CCCA-41D6-AF11-5E6A9EA970EC}"/>
                </a:ext>
              </a:extLst>
            </p:cNvPr>
            <p:cNvSpPr/>
            <p:nvPr/>
          </p:nvSpPr>
          <p:spPr bwMode="auto">
            <a:xfrm>
              <a:off x="7331416" y="5017152"/>
              <a:ext cx="40122" cy="26748"/>
            </a:xfrm>
            <a:custGeom>
              <a:avLst/>
              <a:gdLst>
                <a:gd name="T0" fmla="*/ 15 w 15"/>
                <a:gd name="T1" fmla="*/ 10 h 10"/>
                <a:gd name="T2" fmla="*/ 15 w 15"/>
                <a:gd name="T3" fmla="*/ 10 h 10"/>
                <a:gd name="T4" fmla="*/ 15 w 15"/>
                <a:gd name="T5" fmla="*/ 9 h 10"/>
                <a:gd name="T6" fmla="*/ 5 w 15"/>
                <a:gd name="T7" fmla="*/ 0 h 10"/>
                <a:gd name="T8" fmla="*/ 2 w 15"/>
                <a:gd name="T9" fmla="*/ 1 h 10"/>
                <a:gd name="T10" fmla="*/ 0 w 15"/>
                <a:gd name="T11" fmla="*/ 4 h 10"/>
                <a:gd name="T12" fmla="*/ 15 w 15"/>
                <a:gd name="T13" fmla="*/ 10 h 10"/>
                <a:gd name="T14" fmla="*/ 3 w 15"/>
                <a:gd name="T15" fmla="*/ 2 h 10"/>
                <a:gd name="T16" fmla="*/ 5 w 15"/>
                <a:gd name="T17" fmla="*/ 2 h 10"/>
                <a:gd name="T18" fmla="*/ 13 w 15"/>
                <a:gd name="T19" fmla="*/ 8 h 10"/>
                <a:gd name="T20" fmla="*/ 2 w 15"/>
                <a:gd name="T21" fmla="*/ 3 h 10"/>
                <a:gd name="T22" fmla="*/ 2 w 15"/>
                <a:gd name="T23" fmla="*/ 2 h 10"/>
                <a:gd name="T24" fmla="*/ 3 w 15"/>
                <a:gd name="T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0">
                  <a:moveTo>
                    <a:pt x="15" y="10"/>
                  </a:moveTo>
                  <a:cubicBezTo>
                    <a:pt x="15" y="10"/>
                    <a:pt x="15" y="10"/>
                    <a:pt x="15" y="10"/>
                  </a:cubicBezTo>
                  <a:cubicBezTo>
                    <a:pt x="15" y="9"/>
                    <a:pt x="15" y="9"/>
                    <a:pt x="15" y="9"/>
                  </a:cubicBezTo>
                  <a:cubicBezTo>
                    <a:pt x="15" y="8"/>
                    <a:pt x="10" y="1"/>
                    <a:pt x="5" y="0"/>
                  </a:cubicBezTo>
                  <a:cubicBezTo>
                    <a:pt x="4" y="0"/>
                    <a:pt x="2" y="0"/>
                    <a:pt x="2" y="1"/>
                  </a:cubicBezTo>
                  <a:cubicBezTo>
                    <a:pt x="0" y="2"/>
                    <a:pt x="0" y="3"/>
                    <a:pt x="0" y="4"/>
                  </a:cubicBezTo>
                  <a:cubicBezTo>
                    <a:pt x="2" y="7"/>
                    <a:pt x="11" y="10"/>
                    <a:pt x="15" y="10"/>
                  </a:cubicBezTo>
                  <a:close/>
                  <a:moveTo>
                    <a:pt x="3" y="2"/>
                  </a:moveTo>
                  <a:cubicBezTo>
                    <a:pt x="3" y="2"/>
                    <a:pt x="4" y="2"/>
                    <a:pt x="5" y="2"/>
                  </a:cubicBezTo>
                  <a:cubicBezTo>
                    <a:pt x="8" y="2"/>
                    <a:pt x="11" y="6"/>
                    <a:pt x="13" y="8"/>
                  </a:cubicBezTo>
                  <a:cubicBezTo>
                    <a:pt x="9" y="8"/>
                    <a:pt x="3" y="5"/>
                    <a:pt x="2" y="3"/>
                  </a:cubicBezTo>
                  <a:cubicBezTo>
                    <a:pt x="2" y="3"/>
                    <a:pt x="2" y="3"/>
                    <a:pt x="2" y="2"/>
                  </a:cubicBezTo>
                  <a:lnTo>
                    <a:pt x="3" y="2"/>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29295090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68"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normAutofit/>
          </a:bodyPr>
          <a:lstStyle/>
          <a:p>
            <a:r>
              <a:rPr lang="zh-CN" altLang="en-US" sz="6000" dirty="0"/>
              <a:t>感谢</a:t>
            </a:r>
            <a:br>
              <a:rPr lang="en-US" altLang="zh-CN" dirty="0"/>
            </a:br>
            <a:r>
              <a:rPr lang="zh-CN" altLang="en-US" dirty="0"/>
              <a:t>各位同事的聆听</a:t>
            </a:r>
          </a:p>
        </p:txBody>
      </p:sp>
    </p:spTree>
    <p:custDataLst>
      <p:tags r:id="rId2"/>
    </p:custDataLst>
    <p:extLst>
      <p:ext uri="{BB962C8B-B14F-4D97-AF65-F5344CB8AC3E}">
        <p14:creationId xmlns:p14="http://schemas.microsoft.com/office/powerpoint/2010/main" val="39029731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nSpc>
                <a:spcPct val="120000"/>
              </a:lnSpc>
            </a:pPr>
            <a:r>
              <a:rPr lang="en-US" altLang="zh-CN" dirty="0">
                <a:latin typeface="+mn-lt"/>
                <a:ea typeface="+mn-ea"/>
                <a:cs typeface="+mn-ea"/>
                <a:sym typeface="+mn-lt"/>
              </a:rPr>
              <a:t>Java</a:t>
            </a:r>
            <a:r>
              <a:rPr lang="zh-CN" altLang="en-US" dirty="0">
                <a:latin typeface="+mn-lt"/>
                <a:ea typeface="+mn-ea"/>
                <a:cs typeface="+mn-ea"/>
                <a:sym typeface="+mn-lt"/>
              </a:rPr>
              <a:t>集合类</a:t>
            </a:r>
          </a:p>
        </p:txBody>
      </p:sp>
      <p:pic>
        <p:nvPicPr>
          <p:cNvPr id="4" name="内容占位符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38200" y="1828070"/>
            <a:ext cx="10515600" cy="4346448"/>
          </a:xfrm>
        </p:spPr>
      </p:pic>
    </p:spTree>
    <p:extLst>
      <p:ext uri="{BB962C8B-B14F-4D97-AF65-F5344CB8AC3E}">
        <p14:creationId xmlns:p14="http://schemas.microsoft.com/office/powerpoint/2010/main" val="21951635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C3E467B-35D3-4A96-8728-0973E15C9997}"/>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 </a:t>
            </a:r>
            <a:r>
              <a:rPr lang="zh-CN" altLang="en-US" dirty="0">
                <a:latin typeface="+mn-lt"/>
                <a:ea typeface="+mn-ea"/>
                <a:cs typeface="+mn-ea"/>
                <a:sym typeface="+mn-lt"/>
              </a:rPr>
              <a:t>流</a:t>
            </a:r>
            <a:r>
              <a:rPr lang="en-US" altLang="zh-CN" dirty="0">
                <a:latin typeface="+mn-lt"/>
                <a:ea typeface="+mn-ea"/>
                <a:cs typeface="+mn-ea"/>
                <a:sym typeface="+mn-lt"/>
              </a:rPr>
              <a:t>(Stream)</a:t>
            </a:r>
            <a:r>
              <a:rPr lang="en-US" altLang="zh-CN" baseline="30000" dirty="0">
                <a:latin typeface="+mn-lt"/>
                <a:ea typeface="+mn-ea"/>
                <a:cs typeface="+mn-ea"/>
                <a:sym typeface="+mn-lt"/>
              </a:rPr>
              <a:t>[1]</a:t>
            </a:r>
            <a:endParaRPr lang="zh-CN" altLang="en-US" dirty="0">
              <a:latin typeface="+mn-lt"/>
              <a:ea typeface="+mn-ea"/>
              <a:cs typeface="+mn-ea"/>
              <a:sym typeface="+mn-lt"/>
            </a:endParaRPr>
          </a:p>
        </p:txBody>
      </p:sp>
      <p:pic>
        <p:nvPicPr>
          <p:cNvPr id="5" name="内容占位符 4">
            <a:extLst>
              <a:ext uri="{FF2B5EF4-FFF2-40B4-BE49-F238E27FC236}">
                <a16:creationId xmlns:a16="http://schemas.microsoft.com/office/drawing/2014/main" id="{3E2A5C62-6F70-42A6-A695-E29CB76F7856}"/>
              </a:ext>
            </a:extLst>
          </p:cNvPr>
          <p:cNvPicPr>
            <a:picLocks noGrp="1" noChangeAspect="1"/>
          </p:cNvPicPr>
          <p:nvPr>
            <p:ph idx="1"/>
          </p:nvPr>
        </p:nvPicPr>
        <p:blipFill>
          <a:blip r:embed="rId3"/>
          <a:stretch>
            <a:fillRect/>
          </a:stretch>
        </p:blipFill>
        <p:spPr>
          <a:xfrm>
            <a:off x="1333500" y="2310606"/>
            <a:ext cx="9525000" cy="338137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347895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89083F1-92E9-4F0A-89B6-C1D40DA40F17}"/>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1 </a:t>
            </a:r>
            <a:r>
              <a:rPr lang="zh-CN" altLang="en-US" dirty="0">
                <a:latin typeface="+mn-lt"/>
                <a:ea typeface="+mn-ea"/>
                <a:cs typeface="+mn-ea"/>
                <a:sym typeface="+mn-lt"/>
              </a:rPr>
              <a:t>特点</a:t>
            </a:r>
          </a:p>
        </p:txBody>
      </p:sp>
      <p:sp>
        <p:nvSpPr>
          <p:cNvPr id="3" name="内容占位符 2">
            <a:extLst>
              <a:ext uri="{FF2B5EF4-FFF2-40B4-BE49-F238E27FC236}">
                <a16:creationId xmlns:a16="http://schemas.microsoft.com/office/drawing/2014/main" id="{8B2D6239-9011-4228-B8CC-25278FE09C71}"/>
              </a:ext>
            </a:extLst>
          </p:cNvPr>
          <p:cNvSpPr>
            <a:spLocks noGrp="1"/>
          </p:cNvSpPr>
          <p:nvPr>
            <p:ph idx="1"/>
          </p:nvPr>
        </p:nvSpPr>
        <p:spPr/>
        <p:txBody>
          <a:bodyPr>
            <a:normAutofit/>
          </a:bodyPr>
          <a:lstStyle/>
          <a:p>
            <a:pPr>
              <a:lnSpc>
                <a:spcPct val="120000"/>
              </a:lnSpc>
              <a:spcBef>
                <a:spcPts val="0"/>
              </a:spcBef>
            </a:pPr>
            <a:r>
              <a:rPr lang="zh-CN" altLang="en-US" b="1" dirty="0">
                <a:cs typeface="+mn-ea"/>
                <a:sym typeface="+mn-lt"/>
              </a:rPr>
              <a:t>无存储：</a:t>
            </a:r>
            <a:r>
              <a:rPr lang="en-US" altLang="zh-CN" dirty="0">
                <a:cs typeface="+mn-ea"/>
                <a:sym typeface="+mn-lt"/>
              </a:rPr>
              <a:t>stream</a:t>
            </a:r>
            <a:r>
              <a:rPr lang="zh-CN" altLang="en-US" dirty="0">
                <a:cs typeface="+mn-ea"/>
                <a:sym typeface="+mn-lt"/>
              </a:rPr>
              <a:t>不是一种数据结构，它只是某种数据源的一个视图，数据源可以是一个数组，</a:t>
            </a:r>
            <a:r>
              <a:rPr lang="en-US" altLang="zh-CN" dirty="0">
                <a:cs typeface="+mn-ea"/>
                <a:sym typeface="+mn-lt"/>
              </a:rPr>
              <a:t>Java</a:t>
            </a:r>
            <a:r>
              <a:rPr lang="zh-CN" altLang="en-US" dirty="0">
                <a:cs typeface="+mn-ea"/>
                <a:sym typeface="+mn-lt"/>
              </a:rPr>
              <a:t>容器或</a:t>
            </a:r>
            <a:r>
              <a:rPr lang="en-US" altLang="zh-CN" dirty="0">
                <a:cs typeface="+mn-ea"/>
                <a:sym typeface="+mn-lt"/>
              </a:rPr>
              <a:t>I/O channel</a:t>
            </a:r>
            <a:r>
              <a:rPr lang="zh-CN" altLang="en-US" dirty="0">
                <a:cs typeface="+mn-ea"/>
                <a:sym typeface="+mn-lt"/>
              </a:rPr>
              <a:t>等。</a:t>
            </a:r>
          </a:p>
          <a:p>
            <a:pPr>
              <a:lnSpc>
                <a:spcPct val="120000"/>
              </a:lnSpc>
              <a:spcBef>
                <a:spcPts val="0"/>
              </a:spcBef>
            </a:pPr>
            <a:r>
              <a:rPr lang="zh-CN" altLang="en-US" b="1" dirty="0">
                <a:cs typeface="+mn-ea"/>
                <a:sym typeface="+mn-lt"/>
              </a:rPr>
              <a:t>为函数式编程而生：</a:t>
            </a:r>
            <a:r>
              <a:rPr lang="zh-CN" altLang="en-US" dirty="0">
                <a:cs typeface="+mn-ea"/>
                <a:sym typeface="+mn-lt"/>
              </a:rPr>
              <a:t>对</a:t>
            </a:r>
            <a:r>
              <a:rPr lang="en-US" altLang="zh-CN" dirty="0">
                <a:cs typeface="+mn-ea"/>
                <a:sym typeface="+mn-lt"/>
              </a:rPr>
              <a:t>stream</a:t>
            </a:r>
            <a:r>
              <a:rPr lang="zh-CN" altLang="en-US" dirty="0">
                <a:cs typeface="+mn-ea"/>
                <a:sym typeface="+mn-lt"/>
              </a:rPr>
              <a:t>的任何修改都不会修改背后的数据源，比如对</a:t>
            </a:r>
            <a:r>
              <a:rPr lang="en-US" altLang="zh-CN" dirty="0">
                <a:cs typeface="+mn-ea"/>
                <a:sym typeface="+mn-lt"/>
              </a:rPr>
              <a:t>stream</a:t>
            </a:r>
            <a:r>
              <a:rPr lang="zh-CN" altLang="en-US" dirty="0">
                <a:cs typeface="+mn-ea"/>
                <a:sym typeface="+mn-lt"/>
              </a:rPr>
              <a:t>执行过滤操作并不会删除被过滤的元素，而是会产生一个不包含被过滤元素的新</a:t>
            </a:r>
            <a:r>
              <a:rPr lang="en-US" altLang="zh-CN" dirty="0">
                <a:cs typeface="+mn-ea"/>
                <a:sym typeface="+mn-lt"/>
              </a:rPr>
              <a:t>stream</a:t>
            </a:r>
            <a:r>
              <a:rPr lang="zh-CN" altLang="en-US" dirty="0">
                <a:cs typeface="+mn-ea"/>
                <a:sym typeface="+mn-lt"/>
              </a:rPr>
              <a:t>。</a:t>
            </a:r>
          </a:p>
          <a:p>
            <a:pPr>
              <a:lnSpc>
                <a:spcPct val="120000"/>
              </a:lnSpc>
              <a:spcBef>
                <a:spcPts val="0"/>
              </a:spcBef>
            </a:pPr>
            <a:r>
              <a:rPr lang="zh-CN" altLang="en-US" b="1" dirty="0">
                <a:cs typeface="+mn-ea"/>
                <a:sym typeface="+mn-lt"/>
              </a:rPr>
              <a:t>惰式执行：</a:t>
            </a:r>
            <a:r>
              <a:rPr lang="en-US" altLang="zh-CN" dirty="0">
                <a:cs typeface="+mn-ea"/>
                <a:sym typeface="+mn-lt"/>
              </a:rPr>
              <a:t>stream</a:t>
            </a:r>
            <a:r>
              <a:rPr lang="zh-CN" altLang="en-US" dirty="0">
                <a:cs typeface="+mn-ea"/>
                <a:sym typeface="+mn-lt"/>
              </a:rPr>
              <a:t>上的操作并不会立即执行，只有等到用户真正需要结果的时候才会执行。</a:t>
            </a:r>
          </a:p>
          <a:p>
            <a:pPr>
              <a:lnSpc>
                <a:spcPct val="120000"/>
              </a:lnSpc>
              <a:spcBef>
                <a:spcPts val="0"/>
              </a:spcBef>
            </a:pPr>
            <a:r>
              <a:rPr lang="zh-CN" altLang="en-US" b="1" dirty="0">
                <a:cs typeface="+mn-ea"/>
                <a:sym typeface="+mn-lt"/>
              </a:rPr>
              <a:t>可消费性：</a:t>
            </a:r>
            <a:r>
              <a:rPr lang="en-US" altLang="zh-CN" dirty="0">
                <a:cs typeface="+mn-ea"/>
                <a:sym typeface="+mn-lt"/>
              </a:rPr>
              <a:t>stream</a:t>
            </a:r>
            <a:r>
              <a:rPr lang="zh-CN" altLang="en-US" dirty="0">
                <a:cs typeface="+mn-ea"/>
                <a:sym typeface="+mn-lt"/>
              </a:rPr>
              <a:t>只能被“消费”一次，一旦遍历过就会失效，就像容器的迭代器那样，想要再次遍历必须重新生成。</a:t>
            </a:r>
          </a:p>
          <a:p>
            <a:pPr>
              <a:lnSpc>
                <a:spcPct val="120000"/>
              </a:lnSpc>
              <a:spcBef>
                <a:spcPts val="0"/>
              </a:spcBef>
            </a:pPr>
            <a:endParaRPr lang="zh-CN" altLang="en-US" dirty="0">
              <a:cs typeface="+mn-ea"/>
              <a:sym typeface="+mn-lt"/>
            </a:endParaRPr>
          </a:p>
        </p:txBody>
      </p:sp>
    </p:spTree>
    <p:extLst>
      <p:ext uri="{BB962C8B-B14F-4D97-AF65-F5344CB8AC3E}">
        <p14:creationId xmlns:p14="http://schemas.microsoft.com/office/powerpoint/2010/main" val="14663029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B09C801-3156-46C8-8F16-1E2FC5EEC00B}"/>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1 </a:t>
            </a:r>
            <a:r>
              <a:rPr lang="zh-CN" altLang="en-US" dirty="0">
                <a:latin typeface="+mn-lt"/>
                <a:ea typeface="+mn-ea"/>
                <a:cs typeface="+mn-ea"/>
                <a:sym typeface="+mn-lt"/>
              </a:rPr>
              <a:t>创建流</a:t>
            </a:r>
            <a:r>
              <a:rPr lang="en-US" altLang="zh-CN" baseline="30000" dirty="0">
                <a:latin typeface="+mn-lt"/>
                <a:ea typeface="+mn-ea"/>
                <a:cs typeface="+mn-ea"/>
                <a:sym typeface="+mn-lt"/>
              </a:rPr>
              <a:t>[1]</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2522E623-176A-44A3-BC1E-6BD2CBD8C96C}"/>
              </a:ext>
            </a:extLst>
          </p:cNvPr>
          <p:cNvSpPr>
            <a:spLocks noGrp="1"/>
          </p:cNvSpPr>
          <p:nvPr>
            <p:ph idx="1"/>
          </p:nvPr>
        </p:nvSpPr>
        <p:spPr/>
        <p:txBody>
          <a:bodyPr/>
          <a:lstStyle/>
          <a:p>
            <a:pPr>
              <a:lnSpc>
                <a:spcPct val="120000"/>
              </a:lnSpc>
              <a:spcBef>
                <a:spcPts val="0"/>
              </a:spcBef>
            </a:pPr>
            <a:r>
              <a:rPr lang="en-US" altLang="zh-CN" dirty="0">
                <a:cs typeface="+mn-ea"/>
                <a:sym typeface="+mn-lt"/>
              </a:rPr>
              <a:t>1</a:t>
            </a:r>
            <a:r>
              <a:rPr lang="zh-CN" altLang="en-US" dirty="0">
                <a:cs typeface="+mn-ea"/>
                <a:sym typeface="+mn-lt"/>
              </a:rPr>
              <a:t>、将一组元素转化为流：</a:t>
            </a:r>
            <a:r>
              <a:rPr lang="en-US" altLang="zh-CN" dirty="0" err="1">
                <a:cs typeface="+mn-ea"/>
                <a:sym typeface="+mn-lt"/>
              </a:rPr>
              <a:t>Stream.of</a:t>
            </a:r>
            <a:r>
              <a:rPr lang="en-US" altLang="zh-CN" dirty="0">
                <a:cs typeface="+mn-ea"/>
                <a:sym typeface="+mn-lt"/>
              </a:rPr>
              <a:t>()</a:t>
            </a:r>
            <a:r>
              <a:rPr lang="en-US" altLang="zh-CN" baseline="30000" dirty="0">
                <a:cs typeface="+mn-ea"/>
                <a:sym typeface="+mn-lt"/>
              </a:rPr>
              <a:t>[2]</a:t>
            </a:r>
          </a:p>
          <a:p>
            <a:pPr>
              <a:lnSpc>
                <a:spcPct val="120000"/>
              </a:lnSpc>
              <a:spcBef>
                <a:spcPts val="0"/>
              </a:spcBef>
            </a:pPr>
            <a:r>
              <a:rPr lang="en-US" altLang="zh-CN" dirty="0">
                <a:cs typeface="+mn-ea"/>
                <a:sym typeface="+mn-lt"/>
              </a:rPr>
              <a:t>2</a:t>
            </a:r>
            <a:r>
              <a:rPr lang="zh-CN" altLang="en-US" dirty="0">
                <a:cs typeface="+mn-ea"/>
                <a:sym typeface="+mn-lt"/>
              </a:rPr>
              <a:t>、集合转化为流：</a:t>
            </a:r>
            <a:r>
              <a:rPr lang="en-US" altLang="zh-CN" dirty="0">
                <a:cs typeface="+mn-ea"/>
                <a:sym typeface="+mn-lt"/>
              </a:rPr>
              <a:t>stream()</a:t>
            </a:r>
          </a:p>
          <a:p>
            <a:pPr>
              <a:lnSpc>
                <a:spcPct val="120000"/>
              </a:lnSpc>
              <a:spcBef>
                <a:spcPts val="0"/>
              </a:spcBef>
            </a:pPr>
            <a:r>
              <a:rPr lang="en-US" altLang="zh-CN" dirty="0">
                <a:cs typeface="+mn-ea"/>
                <a:sym typeface="+mn-lt"/>
              </a:rPr>
              <a:t>3</a:t>
            </a:r>
            <a:r>
              <a:rPr lang="zh-CN" altLang="en-US" dirty="0">
                <a:cs typeface="+mn-ea"/>
                <a:sym typeface="+mn-lt"/>
              </a:rPr>
              <a:t>、生成整型范围的流：</a:t>
            </a:r>
            <a:r>
              <a:rPr lang="en-US" altLang="zh-CN" dirty="0" err="1">
                <a:cs typeface="+mn-ea"/>
                <a:sym typeface="+mn-lt"/>
              </a:rPr>
              <a:t>IntStream.range</a:t>
            </a:r>
            <a:r>
              <a:rPr lang="en-US" altLang="zh-CN" dirty="0">
                <a:cs typeface="+mn-ea"/>
                <a:sym typeface="+mn-lt"/>
              </a:rPr>
              <a:t>()</a:t>
            </a:r>
          </a:p>
          <a:p>
            <a:pPr>
              <a:lnSpc>
                <a:spcPct val="120000"/>
              </a:lnSpc>
              <a:spcBef>
                <a:spcPts val="0"/>
              </a:spcBef>
            </a:pPr>
            <a:r>
              <a:rPr lang="en-US" altLang="zh-CN" dirty="0">
                <a:cs typeface="+mn-ea"/>
                <a:sym typeface="+mn-lt"/>
              </a:rPr>
              <a:t>4</a:t>
            </a:r>
            <a:r>
              <a:rPr lang="zh-CN" altLang="en-US" dirty="0">
                <a:cs typeface="+mn-ea"/>
                <a:sym typeface="+mn-lt"/>
              </a:rPr>
              <a:t>、使用</a:t>
            </a:r>
            <a:r>
              <a:rPr lang="en-US" altLang="zh-CN" dirty="0" err="1">
                <a:cs typeface="+mn-ea"/>
                <a:sym typeface="+mn-lt"/>
              </a:rPr>
              <a:t>Stream.generate</a:t>
            </a:r>
            <a:r>
              <a:rPr lang="en-US" altLang="zh-CN" dirty="0">
                <a:cs typeface="+mn-ea"/>
                <a:sym typeface="+mn-lt"/>
              </a:rPr>
              <a:t>()</a:t>
            </a:r>
            <a:r>
              <a:rPr lang="zh-CN" altLang="en-US" dirty="0">
                <a:cs typeface="+mn-ea"/>
                <a:sym typeface="+mn-lt"/>
              </a:rPr>
              <a:t>生成</a:t>
            </a:r>
            <a:endParaRPr lang="en-US" altLang="zh-CN" dirty="0">
              <a:cs typeface="+mn-ea"/>
              <a:sym typeface="+mn-lt"/>
            </a:endParaRPr>
          </a:p>
          <a:p>
            <a:pPr>
              <a:lnSpc>
                <a:spcPct val="120000"/>
              </a:lnSpc>
              <a:spcBef>
                <a:spcPts val="0"/>
              </a:spcBef>
            </a:pPr>
            <a:r>
              <a:rPr lang="en-US" altLang="zh-CN" dirty="0">
                <a:cs typeface="+mn-ea"/>
                <a:sym typeface="+mn-lt"/>
              </a:rPr>
              <a:t>5</a:t>
            </a:r>
            <a:r>
              <a:rPr lang="zh-CN" altLang="en-US" dirty="0">
                <a:cs typeface="+mn-ea"/>
                <a:sym typeface="+mn-lt"/>
              </a:rPr>
              <a:t>、使用</a:t>
            </a:r>
            <a:r>
              <a:rPr lang="en-US" altLang="zh-CN" dirty="0" err="1">
                <a:cs typeface="+mn-ea"/>
                <a:sym typeface="+mn-lt"/>
              </a:rPr>
              <a:t>Stream.iterate</a:t>
            </a:r>
            <a:r>
              <a:rPr lang="en-US" altLang="zh-CN" dirty="0">
                <a:cs typeface="+mn-ea"/>
                <a:sym typeface="+mn-lt"/>
              </a:rPr>
              <a:t>()</a:t>
            </a:r>
            <a:r>
              <a:rPr lang="zh-CN" altLang="en-US" dirty="0">
                <a:cs typeface="+mn-ea"/>
                <a:sym typeface="+mn-lt"/>
              </a:rPr>
              <a:t>生成</a:t>
            </a:r>
            <a:endParaRPr lang="en-US" altLang="zh-CN" dirty="0">
              <a:cs typeface="+mn-ea"/>
              <a:sym typeface="+mn-lt"/>
            </a:endParaRPr>
          </a:p>
          <a:p>
            <a:pPr marL="0" indent="0">
              <a:lnSpc>
                <a:spcPct val="120000"/>
              </a:lnSpc>
              <a:spcBef>
                <a:spcPts val="0"/>
              </a:spcBef>
              <a:buNone/>
            </a:pPr>
            <a:endParaRPr lang="zh-CN" altLang="en-US" dirty="0">
              <a:cs typeface="+mn-ea"/>
              <a:sym typeface="+mn-lt"/>
            </a:endParaRPr>
          </a:p>
        </p:txBody>
      </p:sp>
    </p:spTree>
    <p:extLst>
      <p:ext uri="{BB962C8B-B14F-4D97-AF65-F5344CB8AC3E}">
        <p14:creationId xmlns:p14="http://schemas.microsoft.com/office/powerpoint/2010/main" val="563564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79C08D4-4C7C-449B-BA5F-6F78497E1F86}"/>
              </a:ext>
            </a:extLst>
          </p:cNvPr>
          <p:cNvSpPr>
            <a:spLocks noGrp="1"/>
          </p:cNvSpPr>
          <p:nvPr>
            <p:ph type="title"/>
          </p:nvPr>
        </p:nvSpPr>
        <p:spPr/>
        <p:txBody>
          <a:bodyPr/>
          <a:lstStyle/>
          <a:p>
            <a:r>
              <a:rPr lang="zh-CN" altLang="en-US" dirty="0"/>
              <a:t>为什么要讲函数式编程</a:t>
            </a:r>
            <a:r>
              <a:rPr lang="en-US" altLang="zh-CN" dirty="0"/>
              <a:t>?</a:t>
            </a:r>
            <a:endParaRPr lang="zh-CN" altLang="en-US" dirty="0"/>
          </a:p>
        </p:txBody>
      </p:sp>
      <p:sp>
        <p:nvSpPr>
          <p:cNvPr id="3" name="页脚占位符 2">
            <a:extLst>
              <a:ext uri="{FF2B5EF4-FFF2-40B4-BE49-F238E27FC236}">
                <a16:creationId xmlns:a16="http://schemas.microsoft.com/office/drawing/2014/main" id="{533C0E7E-AC4F-44DD-B0AE-29EA7ABD613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674BDC87-7D65-4D21-9203-23BE69C8381D}"/>
              </a:ext>
            </a:extLst>
          </p:cNvPr>
          <p:cNvSpPr>
            <a:spLocks noGrp="1"/>
          </p:cNvSpPr>
          <p:nvPr>
            <p:ph type="sldNum" sz="quarter" idx="12"/>
          </p:nvPr>
        </p:nvSpPr>
        <p:spPr/>
        <p:txBody>
          <a:bodyPr/>
          <a:lstStyle/>
          <a:p>
            <a:fld id="{5DD3DB80-B894-403A-B48E-6FDC1A72010E}" type="slidenum">
              <a:rPr lang="zh-CN" altLang="en-US" smtClean="0"/>
              <a:pPr/>
              <a:t>3</a:t>
            </a:fld>
            <a:endParaRPr lang="zh-CN" altLang="en-US"/>
          </a:p>
        </p:txBody>
      </p:sp>
      <p:grpSp>
        <p:nvGrpSpPr>
          <p:cNvPr id="5" name="#23476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127A2E1-FEB5-4ECF-9238-5E4CB13AD520}"/>
              </a:ext>
            </a:extLst>
          </p:cNvPr>
          <p:cNvGrpSpPr>
            <a:grpSpLocks noChangeAspect="1"/>
          </p:cNvGrpSpPr>
          <p:nvPr>
            <p:custDataLst>
              <p:tags r:id="rId2"/>
            </p:custDataLst>
          </p:nvPr>
        </p:nvGrpSpPr>
        <p:grpSpPr>
          <a:xfrm>
            <a:off x="673100" y="1130300"/>
            <a:ext cx="10422507" cy="4645648"/>
            <a:chOff x="673100" y="1130300"/>
            <a:chExt cx="10422507" cy="4645648"/>
          </a:xfrm>
        </p:grpSpPr>
        <p:grpSp>
          <p:nvGrpSpPr>
            <p:cNvPr id="6" name="iṣľiḑé">
              <a:extLst>
                <a:ext uri="{FF2B5EF4-FFF2-40B4-BE49-F238E27FC236}">
                  <a16:creationId xmlns:a16="http://schemas.microsoft.com/office/drawing/2014/main" id="{2446F6E8-2FB7-4CF3-BA6B-DDECF060A592}"/>
                </a:ext>
              </a:extLst>
            </p:cNvPr>
            <p:cNvGrpSpPr/>
            <p:nvPr/>
          </p:nvGrpSpPr>
          <p:grpSpPr>
            <a:xfrm>
              <a:off x="673100" y="1130300"/>
              <a:ext cx="4665826" cy="4645648"/>
              <a:chOff x="673100" y="1130300"/>
              <a:chExt cx="4665826" cy="4645648"/>
            </a:xfrm>
          </p:grpSpPr>
          <p:sp>
            <p:nvSpPr>
              <p:cNvPr id="29" name="ïŝ1ïḋè">
                <a:extLst>
                  <a:ext uri="{FF2B5EF4-FFF2-40B4-BE49-F238E27FC236}">
                    <a16:creationId xmlns:a16="http://schemas.microsoft.com/office/drawing/2014/main" id="{3043AA4F-991B-4F7E-9C22-3E9C1095987C}"/>
                  </a:ext>
                </a:extLst>
              </p:cNvPr>
              <p:cNvSpPr/>
              <p:nvPr/>
            </p:nvSpPr>
            <p:spPr bwMode="auto">
              <a:xfrm>
                <a:off x="1944851" y="2345847"/>
                <a:ext cx="2122324" cy="2386004"/>
              </a:xfrm>
              <a:custGeom>
                <a:avLst/>
                <a:gdLst>
                  <a:gd name="T0" fmla="*/ 1686 w 2660"/>
                  <a:gd name="T1" fmla="*/ 1674 h 2999"/>
                  <a:gd name="T2" fmla="*/ 2148 w 2660"/>
                  <a:gd name="T3" fmla="*/ 77 h 2999"/>
                  <a:gd name="T4" fmla="*/ 1434 w 2660"/>
                  <a:gd name="T5" fmla="*/ 1601 h 2999"/>
                  <a:gd name="T6" fmla="*/ 667 w 2660"/>
                  <a:gd name="T7" fmla="*/ 786 h 2999"/>
                  <a:gd name="T8" fmla="*/ 102 w 2660"/>
                  <a:gd name="T9" fmla="*/ 244 h 2999"/>
                  <a:gd name="T10" fmla="*/ 676 w 2660"/>
                  <a:gd name="T11" fmla="*/ 1297 h 2999"/>
                  <a:gd name="T12" fmla="*/ 148 w 2660"/>
                  <a:gd name="T13" fmla="*/ 1717 h 2999"/>
                  <a:gd name="T14" fmla="*/ 908 w 2660"/>
                  <a:gd name="T15" fmla="*/ 2491 h 2999"/>
                  <a:gd name="T16" fmla="*/ 1640 w 2660"/>
                  <a:gd name="T17" fmla="*/ 2799 h 2999"/>
                  <a:gd name="T18" fmla="*/ 2397 w 2660"/>
                  <a:gd name="T19" fmla="*/ 1822 h 2999"/>
                  <a:gd name="T20" fmla="*/ 1584 w 2660"/>
                  <a:gd name="T21" fmla="*/ 2506 h 2999"/>
                  <a:gd name="T22" fmla="*/ 950 w 2660"/>
                  <a:gd name="T23" fmla="*/ 1988 h 2999"/>
                  <a:gd name="T24" fmla="*/ 30 w 2660"/>
                  <a:gd name="T25" fmla="*/ 1025 h 2999"/>
                  <a:gd name="T26" fmla="*/ 530 w 2660"/>
                  <a:gd name="T27" fmla="*/ 1387 h 2999"/>
                  <a:gd name="T28" fmla="*/ 442 w 2660"/>
                  <a:gd name="T29" fmla="*/ 1901 h 2999"/>
                  <a:gd name="T30" fmla="*/ 919 w 2660"/>
                  <a:gd name="T31" fmla="*/ 1659 h 2999"/>
                  <a:gd name="T32" fmla="*/ 731 w 2660"/>
                  <a:gd name="T33" fmla="*/ 1603 h 2999"/>
                  <a:gd name="T34" fmla="*/ 768 w 2660"/>
                  <a:gd name="T35" fmla="*/ 1883 h 2999"/>
                  <a:gd name="T36" fmla="*/ 222 w 2660"/>
                  <a:gd name="T37" fmla="*/ 1425 h 2999"/>
                  <a:gd name="T38" fmla="*/ 661 w 2660"/>
                  <a:gd name="T39" fmla="*/ 1318 h 2999"/>
                  <a:gd name="T40" fmla="*/ 362 w 2660"/>
                  <a:gd name="T41" fmla="*/ 1598 h 2999"/>
                  <a:gd name="T42" fmla="*/ 706 w 2660"/>
                  <a:gd name="T43" fmla="*/ 1939 h 2999"/>
                  <a:gd name="T44" fmla="*/ 1660 w 2660"/>
                  <a:gd name="T45" fmla="*/ 1248 h 2999"/>
                  <a:gd name="T46" fmla="*/ 2344 w 2660"/>
                  <a:gd name="T47" fmla="*/ 1093 h 2999"/>
                  <a:gd name="T48" fmla="*/ 2213 w 2660"/>
                  <a:gd name="T49" fmla="*/ 1780 h 2999"/>
                  <a:gd name="T50" fmla="*/ 1729 w 2660"/>
                  <a:gd name="T51" fmla="*/ 1671 h 2999"/>
                  <a:gd name="T52" fmla="*/ 2396 w 2660"/>
                  <a:gd name="T53" fmla="*/ 1198 h 2999"/>
                  <a:gd name="T54" fmla="*/ 2311 w 2660"/>
                  <a:gd name="T55" fmla="*/ 1377 h 2999"/>
                  <a:gd name="T56" fmla="*/ 2156 w 2660"/>
                  <a:gd name="T57" fmla="*/ 1371 h 2999"/>
                  <a:gd name="T58" fmla="*/ 2313 w 2660"/>
                  <a:gd name="T59" fmla="*/ 1111 h 2999"/>
                  <a:gd name="T60" fmla="*/ 1802 w 2660"/>
                  <a:gd name="T61" fmla="*/ 1927 h 2999"/>
                  <a:gd name="T62" fmla="*/ 1758 w 2660"/>
                  <a:gd name="T63" fmla="*/ 2335 h 2999"/>
                  <a:gd name="T64" fmla="*/ 1207 w 2660"/>
                  <a:gd name="T65" fmla="*/ 2164 h 2999"/>
                  <a:gd name="T66" fmla="*/ 1601 w 2660"/>
                  <a:gd name="T67" fmla="*/ 1693 h 2999"/>
                  <a:gd name="T68" fmla="*/ 1417 w 2660"/>
                  <a:gd name="T69" fmla="*/ 1696 h 2999"/>
                  <a:gd name="T70" fmla="*/ 1581 w 2660"/>
                  <a:gd name="T71" fmla="*/ 2463 h 2999"/>
                  <a:gd name="T72" fmla="*/ 1310 w 2660"/>
                  <a:gd name="T73" fmla="*/ 2627 h 2999"/>
                  <a:gd name="T74" fmla="*/ 1112 w 2660"/>
                  <a:gd name="T75" fmla="*/ 2490 h 2999"/>
                  <a:gd name="T76" fmla="*/ 1336 w 2660"/>
                  <a:gd name="T77" fmla="*/ 2648 h 2999"/>
                  <a:gd name="T78" fmla="*/ 1636 w 2660"/>
                  <a:gd name="T79" fmla="*/ 2084 h 2999"/>
                  <a:gd name="T80" fmla="*/ 1315 w 2660"/>
                  <a:gd name="T81" fmla="*/ 1609 h 2999"/>
                  <a:gd name="T82" fmla="*/ 1085 w 2660"/>
                  <a:gd name="T83" fmla="*/ 2280 h 2999"/>
                  <a:gd name="T84" fmla="*/ 907 w 2660"/>
                  <a:gd name="T85" fmla="*/ 2338 h 2999"/>
                  <a:gd name="T86" fmla="*/ 1147 w 2660"/>
                  <a:gd name="T87" fmla="*/ 2796 h 2999"/>
                  <a:gd name="T88" fmla="*/ 1402 w 2660"/>
                  <a:gd name="T89" fmla="*/ 2968 h 2999"/>
                  <a:gd name="T90" fmla="*/ 1668 w 2660"/>
                  <a:gd name="T91" fmla="*/ 2590 h 2999"/>
                  <a:gd name="T92" fmla="*/ 1635 w 2660"/>
                  <a:gd name="T93" fmla="*/ 2081 h 2999"/>
                  <a:gd name="T94" fmla="*/ 2188 w 2660"/>
                  <a:gd name="T95" fmla="*/ 1922 h 2999"/>
                  <a:gd name="T96" fmla="*/ 2382 w 2660"/>
                  <a:gd name="T97" fmla="*/ 1802 h 2999"/>
                  <a:gd name="T98" fmla="*/ 2309 w 2660"/>
                  <a:gd name="T99" fmla="*/ 1108 h 2999"/>
                  <a:gd name="T100" fmla="*/ 2065 w 2660"/>
                  <a:gd name="T101" fmla="*/ 972 h 2999"/>
                  <a:gd name="T102" fmla="*/ 2427 w 2660"/>
                  <a:gd name="T103" fmla="*/ 648 h 2999"/>
                  <a:gd name="T104" fmla="*/ 2334 w 2660"/>
                  <a:gd name="T105" fmla="*/ 648 h 2999"/>
                  <a:gd name="T106" fmla="*/ 1891 w 2660"/>
                  <a:gd name="T107" fmla="*/ 991 h 2999"/>
                  <a:gd name="T108" fmla="*/ 1118 w 2660"/>
                  <a:gd name="T109" fmla="*/ 1141 h 2999"/>
                  <a:gd name="T110" fmla="*/ 678 w 2660"/>
                  <a:gd name="T111" fmla="*/ 789 h 2999"/>
                  <a:gd name="T112" fmla="*/ 121 w 2660"/>
                  <a:gd name="T113" fmla="*/ 302 h 2999"/>
                  <a:gd name="T114" fmla="*/ 242 w 2660"/>
                  <a:gd name="T115" fmla="*/ 715 h 2999"/>
                  <a:gd name="T116" fmla="*/ 588 w 2660"/>
                  <a:gd name="T117" fmla="*/ 1119 h 2999"/>
                  <a:gd name="T118" fmla="*/ 421 w 2660"/>
                  <a:gd name="T119" fmla="*/ 1167 h 2999"/>
                  <a:gd name="T120" fmla="*/ 1074 w 2660"/>
                  <a:gd name="T121" fmla="*/ 1994 h 2999"/>
                  <a:gd name="T122" fmla="*/ 1497 w 2660"/>
                  <a:gd name="T123" fmla="*/ 2893 h 2999"/>
                  <a:gd name="T124" fmla="*/ 2625 w 2660"/>
                  <a:gd name="T125" fmla="*/ 1511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0" h="2999">
                    <a:moveTo>
                      <a:pt x="2644" y="1474"/>
                    </a:moveTo>
                    <a:cubicBezTo>
                      <a:pt x="2645" y="1327"/>
                      <a:pt x="2645" y="1327"/>
                      <a:pt x="2645" y="1327"/>
                    </a:cubicBezTo>
                    <a:cubicBezTo>
                      <a:pt x="2653" y="1324"/>
                      <a:pt x="2658" y="1316"/>
                      <a:pt x="2658" y="1308"/>
                    </a:cubicBezTo>
                    <a:cubicBezTo>
                      <a:pt x="2658" y="1299"/>
                      <a:pt x="2652" y="1291"/>
                      <a:pt x="2644" y="1288"/>
                    </a:cubicBezTo>
                    <a:cubicBezTo>
                      <a:pt x="2626" y="996"/>
                      <a:pt x="2626" y="996"/>
                      <a:pt x="2626" y="996"/>
                    </a:cubicBezTo>
                    <a:cubicBezTo>
                      <a:pt x="2636" y="995"/>
                      <a:pt x="2645" y="986"/>
                      <a:pt x="2645" y="975"/>
                    </a:cubicBezTo>
                    <a:cubicBezTo>
                      <a:pt x="2645" y="963"/>
                      <a:pt x="2635" y="954"/>
                      <a:pt x="2623" y="954"/>
                    </a:cubicBezTo>
                    <a:cubicBezTo>
                      <a:pt x="2612" y="954"/>
                      <a:pt x="2604" y="962"/>
                      <a:pt x="2602" y="972"/>
                    </a:cubicBezTo>
                    <a:cubicBezTo>
                      <a:pt x="2503" y="992"/>
                      <a:pt x="2503" y="992"/>
                      <a:pt x="2503" y="992"/>
                    </a:cubicBezTo>
                    <a:cubicBezTo>
                      <a:pt x="2499" y="985"/>
                      <a:pt x="2492" y="980"/>
                      <a:pt x="2483" y="980"/>
                    </a:cubicBezTo>
                    <a:cubicBezTo>
                      <a:pt x="2471" y="980"/>
                      <a:pt x="2462" y="990"/>
                      <a:pt x="2462" y="1002"/>
                    </a:cubicBezTo>
                    <a:cubicBezTo>
                      <a:pt x="2462" y="1003"/>
                      <a:pt x="2462" y="1005"/>
                      <a:pt x="2463" y="1007"/>
                    </a:cubicBezTo>
                    <a:cubicBezTo>
                      <a:pt x="2335" y="1074"/>
                      <a:pt x="2335" y="1074"/>
                      <a:pt x="2335" y="1074"/>
                    </a:cubicBezTo>
                    <a:cubicBezTo>
                      <a:pt x="2331" y="1071"/>
                      <a:pt x="2327" y="1070"/>
                      <a:pt x="2322" y="1070"/>
                    </a:cubicBezTo>
                    <a:cubicBezTo>
                      <a:pt x="2311" y="1070"/>
                      <a:pt x="2301" y="1079"/>
                      <a:pt x="2301" y="1091"/>
                    </a:cubicBezTo>
                    <a:cubicBezTo>
                      <a:pt x="2301" y="1092"/>
                      <a:pt x="2301" y="1093"/>
                      <a:pt x="2301" y="1094"/>
                    </a:cubicBezTo>
                    <a:cubicBezTo>
                      <a:pt x="2027" y="1291"/>
                      <a:pt x="2027" y="1291"/>
                      <a:pt x="2027" y="1291"/>
                    </a:cubicBezTo>
                    <a:cubicBezTo>
                      <a:pt x="2023" y="1288"/>
                      <a:pt x="2019" y="1286"/>
                      <a:pt x="2014" y="1286"/>
                    </a:cubicBezTo>
                    <a:cubicBezTo>
                      <a:pt x="2002" y="1286"/>
                      <a:pt x="1992" y="1296"/>
                      <a:pt x="1992" y="1308"/>
                    </a:cubicBezTo>
                    <a:cubicBezTo>
                      <a:pt x="1992" y="1311"/>
                      <a:pt x="1993" y="1314"/>
                      <a:pt x="1994" y="1317"/>
                    </a:cubicBezTo>
                    <a:cubicBezTo>
                      <a:pt x="1924" y="1385"/>
                      <a:pt x="1924" y="1385"/>
                      <a:pt x="1924" y="1385"/>
                    </a:cubicBezTo>
                    <a:cubicBezTo>
                      <a:pt x="1923" y="1384"/>
                      <a:pt x="1921" y="1384"/>
                      <a:pt x="1919" y="1384"/>
                    </a:cubicBezTo>
                    <a:cubicBezTo>
                      <a:pt x="1907" y="1384"/>
                      <a:pt x="1897" y="1393"/>
                      <a:pt x="1897" y="1405"/>
                    </a:cubicBezTo>
                    <a:cubicBezTo>
                      <a:pt x="1897" y="1408"/>
                      <a:pt x="1898" y="1410"/>
                      <a:pt x="1899" y="1412"/>
                    </a:cubicBezTo>
                    <a:cubicBezTo>
                      <a:pt x="1715" y="1654"/>
                      <a:pt x="1715" y="1654"/>
                      <a:pt x="1715" y="1654"/>
                    </a:cubicBezTo>
                    <a:cubicBezTo>
                      <a:pt x="1713" y="1653"/>
                      <a:pt x="1710" y="1653"/>
                      <a:pt x="1708" y="1653"/>
                    </a:cubicBezTo>
                    <a:cubicBezTo>
                      <a:pt x="1696" y="1653"/>
                      <a:pt x="1686" y="1663"/>
                      <a:pt x="1686" y="1674"/>
                    </a:cubicBezTo>
                    <a:cubicBezTo>
                      <a:pt x="1686" y="1675"/>
                      <a:pt x="1686" y="1676"/>
                      <a:pt x="1686" y="1677"/>
                    </a:cubicBezTo>
                    <a:cubicBezTo>
                      <a:pt x="1641" y="1694"/>
                      <a:pt x="1641" y="1694"/>
                      <a:pt x="1641" y="1694"/>
                    </a:cubicBezTo>
                    <a:cubicBezTo>
                      <a:pt x="1639" y="1688"/>
                      <a:pt x="1634" y="1683"/>
                      <a:pt x="1628" y="1681"/>
                    </a:cubicBezTo>
                    <a:cubicBezTo>
                      <a:pt x="1677" y="1285"/>
                      <a:pt x="1677" y="1285"/>
                      <a:pt x="1677" y="1285"/>
                    </a:cubicBezTo>
                    <a:cubicBezTo>
                      <a:pt x="1687" y="1284"/>
                      <a:pt x="1696" y="1275"/>
                      <a:pt x="1696" y="1264"/>
                    </a:cubicBezTo>
                    <a:cubicBezTo>
                      <a:pt x="1696" y="1263"/>
                      <a:pt x="1695" y="1262"/>
                      <a:pt x="1695" y="1261"/>
                    </a:cubicBezTo>
                    <a:cubicBezTo>
                      <a:pt x="2110" y="1095"/>
                      <a:pt x="2110" y="1095"/>
                      <a:pt x="2110" y="1095"/>
                    </a:cubicBezTo>
                    <a:cubicBezTo>
                      <a:pt x="2110" y="1096"/>
                      <a:pt x="2110" y="1097"/>
                      <a:pt x="2110" y="1098"/>
                    </a:cubicBezTo>
                    <a:cubicBezTo>
                      <a:pt x="2110" y="1110"/>
                      <a:pt x="2120" y="1120"/>
                      <a:pt x="2132" y="1120"/>
                    </a:cubicBezTo>
                    <a:cubicBezTo>
                      <a:pt x="2143" y="1120"/>
                      <a:pt x="2153" y="1110"/>
                      <a:pt x="2153" y="1098"/>
                    </a:cubicBezTo>
                    <a:cubicBezTo>
                      <a:pt x="2153" y="1093"/>
                      <a:pt x="2151" y="1089"/>
                      <a:pt x="2148" y="1085"/>
                    </a:cubicBezTo>
                    <a:cubicBezTo>
                      <a:pt x="2478" y="661"/>
                      <a:pt x="2478" y="661"/>
                      <a:pt x="2478" y="661"/>
                    </a:cubicBezTo>
                    <a:cubicBezTo>
                      <a:pt x="2481" y="662"/>
                      <a:pt x="2484" y="662"/>
                      <a:pt x="2487" y="662"/>
                    </a:cubicBezTo>
                    <a:cubicBezTo>
                      <a:pt x="2499" y="662"/>
                      <a:pt x="2508" y="653"/>
                      <a:pt x="2508" y="641"/>
                    </a:cubicBezTo>
                    <a:cubicBezTo>
                      <a:pt x="2508" y="630"/>
                      <a:pt x="2500" y="621"/>
                      <a:pt x="2489" y="620"/>
                    </a:cubicBezTo>
                    <a:cubicBezTo>
                      <a:pt x="2407" y="112"/>
                      <a:pt x="2407" y="112"/>
                      <a:pt x="2407" y="112"/>
                    </a:cubicBezTo>
                    <a:cubicBezTo>
                      <a:pt x="2415" y="109"/>
                      <a:pt x="2420" y="101"/>
                      <a:pt x="2420" y="92"/>
                    </a:cubicBezTo>
                    <a:cubicBezTo>
                      <a:pt x="2420" y="80"/>
                      <a:pt x="2411" y="71"/>
                      <a:pt x="2399" y="71"/>
                    </a:cubicBezTo>
                    <a:cubicBezTo>
                      <a:pt x="2387" y="71"/>
                      <a:pt x="2377" y="80"/>
                      <a:pt x="2377" y="92"/>
                    </a:cubicBezTo>
                    <a:cubicBezTo>
                      <a:pt x="2377" y="102"/>
                      <a:pt x="2384" y="111"/>
                      <a:pt x="2394" y="113"/>
                    </a:cubicBezTo>
                    <a:cubicBezTo>
                      <a:pt x="2397" y="543"/>
                      <a:pt x="2397" y="543"/>
                      <a:pt x="2397" y="543"/>
                    </a:cubicBezTo>
                    <a:cubicBezTo>
                      <a:pt x="2393" y="544"/>
                      <a:pt x="2389" y="546"/>
                      <a:pt x="2386" y="549"/>
                    </a:cubicBezTo>
                    <a:cubicBezTo>
                      <a:pt x="2205" y="456"/>
                      <a:pt x="2205" y="456"/>
                      <a:pt x="2205" y="456"/>
                    </a:cubicBezTo>
                    <a:cubicBezTo>
                      <a:pt x="2206" y="454"/>
                      <a:pt x="2206" y="453"/>
                      <a:pt x="2206" y="451"/>
                    </a:cubicBezTo>
                    <a:cubicBezTo>
                      <a:pt x="2206" y="440"/>
                      <a:pt x="2197" y="431"/>
                      <a:pt x="2186" y="430"/>
                    </a:cubicBezTo>
                    <a:cubicBezTo>
                      <a:pt x="2136" y="96"/>
                      <a:pt x="2136" y="96"/>
                      <a:pt x="2136" y="96"/>
                    </a:cubicBezTo>
                    <a:cubicBezTo>
                      <a:pt x="2143" y="93"/>
                      <a:pt x="2148" y="86"/>
                      <a:pt x="2148" y="77"/>
                    </a:cubicBezTo>
                    <a:cubicBezTo>
                      <a:pt x="2148" y="65"/>
                      <a:pt x="2138" y="56"/>
                      <a:pt x="2126" y="56"/>
                    </a:cubicBezTo>
                    <a:cubicBezTo>
                      <a:pt x="2114" y="56"/>
                      <a:pt x="2105" y="65"/>
                      <a:pt x="2105" y="77"/>
                    </a:cubicBezTo>
                    <a:cubicBezTo>
                      <a:pt x="2105" y="87"/>
                      <a:pt x="2112" y="96"/>
                      <a:pt x="2122" y="98"/>
                    </a:cubicBezTo>
                    <a:cubicBezTo>
                      <a:pt x="2106" y="490"/>
                      <a:pt x="2106" y="490"/>
                      <a:pt x="2106" y="490"/>
                    </a:cubicBezTo>
                    <a:cubicBezTo>
                      <a:pt x="2096" y="492"/>
                      <a:pt x="2089" y="501"/>
                      <a:pt x="2089" y="511"/>
                    </a:cubicBezTo>
                    <a:cubicBezTo>
                      <a:pt x="2089" y="523"/>
                      <a:pt x="2099" y="532"/>
                      <a:pt x="2110" y="532"/>
                    </a:cubicBezTo>
                    <a:cubicBezTo>
                      <a:pt x="2116" y="532"/>
                      <a:pt x="2120" y="530"/>
                      <a:pt x="2124" y="527"/>
                    </a:cubicBezTo>
                    <a:cubicBezTo>
                      <a:pt x="2298" y="654"/>
                      <a:pt x="2298" y="654"/>
                      <a:pt x="2298" y="654"/>
                    </a:cubicBezTo>
                    <a:cubicBezTo>
                      <a:pt x="2297" y="657"/>
                      <a:pt x="2297" y="659"/>
                      <a:pt x="2297" y="662"/>
                    </a:cubicBezTo>
                    <a:cubicBezTo>
                      <a:pt x="2297" y="667"/>
                      <a:pt x="2298" y="671"/>
                      <a:pt x="2300" y="674"/>
                    </a:cubicBezTo>
                    <a:cubicBezTo>
                      <a:pt x="2074" y="932"/>
                      <a:pt x="2074" y="932"/>
                      <a:pt x="2074" y="932"/>
                    </a:cubicBezTo>
                    <a:cubicBezTo>
                      <a:pt x="2071" y="930"/>
                      <a:pt x="2068" y="929"/>
                      <a:pt x="2065" y="929"/>
                    </a:cubicBezTo>
                    <a:cubicBezTo>
                      <a:pt x="2057" y="929"/>
                      <a:pt x="2051" y="933"/>
                      <a:pt x="2047" y="938"/>
                    </a:cubicBezTo>
                    <a:cubicBezTo>
                      <a:pt x="1652" y="676"/>
                      <a:pt x="1652" y="676"/>
                      <a:pt x="1652" y="676"/>
                    </a:cubicBezTo>
                    <a:cubicBezTo>
                      <a:pt x="1653" y="674"/>
                      <a:pt x="1653" y="672"/>
                      <a:pt x="1653" y="669"/>
                    </a:cubicBezTo>
                    <a:cubicBezTo>
                      <a:pt x="1653" y="657"/>
                      <a:pt x="1644" y="648"/>
                      <a:pt x="1632" y="648"/>
                    </a:cubicBezTo>
                    <a:cubicBezTo>
                      <a:pt x="1620" y="648"/>
                      <a:pt x="1611" y="657"/>
                      <a:pt x="1611" y="669"/>
                    </a:cubicBezTo>
                    <a:cubicBezTo>
                      <a:pt x="1611" y="681"/>
                      <a:pt x="1620" y="691"/>
                      <a:pt x="1632" y="691"/>
                    </a:cubicBezTo>
                    <a:cubicBezTo>
                      <a:pt x="1635" y="691"/>
                      <a:pt x="1638" y="690"/>
                      <a:pt x="1641" y="689"/>
                    </a:cubicBezTo>
                    <a:cubicBezTo>
                      <a:pt x="1882" y="997"/>
                      <a:pt x="1882" y="997"/>
                      <a:pt x="1882" y="997"/>
                    </a:cubicBezTo>
                    <a:cubicBezTo>
                      <a:pt x="1880" y="1001"/>
                      <a:pt x="1878" y="1005"/>
                      <a:pt x="1878" y="1010"/>
                    </a:cubicBezTo>
                    <a:cubicBezTo>
                      <a:pt x="1878" y="1011"/>
                      <a:pt x="1878" y="1011"/>
                      <a:pt x="1878" y="1011"/>
                    </a:cubicBezTo>
                    <a:cubicBezTo>
                      <a:pt x="1562" y="1108"/>
                      <a:pt x="1562" y="1108"/>
                      <a:pt x="1562" y="1108"/>
                    </a:cubicBezTo>
                    <a:cubicBezTo>
                      <a:pt x="1559" y="1102"/>
                      <a:pt x="1552" y="1098"/>
                      <a:pt x="1544" y="1098"/>
                    </a:cubicBezTo>
                    <a:cubicBezTo>
                      <a:pt x="1532" y="1098"/>
                      <a:pt x="1523" y="1108"/>
                      <a:pt x="1523" y="1119"/>
                    </a:cubicBezTo>
                    <a:cubicBezTo>
                      <a:pt x="1523" y="1128"/>
                      <a:pt x="1527" y="1135"/>
                      <a:pt x="1535" y="1139"/>
                    </a:cubicBezTo>
                    <a:cubicBezTo>
                      <a:pt x="1434" y="1601"/>
                      <a:pt x="1434" y="1601"/>
                      <a:pt x="1434" y="1601"/>
                    </a:cubicBezTo>
                    <a:cubicBezTo>
                      <a:pt x="1433" y="1600"/>
                      <a:pt x="1432" y="1600"/>
                      <a:pt x="1431" y="1600"/>
                    </a:cubicBezTo>
                    <a:cubicBezTo>
                      <a:pt x="1421" y="1600"/>
                      <a:pt x="1413" y="1607"/>
                      <a:pt x="1410" y="1615"/>
                    </a:cubicBezTo>
                    <a:cubicBezTo>
                      <a:pt x="1356" y="1596"/>
                      <a:pt x="1356" y="1596"/>
                      <a:pt x="1356" y="1596"/>
                    </a:cubicBezTo>
                    <a:cubicBezTo>
                      <a:pt x="1354" y="1587"/>
                      <a:pt x="1346" y="1579"/>
                      <a:pt x="1335" y="1579"/>
                    </a:cubicBezTo>
                    <a:cubicBezTo>
                      <a:pt x="1326" y="1579"/>
                      <a:pt x="1318" y="1585"/>
                      <a:pt x="1315" y="1593"/>
                    </a:cubicBezTo>
                    <a:cubicBezTo>
                      <a:pt x="1259" y="1610"/>
                      <a:pt x="1259" y="1610"/>
                      <a:pt x="1259" y="1610"/>
                    </a:cubicBezTo>
                    <a:cubicBezTo>
                      <a:pt x="1258" y="1600"/>
                      <a:pt x="1250" y="1592"/>
                      <a:pt x="1240" y="1591"/>
                    </a:cubicBezTo>
                    <a:cubicBezTo>
                      <a:pt x="1150" y="1146"/>
                      <a:pt x="1150" y="1146"/>
                      <a:pt x="1150" y="1146"/>
                    </a:cubicBezTo>
                    <a:cubicBezTo>
                      <a:pt x="1154" y="1142"/>
                      <a:pt x="1157" y="1137"/>
                      <a:pt x="1157" y="1130"/>
                    </a:cubicBezTo>
                    <a:cubicBezTo>
                      <a:pt x="1157" y="1118"/>
                      <a:pt x="1148" y="1109"/>
                      <a:pt x="1136" y="1109"/>
                    </a:cubicBezTo>
                    <a:cubicBezTo>
                      <a:pt x="1129" y="1109"/>
                      <a:pt x="1123" y="1112"/>
                      <a:pt x="1119" y="1117"/>
                    </a:cubicBezTo>
                    <a:cubicBezTo>
                      <a:pt x="760" y="1018"/>
                      <a:pt x="760" y="1018"/>
                      <a:pt x="760" y="1018"/>
                    </a:cubicBezTo>
                    <a:cubicBezTo>
                      <a:pt x="760" y="1018"/>
                      <a:pt x="760" y="1018"/>
                      <a:pt x="760" y="1017"/>
                    </a:cubicBezTo>
                    <a:cubicBezTo>
                      <a:pt x="760" y="1009"/>
                      <a:pt x="755" y="1002"/>
                      <a:pt x="748" y="998"/>
                    </a:cubicBezTo>
                    <a:cubicBezTo>
                      <a:pt x="785" y="828"/>
                      <a:pt x="785" y="828"/>
                      <a:pt x="785" y="828"/>
                    </a:cubicBezTo>
                    <a:cubicBezTo>
                      <a:pt x="796" y="827"/>
                      <a:pt x="806" y="818"/>
                      <a:pt x="806" y="806"/>
                    </a:cubicBezTo>
                    <a:cubicBezTo>
                      <a:pt x="806" y="802"/>
                      <a:pt x="804" y="798"/>
                      <a:pt x="802" y="794"/>
                    </a:cubicBezTo>
                    <a:cubicBezTo>
                      <a:pt x="1046" y="509"/>
                      <a:pt x="1046" y="509"/>
                      <a:pt x="1046" y="509"/>
                    </a:cubicBezTo>
                    <a:cubicBezTo>
                      <a:pt x="1048" y="510"/>
                      <a:pt x="1052" y="511"/>
                      <a:pt x="1055" y="511"/>
                    </a:cubicBezTo>
                    <a:cubicBezTo>
                      <a:pt x="1067" y="511"/>
                      <a:pt x="1077" y="502"/>
                      <a:pt x="1077" y="490"/>
                    </a:cubicBezTo>
                    <a:cubicBezTo>
                      <a:pt x="1077" y="478"/>
                      <a:pt x="1067" y="468"/>
                      <a:pt x="1055" y="468"/>
                    </a:cubicBezTo>
                    <a:cubicBezTo>
                      <a:pt x="1043" y="468"/>
                      <a:pt x="1034" y="478"/>
                      <a:pt x="1034" y="490"/>
                    </a:cubicBezTo>
                    <a:cubicBezTo>
                      <a:pt x="1034" y="493"/>
                      <a:pt x="1034" y="495"/>
                      <a:pt x="1035" y="498"/>
                    </a:cubicBezTo>
                    <a:cubicBezTo>
                      <a:pt x="692" y="751"/>
                      <a:pt x="692" y="751"/>
                      <a:pt x="692" y="751"/>
                    </a:cubicBezTo>
                    <a:cubicBezTo>
                      <a:pt x="688" y="748"/>
                      <a:pt x="684" y="746"/>
                      <a:pt x="679" y="746"/>
                    </a:cubicBezTo>
                    <a:cubicBezTo>
                      <a:pt x="667" y="746"/>
                      <a:pt x="657" y="756"/>
                      <a:pt x="657" y="768"/>
                    </a:cubicBezTo>
                    <a:cubicBezTo>
                      <a:pt x="657" y="775"/>
                      <a:pt x="661" y="782"/>
                      <a:pt x="667" y="786"/>
                    </a:cubicBezTo>
                    <a:cubicBezTo>
                      <a:pt x="613" y="961"/>
                      <a:pt x="613" y="961"/>
                      <a:pt x="613" y="961"/>
                    </a:cubicBezTo>
                    <a:cubicBezTo>
                      <a:pt x="613" y="961"/>
                      <a:pt x="612" y="961"/>
                      <a:pt x="612" y="961"/>
                    </a:cubicBezTo>
                    <a:cubicBezTo>
                      <a:pt x="605" y="961"/>
                      <a:pt x="598" y="964"/>
                      <a:pt x="595" y="970"/>
                    </a:cubicBezTo>
                    <a:cubicBezTo>
                      <a:pt x="352" y="745"/>
                      <a:pt x="352" y="745"/>
                      <a:pt x="352" y="745"/>
                    </a:cubicBezTo>
                    <a:cubicBezTo>
                      <a:pt x="356" y="741"/>
                      <a:pt x="359" y="735"/>
                      <a:pt x="359" y="729"/>
                    </a:cubicBezTo>
                    <a:cubicBezTo>
                      <a:pt x="359" y="723"/>
                      <a:pt x="357" y="718"/>
                      <a:pt x="353" y="714"/>
                    </a:cubicBezTo>
                    <a:cubicBezTo>
                      <a:pt x="543" y="491"/>
                      <a:pt x="543" y="491"/>
                      <a:pt x="543" y="491"/>
                    </a:cubicBezTo>
                    <a:cubicBezTo>
                      <a:pt x="545" y="493"/>
                      <a:pt x="549" y="494"/>
                      <a:pt x="552" y="494"/>
                    </a:cubicBezTo>
                    <a:cubicBezTo>
                      <a:pt x="564" y="494"/>
                      <a:pt x="573" y="484"/>
                      <a:pt x="573" y="472"/>
                    </a:cubicBezTo>
                    <a:cubicBezTo>
                      <a:pt x="573" y="461"/>
                      <a:pt x="565" y="452"/>
                      <a:pt x="554" y="451"/>
                    </a:cubicBezTo>
                    <a:cubicBezTo>
                      <a:pt x="412" y="40"/>
                      <a:pt x="412" y="40"/>
                      <a:pt x="412" y="40"/>
                    </a:cubicBezTo>
                    <a:cubicBezTo>
                      <a:pt x="418" y="36"/>
                      <a:pt x="422" y="29"/>
                      <a:pt x="422" y="22"/>
                    </a:cubicBezTo>
                    <a:cubicBezTo>
                      <a:pt x="422" y="10"/>
                      <a:pt x="413" y="0"/>
                      <a:pt x="401" y="0"/>
                    </a:cubicBezTo>
                    <a:cubicBezTo>
                      <a:pt x="389" y="0"/>
                      <a:pt x="379" y="10"/>
                      <a:pt x="379" y="22"/>
                    </a:cubicBezTo>
                    <a:cubicBezTo>
                      <a:pt x="379" y="32"/>
                      <a:pt x="387" y="41"/>
                      <a:pt x="397" y="43"/>
                    </a:cubicBezTo>
                    <a:cubicBezTo>
                      <a:pt x="422" y="413"/>
                      <a:pt x="422" y="413"/>
                      <a:pt x="422" y="413"/>
                    </a:cubicBezTo>
                    <a:cubicBezTo>
                      <a:pt x="414" y="416"/>
                      <a:pt x="407" y="424"/>
                      <a:pt x="407" y="433"/>
                    </a:cubicBezTo>
                    <a:cubicBezTo>
                      <a:pt x="407" y="438"/>
                      <a:pt x="409" y="442"/>
                      <a:pt x="411" y="445"/>
                    </a:cubicBezTo>
                    <a:cubicBezTo>
                      <a:pt x="256" y="612"/>
                      <a:pt x="256" y="612"/>
                      <a:pt x="256" y="612"/>
                    </a:cubicBezTo>
                    <a:cubicBezTo>
                      <a:pt x="253" y="610"/>
                      <a:pt x="250" y="609"/>
                      <a:pt x="246" y="609"/>
                    </a:cubicBezTo>
                    <a:cubicBezTo>
                      <a:pt x="245" y="609"/>
                      <a:pt x="245" y="609"/>
                      <a:pt x="244" y="609"/>
                    </a:cubicBezTo>
                    <a:cubicBezTo>
                      <a:pt x="124" y="280"/>
                      <a:pt x="124" y="280"/>
                      <a:pt x="124" y="280"/>
                    </a:cubicBezTo>
                    <a:cubicBezTo>
                      <a:pt x="128" y="276"/>
                      <a:pt x="131" y="270"/>
                      <a:pt x="131" y="264"/>
                    </a:cubicBezTo>
                    <a:cubicBezTo>
                      <a:pt x="131" y="252"/>
                      <a:pt x="122" y="243"/>
                      <a:pt x="110" y="242"/>
                    </a:cubicBezTo>
                    <a:cubicBezTo>
                      <a:pt x="110" y="242"/>
                      <a:pt x="110" y="242"/>
                      <a:pt x="110" y="242"/>
                    </a:cubicBezTo>
                    <a:cubicBezTo>
                      <a:pt x="108" y="242"/>
                      <a:pt x="108" y="242"/>
                      <a:pt x="108" y="242"/>
                    </a:cubicBezTo>
                    <a:cubicBezTo>
                      <a:pt x="106" y="243"/>
                      <a:pt x="104" y="243"/>
                      <a:pt x="102" y="244"/>
                    </a:cubicBezTo>
                    <a:cubicBezTo>
                      <a:pt x="100" y="244"/>
                      <a:pt x="100" y="244"/>
                      <a:pt x="100" y="244"/>
                    </a:cubicBezTo>
                    <a:cubicBezTo>
                      <a:pt x="100" y="245"/>
                      <a:pt x="100" y="245"/>
                      <a:pt x="100" y="245"/>
                    </a:cubicBezTo>
                    <a:cubicBezTo>
                      <a:pt x="93" y="248"/>
                      <a:pt x="88" y="255"/>
                      <a:pt x="88" y="264"/>
                    </a:cubicBezTo>
                    <a:cubicBezTo>
                      <a:pt x="88" y="273"/>
                      <a:pt x="94" y="281"/>
                      <a:pt x="103" y="284"/>
                    </a:cubicBezTo>
                    <a:cubicBezTo>
                      <a:pt x="137" y="726"/>
                      <a:pt x="137" y="726"/>
                      <a:pt x="137" y="726"/>
                    </a:cubicBezTo>
                    <a:cubicBezTo>
                      <a:pt x="129" y="729"/>
                      <a:pt x="122" y="737"/>
                      <a:pt x="122" y="747"/>
                    </a:cubicBezTo>
                    <a:cubicBezTo>
                      <a:pt x="122" y="758"/>
                      <a:pt x="132" y="768"/>
                      <a:pt x="144" y="768"/>
                    </a:cubicBezTo>
                    <a:cubicBezTo>
                      <a:pt x="145" y="768"/>
                      <a:pt x="147" y="768"/>
                      <a:pt x="148" y="768"/>
                    </a:cubicBezTo>
                    <a:cubicBezTo>
                      <a:pt x="558" y="1127"/>
                      <a:pt x="558" y="1127"/>
                      <a:pt x="558" y="1127"/>
                    </a:cubicBezTo>
                    <a:cubicBezTo>
                      <a:pt x="556" y="1130"/>
                      <a:pt x="555" y="1134"/>
                      <a:pt x="555" y="1137"/>
                    </a:cubicBezTo>
                    <a:cubicBezTo>
                      <a:pt x="555" y="1149"/>
                      <a:pt x="565" y="1158"/>
                      <a:pt x="577" y="1158"/>
                    </a:cubicBezTo>
                    <a:cubicBezTo>
                      <a:pt x="584" y="1158"/>
                      <a:pt x="591" y="1154"/>
                      <a:pt x="595" y="1148"/>
                    </a:cubicBezTo>
                    <a:cubicBezTo>
                      <a:pt x="977" y="1273"/>
                      <a:pt x="977" y="1273"/>
                      <a:pt x="977" y="1273"/>
                    </a:cubicBezTo>
                    <a:cubicBezTo>
                      <a:pt x="977" y="1273"/>
                      <a:pt x="977" y="1274"/>
                      <a:pt x="977" y="1274"/>
                    </a:cubicBezTo>
                    <a:cubicBezTo>
                      <a:pt x="977" y="1285"/>
                      <a:pt x="985" y="1293"/>
                      <a:pt x="995" y="1295"/>
                    </a:cubicBezTo>
                    <a:cubicBezTo>
                      <a:pt x="1013" y="1667"/>
                      <a:pt x="1013" y="1667"/>
                      <a:pt x="1013" y="1667"/>
                    </a:cubicBezTo>
                    <a:cubicBezTo>
                      <a:pt x="1009" y="1668"/>
                      <a:pt x="1005" y="1671"/>
                      <a:pt x="1003" y="1674"/>
                    </a:cubicBezTo>
                    <a:cubicBezTo>
                      <a:pt x="958" y="1653"/>
                      <a:pt x="958" y="1653"/>
                      <a:pt x="958" y="1653"/>
                    </a:cubicBezTo>
                    <a:cubicBezTo>
                      <a:pt x="958" y="1651"/>
                      <a:pt x="959" y="1650"/>
                      <a:pt x="959" y="1648"/>
                    </a:cubicBezTo>
                    <a:cubicBezTo>
                      <a:pt x="959" y="1636"/>
                      <a:pt x="949" y="1627"/>
                      <a:pt x="937" y="1627"/>
                    </a:cubicBezTo>
                    <a:cubicBezTo>
                      <a:pt x="934" y="1627"/>
                      <a:pt x="931" y="1627"/>
                      <a:pt x="928" y="1628"/>
                    </a:cubicBezTo>
                    <a:cubicBezTo>
                      <a:pt x="762" y="1418"/>
                      <a:pt x="762" y="1418"/>
                      <a:pt x="762" y="1418"/>
                    </a:cubicBezTo>
                    <a:cubicBezTo>
                      <a:pt x="764" y="1415"/>
                      <a:pt x="766" y="1410"/>
                      <a:pt x="766" y="1405"/>
                    </a:cubicBezTo>
                    <a:cubicBezTo>
                      <a:pt x="766" y="1393"/>
                      <a:pt x="756" y="1384"/>
                      <a:pt x="745" y="1384"/>
                    </a:cubicBezTo>
                    <a:cubicBezTo>
                      <a:pt x="741" y="1384"/>
                      <a:pt x="738" y="1385"/>
                      <a:pt x="735" y="1386"/>
                    </a:cubicBezTo>
                    <a:cubicBezTo>
                      <a:pt x="670" y="1312"/>
                      <a:pt x="670" y="1312"/>
                      <a:pt x="670" y="1312"/>
                    </a:cubicBezTo>
                    <a:cubicBezTo>
                      <a:pt x="674" y="1308"/>
                      <a:pt x="676" y="1303"/>
                      <a:pt x="676" y="1297"/>
                    </a:cubicBezTo>
                    <a:cubicBezTo>
                      <a:pt x="676" y="1285"/>
                      <a:pt x="667" y="1276"/>
                      <a:pt x="655" y="1276"/>
                    </a:cubicBezTo>
                    <a:cubicBezTo>
                      <a:pt x="650" y="1276"/>
                      <a:pt x="645" y="1278"/>
                      <a:pt x="641" y="1281"/>
                    </a:cubicBezTo>
                    <a:cubicBezTo>
                      <a:pt x="449" y="1148"/>
                      <a:pt x="449" y="1148"/>
                      <a:pt x="449" y="1148"/>
                    </a:cubicBezTo>
                    <a:cubicBezTo>
                      <a:pt x="449" y="1148"/>
                      <a:pt x="449" y="1147"/>
                      <a:pt x="449" y="1147"/>
                    </a:cubicBezTo>
                    <a:cubicBezTo>
                      <a:pt x="449" y="1135"/>
                      <a:pt x="440" y="1125"/>
                      <a:pt x="428" y="1125"/>
                    </a:cubicBezTo>
                    <a:cubicBezTo>
                      <a:pt x="424" y="1125"/>
                      <a:pt x="421" y="1126"/>
                      <a:pt x="418" y="1128"/>
                    </a:cubicBezTo>
                    <a:cubicBezTo>
                      <a:pt x="209" y="1002"/>
                      <a:pt x="209" y="1002"/>
                      <a:pt x="209" y="1002"/>
                    </a:cubicBezTo>
                    <a:cubicBezTo>
                      <a:pt x="210" y="999"/>
                      <a:pt x="211" y="996"/>
                      <a:pt x="211" y="993"/>
                    </a:cubicBezTo>
                    <a:cubicBezTo>
                      <a:pt x="211" y="981"/>
                      <a:pt x="202" y="971"/>
                      <a:pt x="190" y="971"/>
                    </a:cubicBezTo>
                    <a:cubicBezTo>
                      <a:pt x="179" y="971"/>
                      <a:pt x="171" y="979"/>
                      <a:pt x="169" y="989"/>
                    </a:cubicBezTo>
                    <a:cubicBezTo>
                      <a:pt x="44" y="996"/>
                      <a:pt x="44" y="996"/>
                      <a:pt x="44" y="996"/>
                    </a:cubicBezTo>
                    <a:cubicBezTo>
                      <a:pt x="41" y="988"/>
                      <a:pt x="33" y="983"/>
                      <a:pt x="24" y="983"/>
                    </a:cubicBezTo>
                    <a:cubicBezTo>
                      <a:pt x="12" y="983"/>
                      <a:pt x="3" y="992"/>
                      <a:pt x="3" y="1004"/>
                    </a:cubicBezTo>
                    <a:cubicBezTo>
                      <a:pt x="3" y="1014"/>
                      <a:pt x="10" y="1023"/>
                      <a:pt x="19" y="1025"/>
                    </a:cubicBezTo>
                    <a:cubicBezTo>
                      <a:pt x="17" y="1279"/>
                      <a:pt x="17" y="1279"/>
                      <a:pt x="17" y="1279"/>
                    </a:cubicBezTo>
                    <a:cubicBezTo>
                      <a:pt x="7" y="1281"/>
                      <a:pt x="0" y="1290"/>
                      <a:pt x="0" y="1300"/>
                    </a:cubicBezTo>
                    <a:cubicBezTo>
                      <a:pt x="0" y="1310"/>
                      <a:pt x="7" y="1318"/>
                      <a:pt x="17" y="1321"/>
                    </a:cubicBezTo>
                    <a:cubicBezTo>
                      <a:pt x="21" y="1469"/>
                      <a:pt x="21" y="1469"/>
                      <a:pt x="21" y="1469"/>
                    </a:cubicBezTo>
                    <a:cubicBezTo>
                      <a:pt x="12" y="1472"/>
                      <a:pt x="6" y="1480"/>
                      <a:pt x="6" y="1490"/>
                    </a:cubicBezTo>
                    <a:cubicBezTo>
                      <a:pt x="6" y="1502"/>
                      <a:pt x="15" y="1511"/>
                      <a:pt x="27" y="1511"/>
                    </a:cubicBezTo>
                    <a:cubicBezTo>
                      <a:pt x="29" y="1511"/>
                      <a:pt x="31" y="1511"/>
                      <a:pt x="33" y="1510"/>
                    </a:cubicBezTo>
                    <a:cubicBezTo>
                      <a:pt x="66" y="1580"/>
                      <a:pt x="66" y="1580"/>
                      <a:pt x="66" y="1580"/>
                    </a:cubicBezTo>
                    <a:cubicBezTo>
                      <a:pt x="60" y="1583"/>
                      <a:pt x="56" y="1590"/>
                      <a:pt x="56" y="1598"/>
                    </a:cubicBezTo>
                    <a:cubicBezTo>
                      <a:pt x="56" y="1610"/>
                      <a:pt x="65" y="1619"/>
                      <a:pt x="77" y="1619"/>
                    </a:cubicBezTo>
                    <a:cubicBezTo>
                      <a:pt x="81" y="1619"/>
                      <a:pt x="84" y="1618"/>
                      <a:pt x="87" y="1617"/>
                    </a:cubicBezTo>
                    <a:cubicBezTo>
                      <a:pt x="153" y="1703"/>
                      <a:pt x="153" y="1703"/>
                      <a:pt x="153" y="1703"/>
                    </a:cubicBezTo>
                    <a:cubicBezTo>
                      <a:pt x="150" y="1707"/>
                      <a:pt x="148" y="1712"/>
                      <a:pt x="148" y="1717"/>
                    </a:cubicBezTo>
                    <a:cubicBezTo>
                      <a:pt x="148" y="1728"/>
                      <a:pt x="158" y="1738"/>
                      <a:pt x="169" y="1738"/>
                    </a:cubicBezTo>
                    <a:cubicBezTo>
                      <a:pt x="174" y="1738"/>
                      <a:pt x="178" y="1737"/>
                      <a:pt x="181" y="1735"/>
                    </a:cubicBezTo>
                    <a:cubicBezTo>
                      <a:pt x="262" y="1810"/>
                      <a:pt x="262" y="1810"/>
                      <a:pt x="262" y="1810"/>
                    </a:cubicBezTo>
                    <a:cubicBezTo>
                      <a:pt x="258" y="1814"/>
                      <a:pt x="256" y="1819"/>
                      <a:pt x="256" y="1825"/>
                    </a:cubicBezTo>
                    <a:cubicBezTo>
                      <a:pt x="256" y="1837"/>
                      <a:pt x="266" y="1846"/>
                      <a:pt x="278" y="1846"/>
                    </a:cubicBezTo>
                    <a:cubicBezTo>
                      <a:pt x="285" y="1846"/>
                      <a:pt x="291" y="1843"/>
                      <a:pt x="295" y="1838"/>
                    </a:cubicBezTo>
                    <a:cubicBezTo>
                      <a:pt x="404" y="1912"/>
                      <a:pt x="404" y="1912"/>
                      <a:pt x="404" y="1912"/>
                    </a:cubicBezTo>
                    <a:cubicBezTo>
                      <a:pt x="404" y="1913"/>
                      <a:pt x="404" y="1914"/>
                      <a:pt x="404" y="1914"/>
                    </a:cubicBezTo>
                    <a:cubicBezTo>
                      <a:pt x="404" y="1926"/>
                      <a:pt x="414" y="1936"/>
                      <a:pt x="425" y="1936"/>
                    </a:cubicBezTo>
                    <a:cubicBezTo>
                      <a:pt x="434" y="1936"/>
                      <a:pt x="442" y="1930"/>
                      <a:pt x="445" y="1922"/>
                    </a:cubicBezTo>
                    <a:cubicBezTo>
                      <a:pt x="665" y="1951"/>
                      <a:pt x="665" y="1951"/>
                      <a:pt x="665" y="1951"/>
                    </a:cubicBezTo>
                    <a:cubicBezTo>
                      <a:pt x="667" y="1962"/>
                      <a:pt x="676" y="1970"/>
                      <a:pt x="687" y="1970"/>
                    </a:cubicBezTo>
                    <a:cubicBezTo>
                      <a:pt x="689" y="1970"/>
                      <a:pt x="692" y="1970"/>
                      <a:pt x="695" y="1969"/>
                    </a:cubicBezTo>
                    <a:cubicBezTo>
                      <a:pt x="795" y="2082"/>
                      <a:pt x="795" y="2082"/>
                      <a:pt x="795" y="2082"/>
                    </a:cubicBezTo>
                    <a:cubicBezTo>
                      <a:pt x="793" y="2085"/>
                      <a:pt x="792" y="2089"/>
                      <a:pt x="792" y="2094"/>
                    </a:cubicBezTo>
                    <a:cubicBezTo>
                      <a:pt x="792" y="2106"/>
                      <a:pt x="801" y="2115"/>
                      <a:pt x="813" y="2115"/>
                    </a:cubicBezTo>
                    <a:cubicBezTo>
                      <a:pt x="817" y="2115"/>
                      <a:pt x="820" y="2114"/>
                      <a:pt x="823" y="2113"/>
                    </a:cubicBezTo>
                    <a:cubicBezTo>
                      <a:pt x="868" y="2168"/>
                      <a:pt x="868" y="2168"/>
                      <a:pt x="868" y="2168"/>
                    </a:cubicBezTo>
                    <a:cubicBezTo>
                      <a:pt x="868" y="2169"/>
                      <a:pt x="868" y="2170"/>
                      <a:pt x="868" y="2170"/>
                    </a:cubicBezTo>
                    <a:cubicBezTo>
                      <a:pt x="868" y="2179"/>
                      <a:pt x="874" y="2187"/>
                      <a:pt x="881" y="2190"/>
                    </a:cubicBezTo>
                    <a:cubicBezTo>
                      <a:pt x="884" y="2306"/>
                      <a:pt x="884" y="2306"/>
                      <a:pt x="884" y="2306"/>
                    </a:cubicBezTo>
                    <a:cubicBezTo>
                      <a:pt x="875" y="2308"/>
                      <a:pt x="868" y="2316"/>
                      <a:pt x="868" y="2326"/>
                    </a:cubicBezTo>
                    <a:cubicBezTo>
                      <a:pt x="868" y="2336"/>
                      <a:pt x="875" y="2345"/>
                      <a:pt x="885" y="2347"/>
                    </a:cubicBezTo>
                    <a:cubicBezTo>
                      <a:pt x="893" y="2451"/>
                      <a:pt x="893" y="2451"/>
                      <a:pt x="893" y="2451"/>
                    </a:cubicBezTo>
                    <a:cubicBezTo>
                      <a:pt x="885" y="2454"/>
                      <a:pt x="879" y="2462"/>
                      <a:pt x="879" y="2471"/>
                    </a:cubicBezTo>
                    <a:cubicBezTo>
                      <a:pt x="879" y="2483"/>
                      <a:pt x="888" y="2493"/>
                      <a:pt x="900" y="2493"/>
                    </a:cubicBezTo>
                    <a:cubicBezTo>
                      <a:pt x="903" y="2493"/>
                      <a:pt x="905" y="2492"/>
                      <a:pt x="908" y="2491"/>
                    </a:cubicBezTo>
                    <a:cubicBezTo>
                      <a:pt x="971" y="2585"/>
                      <a:pt x="971" y="2585"/>
                      <a:pt x="971" y="2585"/>
                    </a:cubicBezTo>
                    <a:cubicBezTo>
                      <a:pt x="970" y="2588"/>
                      <a:pt x="969" y="2591"/>
                      <a:pt x="969" y="2595"/>
                    </a:cubicBezTo>
                    <a:cubicBezTo>
                      <a:pt x="969" y="2605"/>
                      <a:pt x="976" y="2614"/>
                      <a:pt x="985" y="2616"/>
                    </a:cubicBezTo>
                    <a:cubicBezTo>
                      <a:pt x="1014" y="2788"/>
                      <a:pt x="1014" y="2788"/>
                      <a:pt x="1014" y="2788"/>
                    </a:cubicBezTo>
                    <a:cubicBezTo>
                      <a:pt x="1007" y="2791"/>
                      <a:pt x="1003" y="2798"/>
                      <a:pt x="1003" y="2806"/>
                    </a:cubicBezTo>
                    <a:cubicBezTo>
                      <a:pt x="1003" y="2818"/>
                      <a:pt x="1012" y="2828"/>
                      <a:pt x="1024" y="2828"/>
                    </a:cubicBezTo>
                    <a:cubicBezTo>
                      <a:pt x="1028" y="2828"/>
                      <a:pt x="1031" y="2827"/>
                      <a:pt x="1034" y="2825"/>
                    </a:cubicBezTo>
                    <a:cubicBezTo>
                      <a:pt x="1160" y="2915"/>
                      <a:pt x="1160" y="2915"/>
                      <a:pt x="1160" y="2915"/>
                    </a:cubicBezTo>
                    <a:cubicBezTo>
                      <a:pt x="1159" y="2917"/>
                      <a:pt x="1159" y="2920"/>
                      <a:pt x="1159" y="2922"/>
                    </a:cubicBezTo>
                    <a:cubicBezTo>
                      <a:pt x="1159" y="2934"/>
                      <a:pt x="1168" y="2944"/>
                      <a:pt x="1180" y="2944"/>
                    </a:cubicBezTo>
                    <a:cubicBezTo>
                      <a:pt x="1185" y="2944"/>
                      <a:pt x="1189" y="2942"/>
                      <a:pt x="1193" y="2939"/>
                    </a:cubicBezTo>
                    <a:cubicBezTo>
                      <a:pt x="1234" y="2971"/>
                      <a:pt x="1234" y="2971"/>
                      <a:pt x="1234" y="2971"/>
                    </a:cubicBezTo>
                    <a:cubicBezTo>
                      <a:pt x="1233" y="2973"/>
                      <a:pt x="1232" y="2975"/>
                      <a:pt x="1232" y="2978"/>
                    </a:cubicBezTo>
                    <a:cubicBezTo>
                      <a:pt x="1232" y="2990"/>
                      <a:pt x="1242" y="2999"/>
                      <a:pt x="1254" y="2999"/>
                    </a:cubicBezTo>
                    <a:cubicBezTo>
                      <a:pt x="1263" y="2999"/>
                      <a:pt x="1270" y="2994"/>
                      <a:pt x="1273" y="2986"/>
                    </a:cubicBezTo>
                    <a:cubicBezTo>
                      <a:pt x="1402" y="2979"/>
                      <a:pt x="1402" y="2979"/>
                      <a:pt x="1402" y="2979"/>
                    </a:cubicBezTo>
                    <a:cubicBezTo>
                      <a:pt x="1405" y="2988"/>
                      <a:pt x="1413" y="2994"/>
                      <a:pt x="1423" y="2994"/>
                    </a:cubicBezTo>
                    <a:cubicBezTo>
                      <a:pt x="1435" y="2994"/>
                      <a:pt x="1444" y="2984"/>
                      <a:pt x="1444" y="2972"/>
                    </a:cubicBezTo>
                    <a:cubicBezTo>
                      <a:pt x="1444" y="2969"/>
                      <a:pt x="1443" y="2966"/>
                      <a:pt x="1442" y="2964"/>
                    </a:cubicBezTo>
                    <a:cubicBezTo>
                      <a:pt x="1484" y="2931"/>
                      <a:pt x="1484" y="2931"/>
                      <a:pt x="1484" y="2931"/>
                    </a:cubicBezTo>
                    <a:cubicBezTo>
                      <a:pt x="1487" y="2934"/>
                      <a:pt x="1492" y="2936"/>
                      <a:pt x="1497" y="2936"/>
                    </a:cubicBezTo>
                    <a:cubicBezTo>
                      <a:pt x="1508" y="2936"/>
                      <a:pt x="1518" y="2926"/>
                      <a:pt x="1518" y="2914"/>
                    </a:cubicBezTo>
                    <a:cubicBezTo>
                      <a:pt x="1518" y="2912"/>
                      <a:pt x="1518" y="2910"/>
                      <a:pt x="1517" y="2909"/>
                    </a:cubicBezTo>
                    <a:cubicBezTo>
                      <a:pt x="1616" y="2834"/>
                      <a:pt x="1616" y="2834"/>
                      <a:pt x="1616" y="2834"/>
                    </a:cubicBezTo>
                    <a:cubicBezTo>
                      <a:pt x="1619" y="2837"/>
                      <a:pt x="1624" y="2838"/>
                      <a:pt x="1628" y="2838"/>
                    </a:cubicBezTo>
                    <a:cubicBezTo>
                      <a:pt x="1640" y="2838"/>
                      <a:pt x="1650" y="2829"/>
                      <a:pt x="1650" y="2817"/>
                    </a:cubicBezTo>
                    <a:cubicBezTo>
                      <a:pt x="1650" y="2809"/>
                      <a:pt x="1646" y="2803"/>
                      <a:pt x="1640" y="2799"/>
                    </a:cubicBezTo>
                    <a:cubicBezTo>
                      <a:pt x="1671" y="2632"/>
                      <a:pt x="1671" y="2632"/>
                      <a:pt x="1671" y="2632"/>
                    </a:cubicBezTo>
                    <a:cubicBezTo>
                      <a:pt x="1682" y="2630"/>
                      <a:pt x="1690" y="2622"/>
                      <a:pt x="1690" y="2611"/>
                    </a:cubicBezTo>
                    <a:cubicBezTo>
                      <a:pt x="1690" y="2606"/>
                      <a:pt x="1687" y="2601"/>
                      <a:pt x="1684" y="2597"/>
                    </a:cubicBezTo>
                    <a:cubicBezTo>
                      <a:pt x="1758" y="2489"/>
                      <a:pt x="1758" y="2489"/>
                      <a:pt x="1758" y="2489"/>
                    </a:cubicBezTo>
                    <a:cubicBezTo>
                      <a:pt x="1761" y="2489"/>
                      <a:pt x="1763" y="2490"/>
                      <a:pt x="1766" y="2490"/>
                    </a:cubicBezTo>
                    <a:cubicBezTo>
                      <a:pt x="1778" y="2490"/>
                      <a:pt x="1787" y="2480"/>
                      <a:pt x="1787" y="2469"/>
                    </a:cubicBezTo>
                    <a:cubicBezTo>
                      <a:pt x="1787" y="2460"/>
                      <a:pt x="1782" y="2453"/>
                      <a:pt x="1775" y="2450"/>
                    </a:cubicBezTo>
                    <a:cubicBezTo>
                      <a:pt x="1781" y="2344"/>
                      <a:pt x="1781" y="2344"/>
                      <a:pt x="1781" y="2344"/>
                    </a:cubicBezTo>
                    <a:cubicBezTo>
                      <a:pt x="1790" y="2342"/>
                      <a:pt x="1798" y="2334"/>
                      <a:pt x="1798" y="2323"/>
                    </a:cubicBezTo>
                    <a:cubicBezTo>
                      <a:pt x="1798" y="2314"/>
                      <a:pt x="1791" y="2306"/>
                      <a:pt x="1782" y="2303"/>
                    </a:cubicBezTo>
                    <a:cubicBezTo>
                      <a:pt x="1786" y="2202"/>
                      <a:pt x="1786" y="2202"/>
                      <a:pt x="1786" y="2202"/>
                    </a:cubicBezTo>
                    <a:cubicBezTo>
                      <a:pt x="1795" y="2200"/>
                      <a:pt x="1803" y="2191"/>
                      <a:pt x="1803" y="2181"/>
                    </a:cubicBezTo>
                    <a:cubicBezTo>
                      <a:pt x="1803" y="2176"/>
                      <a:pt x="1801" y="2171"/>
                      <a:pt x="1797" y="2167"/>
                    </a:cubicBezTo>
                    <a:cubicBezTo>
                      <a:pt x="1847" y="2103"/>
                      <a:pt x="1847" y="2103"/>
                      <a:pt x="1847" y="2103"/>
                    </a:cubicBezTo>
                    <a:cubicBezTo>
                      <a:pt x="1849" y="2104"/>
                      <a:pt x="1852" y="2105"/>
                      <a:pt x="1855" y="2105"/>
                    </a:cubicBezTo>
                    <a:cubicBezTo>
                      <a:pt x="1867" y="2105"/>
                      <a:pt x="1877" y="2095"/>
                      <a:pt x="1877" y="2083"/>
                    </a:cubicBezTo>
                    <a:cubicBezTo>
                      <a:pt x="1877" y="2079"/>
                      <a:pt x="1876" y="2075"/>
                      <a:pt x="1873" y="2072"/>
                    </a:cubicBezTo>
                    <a:cubicBezTo>
                      <a:pt x="1968" y="1969"/>
                      <a:pt x="1968" y="1969"/>
                      <a:pt x="1968" y="1969"/>
                    </a:cubicBezTo>
                    <a:cubicBezTo>
                      <a:pt x="1970" y="1970"/>
                      <a:pt x="1972" y="1971"/>
                      <a:pt x="1974" y="1971"/>
                    </a:cubicBezTo>
                    <a:cubicBezTo>
                      <a:pt x="1985" y="1971"/>
                      <a:pt x="1993" y="1963"/>
                      <a:pt x="1995" y="1953"/>
                    </a:cubicBezTo>
                    <a:cubicBezTo>
                      <a:pt x="2189" y="1933"/>
                      <a:pt x="2189" y="1933"/>
                      <a:pt x="2189" y="1933"/>
                    </a:cubicBezTo>
                    <a:cubicBezTo>
                      <a:pt x="2192" y="1941"/>
                      <a:pt x="2200" y="1947"/>
                      <a:pt x="2209" y="1947"/>
                    </a:cubicBezTo>
                    <a:cubicBezTo>
                      <a:pt x="2221" y="1947"/>
                      <a:pt x="2230" y="1937"/>
                      <a:pt x="2230" y="1925"/>
                    </a:cubicBezTo>
                    <a:cubicBezTo>
                      <a:pt x="2230" y="1923"/>
                      <a:pt x="2230" y="1921"/>
                      <a:pt x="2229" y="1919"/>
                    </a:cubicBezTo>
                    <a:cubicBezTo>
                      <a:pt x="2359" y="1836"/>
                      <a:pt x="2359" y="1836"/>
                      <a:pt x="2359" y="1836"/>
                    </a:cubicBezTo>
                    <a:cubicBezTo>
                      <a:pt x="2363" y="1841"/>
                      <a:pt x="2369" y="1844"/>
                      <a:pt x="2375" y="1844"/>
                    </a:cubicBezTo>
                    <a:cubicBezTo>
                      <a:pt x="2387" y="1844"/>
                      <a:pt x="2397" y="1834"/>
                      <a:pt x="2397" y="1822"/>
                    </a:cubicBezTo>
                    <a:cubicBezTo>
                      <a:pt x="2397" y="1819"/>
                      <a:pt x="2396" y="1816"/>
                      <a:pt x="2394" y="1813"/>
                    </a:cubicBezTo>
                    <a:cubicBezTo>
                      <a:pt x="2479" y="1737"/>
                      <a:pt x="2479" y="1737"/>
                      <a:pt x="2479" y="1737"/>
                    </a:cubicBezTo>
                    <a:cubicBezTo>
                      <a:pt x="2483" y="1740"/>
                      <a:pt x="2487" y="1741"/>
                      <a:pt x="2491" y="1741"/>
                    </a:cubicBezTo>
                    <a:cubicBezTo>
                      <a:pt x="2503" y="1741"/>
                      <a:pt x="2513" y="1731"/>
                      <a:pt x="2513" y="1720"/>
                    </a:cubicBezTo>
                    <a:cubicBezTo>
                      <a:pt x="2513" y="1715"/>
                      <a:pt x="2511" y="1710"/>
                      <a:pt x="2508" y="1707"/>
                    </a:cubicBezTo>
                    <a:cubicBezTo>
                      <a:pt x="2570" y="1628"/>
                      <a:pt x="2570" y="1628"/>
                      <a:pt x="2570" y="1628"/>
                    </a:cubicBezTo>
                    <a:cubicBezTo>
                      <a:pt x="2572" y="1630"/>
                      <a:pt x="2575" y="1630"/>
                      <a:pt x="2578" y="1630"/>
                    </a:cubicBezTo>
                    <a:cubicBezTo>
                      <a:pt x="2590" y="1630"/>
                      <a:pt x="2600" y="1621"/>
                      <a:pt x="2600" y="1609"/>
                    </a:cubicBezTo>
                    <a:cubicBezTo>
                      <a:pt x="2600" y="1602"/>
                      <a:pt x="2597" y="1597"/>
                      <a:pt x="2593" y="1593"/>
                    </a:cubicBezTo>
                    <a:cubicBezTo>
                      <a:pt x="2634" y="1516"/>
                      <a:pt x="2634" y="1516"/>
                      <a:pt x="2634" y="1516"/>
                    </a:cubicBezTo>
                    <a:cubicBezTo>
                      <a:pt x="2636" y="1516"/>
                      <a:pt x="2637" y="1516"/>
                      <a:pt x="2639" y="1516"/>
                    </a:cubicBezTo>
                    <a:cubicBezTo>
                      <a:pt x="2651" y="1516"/>
                      <a:pt x="2660" y="1507"/>
                      <a:pt x="2660" y="1495"/>
                    </a:cubicBezTo>
                    <a:cubicBezTo>
                      <a:pt x="2660" y="1485"/>
                      <a:pt x="2654" y="1477"/>
                      <a:pt x="2644" y="1474"/>
                    </a:cubicBezTo>
                    <a:close/>
                    <a:moveTo>
                      <a:pt x="2557" y="1609"/>
                    </a:moveTo>
                    <a:cubicBezTo>
                      <a:pt x="2557" y="1614"/>
                      <a:pt x="2559" y="1618"/>
                      <a:pt x="2561" y="1622"/>
                    </a:cubicBezTo>
                    <a:cubicBezTo>
                      <a:pt x="2500" y="1700"/>
                      <a:pt x="2500" y="1700"/>
                      <a:pt x="2500" y="1700"/>
                    </a:cubicBezTo>
                    <a:cubicBezTo>
                      <a:pt x="2497" y="1699"/>
                      <a:pt x="2494" y="1698"/>
                      <a:pt x="2491" y="1698"/>
                    </a:cubicBezTo>
                    <a:cubicBezTo>
                      <a:pt x="2490" y="1698"/>
                      <a:pt x="2490" y="1698"/>
                      <a:pt x="2489" y="1698"/>
                    </a:cubicBezTo>
                    <a:cubicBezTo>
                      <a:pt x="2432" y="1461"/>
                      <a:pt x="2432" y="1461"/>
                      <a:pt x="2432" y="1461"/>
                    </a:cubicBezTo>
                    <a:cubicBezTo>
                      <a:pt x="2433" y="1461"/>
                      <a:pt x="2434" y="1461"/>
                      <a:pt x="2434" y="1461"/>
                    </a:cubicBezTo>
                    <a:cubicBezTo>
                      <a:pt x="2439" y="1461"/>
                      <a:pt x="2443" y="1460"/>
                      <a:pt x="2446" y="1457"/>
                    </a:cubicBezTo>
                    <a:cubicBezTo>
                      <a:pt x="2564" y="1593"/>
                      <a:pt x="2564" y="1593"/>
                      <a:pt x="2564" y="1593"/>
                    </a:cubicBezTo>
                    <a:cubicBezTo>
                      <a:pt x="2559" y="1597"/>
                      <a:pt x="2557" y="1603"/>
                      <a:pt x="2557" y="1609"/>
                    </a:cubicBezTo>
                    <a:close/>
                    <a:moveTo>
                      <a:pt x="1560" y="2622"/>
                    </a:moveTo>
                    <a:cubicBezTo>
                      <a:pt x="1558" y="2617"/>
                      <a:pt x="1556" y="2614"/>
                      <a:pt x="1553" y="2611"/>
                    </a:cubicBezTo>
                    <a:cubicBezTo>
                      <a:pt x="1581" y="2506"/>
                      <a:pt x="1581" y="2506"/>
                      <a:pt x="1581" y="2506"/>
                    </a:cubicBezTo>
                    <a:cubicBezTo>
                      <a:pt x="1582" y="2506"/>
                      <a:pt x="1583" y="2506"/>
                      <a:pt x="1584" y="2506"/>
                    </a:cubicBezTo>
                    <a:cubicBezTo>
                      <a:pt x="1587" y="2506"/>
                      <a:pt x="1590" y="2505"/>
                      <a:pt x="1593" y="2503"/>
                    </a:cubicBezTo>
                    <a:cubicBezTo>
                      <a:pt x="1654" y="2595"/>
                      <a:pt x="1654" y="2595"/>
                      <a:pt x="1654" y="2595"/>
                    </a:cubicBezTo>
                    <a:cubicBezTo>
                      <a:pt x="1650" y="2599"/>
                      <a:pt x="1647" y="2605"/>
                      <a:pt x="1647" y="2611"/>
                    </a:cubicBezTo>
                    <a:lnTo>
                      <a:pt x="1560" y="2622"/>
                    </a:lnTo>
                    <a:close/>
                    <a:moveTo>
                      <a:pt x="1477" y="2923"/>
                    </a:moveTo>
                    <a:cubicBezTo>
                      <a:pt x="1436" y="2956"/>
                      <a:pt x="1436" y="2956"/>
                      <a:pt x="1436" y="2956"/>
                    </a:cubicBezTo>
                    <a:cubicBezTo>
                      <a:pt x="1434" y="2954"/>
                      <a:pt x="1431" y="2953"/>
                      <a:pt x="1428" y="2952"/>
                    </a:cubicBezTo>
                    <a:cubicBezTo>
                      <a:pt x="1435" y="2904"/>
                      <a:pt x="1435" y="2904"/>
                      <a:pt x="1435" y="2904"/>
                    </a:cubicBezTo>
                    <a:cubicBezTo>
                      <a:pt x="1436" y="2904"/>
                      <a:pt x="1436" y="2904"/>
                      <a:pt x="1436" y="2904"/>
                    </a:cubicBezTo>
                    <a:cubicBezTo>
                      <a:pt x="1443" y="2904"/>
                      <a:pt x="1450" y="2901"/>
                      <a:pt x="1454" y="2895"/>
                    </a:cubicBezTo>
                    <a:cubicBezTo>
                      <a:pt x="1477" y="2907"/>
                      <a:pt x="1477" y="2907"/>
                      <a:pt x="1477" y="2907"/>
                    </a:cubicBezTo>
                    <a:cubicBezTo>
                      <a:pt x="1476" y="2909"/>
                      <a:pt x="1475" y="2912"/>
                      <a:pt x="1475" y="2914"/>
                    </a:cubicBezTo>
                    <a:cubicBezTo>
                      <a:pt x="1475" y="2918"/>
                      <a:pt x="1476" y="2920"/>
                      <a:pt x="1477" y="2923"/>
                    </a:cubicBezTo>
                    <a:close/>
                    <a:moveTo>
                      <a:pt x="919" y="2100"/>
                    </a:moveTo>
                    <a:cubicBezTo>
                      <a:pt x="930" y="2100"/>
                      <a:pt x="939" y="2092"/>
                      <a:pt x="940" y="2082"/>
                    </a:cubicBezTo>
                    <a:cubicBezTo>
                      <a:pt x="989" y="2080"/>
                      <a:pt x="989" y="2080"/>
                      <a:pt x="989" y="2080"/>
                    </a:cubicBezTo>
                    <a:cubicBezTo>
                      <a:pt x="991" y="2091"/>
                      <a:pt x="999" y="2099"/>
                      <a:pt x="1010" y="2099"/>
                    </a:cubicBezTo>
                    <a:cubicBezTo>
                      <a:pt x="1012" y="2099"/>
                      <a:pt x="1013" y="2098"/>
                      <a:pt x="1014" y="2098"/>
                    </a:cubicBezTo>
                    <a:cubicBezTo>
                      <a:pt x="1034" y="2162"/>
                      <a:pt x="1034" y="2162"/>
                      <a:pt x="1034" y="2162"/>
                    </a:cubicBezTo>
                    <a:cubicBezTo>
                      <a:pt x="1032" y="2161"/>
                      <a:pt x="1032" y="2161"/>
                      <a:pt x="1032" y="2161"/>
                    </a:cubicBezTo>
                    <a:cubicBezTo>
                      <a:pt x="969" y="2226"/>
                      <a:pt x="969" y="2226"/>
                      <a:pt x="969" y="2226"/>
                    </a:cubicBezTo>
                    <a:cubicBezTo>
                      <a:pt x="906" y="2184"/>
                      <a:pt x="906" y="2184"/>
                      <a:pt x="906" y="2184"/>
                    </a:cubicBezTo>
                    <a:cubicBezTo>
                      <a:pt x="909" y="2180"/>
                      <a:pt x="911" y="2176"/>
                      <a:pt x="911" y="2170"/>
                    </a:cubicBezTo>
                    <a:cubicBezTo>
                      <a:pt x="911" y="2160"/>
                      <a:pt x="904" y="2152"/>
                      <a:pt x="894" y="2149"/>
                    </a:cubicBezTo>
                    <a:cubicBezTo>
                      <a:pt x="911" y="2099"/>
                      <a:pt x="911" y="2099"/>
                      <a:pt x="911" y="2099"/>
                    </a:cubicBezTo>
                    <a:cubicBezTo>
                      <a:pt x="913" y="2100"/>
                      <a:pt x="916" y="2100"/>
                      <a:pt x="919" y="2100"/>
                    </a:cubicBezTo>
                    <a:close/>
                    <a:moveTo>
                      <a:pt x="950" y="1988"/>
                    </a:moveTo>
                    <a:cubicBezTo>
                      <a:pt x="949" y="1978"/>
                      <a:pt x="940" y="1970"/>
                      <a:pt x="929" y="1970"/>
                    </a:cubicBezTo>
                    <a:cubicBezTo>
                      <a:pt x="917" y="1970"/>
                      <a:pt x="908" y="1979"/>
                      <a:pt x="908" y="1991"/>
                    </a:cubicBezTo>
                    <a:cubicBezTo>
                      <a:pt x="908" y="1998"/>
                      <a:pt x="911" y="2004"/>
                      <a:pt x="915" y="2007"/>
                    </a:cubicBezTo>
                    <a:cubicBezTo>
                      <a:pt x="828" y="2078"/>
                      <a:pt x="828" y="2078"/>
                      <a:pt x="828" y="2078"/>
                    </a:cubicBezTo>
                    <a:cubicBezTo>
                      <a:pt x="828" y="2078"/>
                      <a:pt x="828" y="2078"/>
                      <a:pt x="828" y="2078"/>
                    </a:cubicBezTo>
                    <a:cubicBezTo>
                      <a:pt x="1019" y="1709"/>
                      <a:pt x="1019" y="1709"/>
                      <a:pt x="1019" y="1709"/>
                    </a:cubicBezTo>
                    <a:cubicBezTo>
                      <a:pt x="1019" y="1709"/>
                      <a:pt x="1019" y="1709"/>
                      <a:pt x="1019" y="1709"/>
                    </a:cubicBezTo>
                    <a:cubicBezTo>
                      <a:pt x="1020" y="1709"/>
                      <a:pt x="1020" y="1709"/>
                      <a:pt x="1020" y="1709"/>
                    </a:cubicBezTo>
                    <a:cubicBezTo>
                      <a:pt x="1068" y="1953"/>
                      <a:pt x="1068" y="1953"/>
                      <a:pt x="1068" y="1953"/>
                    </a:cubicBezTo>
                    <a:cubicBezTo>
                      <a:pt x="1059" y="1955"/>
                      <a:pt x="1053" y="1963"/>
                      <a:pt x="1053" y="1973"/>
                    </a:cubicBezTo>
                    <a:cubicBezTo>
                      <a:pt x="1053" y="1975"/>
                      <a:pt x="1053" y="1977"/>
                      <a:pt x="1054" y="1979"/>
                    </a:cubicBezTo>
                    <a:lnTo>
                      <a:pt x="950" y="1988"/>
                    </a:lnTo>
                    <a:close/>
                    <a:moveTo>
                      <a:pt x="278" y="1803"/>
                    </a:moveTo>
                    <a:cubicBezTo>
                      <a:pt x="275" y="1803"/>
                      <a:pt x="273" y="1804"/>
                      <a:pt x="271" y="1805"/>
                    </a:cubicBezTo>
                    <a:cubicBezTo>
                      <a:pt x="188" y="1727"/>
                      <a:pt x="188" y="1727"/>
                      <a:pt x="188" y="1727"/>
                    </a:cubicBezTo>
                    <a:cubicBezTo>
                      <a:pt x="190" y="1724"/>
                      <a:pt x="191" y="1720"/>
                      <a:pt x="191" y="1717"/>
                    </a:cubicBezTo>
                    <a:cubicBezTo>
                      <a:pt x="191" y="1713"/>
                      <a:pt x="190" y="1710"/>
                      <a:pt x="189" y="1708"/>
                    </a:cubicBezTo>
                    <a:cubicBezTo>
                      <a:pt x="366" y="1605"/>
                      <a:pt x="366" y="1605"/>
                      <a:pt x="366" y="1605"/>
                    </a:cubicBezTo>
                    <a:cubicBezTo>
                      <a:pt x="368" y="1608"/>
                      <a:pt x="370" y="1609"/>
                      <a:pt x="372" y="1611"/>
                    </a:cubicBezTo>
                    <a:cubicBezTo>
                      <a:pt x="284" y="1804"/>
                      <a:pt x="284" y="1804"/>
                      <a:pt x="284" y="1804"/>
                    </a:cubicBezTo>
                    <a:cubicBezTo>
                      <a:pt x="282" y="1804"/>
                      <a:pt x="280" y="1803"/>
                      <a:pt x="278" y="1803"/>
                    </a:cubicBezTo>
                    <a:close/>
                    <a:moveTo>
                      <a:pt x="39" y="1019"/>
                    </a:moveTo>
                    <a:cubicBezTo>
                      <a:pt x="90" y="1059"/>
                      <a:pt x="90" y="1059"/>
                      <a:pt x="90" y="1059"/>
                    </a:cubicBezTo>
                    <a:cubicBezTo>
                      <a:pt x="89" y="1062"/>
                      <a:pt x="89" y="1065"/>
                      <a:pt x="89" y="1068"/>
                    </a:cubicBezTo>
                    <a:cubicBezTo>
                      <a:pt x="89" y="1076"/>
                      <a:pt x="93" y="1083"/>
                      <a:pt x="100" y="1087"/>
                    </a:cubicBezTo>
                    <a:cubicBezTo>
                      <a:pt x="27" y="1278"/>
                      <a:pt x="27" y="1278"/>
                      <a:pt x="27" y="1278"/>
                    </a:cubicBezTo>
                    <a:cubicBezTo>
                      <a:pt x="30" y="1025"/>
                      <a:pt x="30" y="1025"/>
                      <a:pt x="30" y="1025"/>
                    </a:cubicBezTo>
                    <a:cubicBezTo>
                      <a:pt x="33" y="1024"/>
                      <a:pt x="37" y="1022"/>
                      <a:pt x="39" y="1019"/>
                    </a:cubicBezTo>
                    <a:close/>
                    <a:moveTo>
                      <a:pt x="46" y="1006"/>
                    </a:moveTo>
                    <a:cubicBezTo>
                      <a:pt x="169" y="999"/>
                      <a:pt x="169" y="999"/>
                      <a:pt x="169" y="999"/>
                    </a:cubicBezTo>
                    <a:cubicBezTo>
                      <a:pt x="170" y="1002"/>
                      <a:pt x="171" y="1004"/>
                      <a:pt x="173" y="1006"/>
                    </a:cubicBezTo>
                    <a:cubicBezTo>
                      <a:pt x="124" y="1052"/>
                      <a:pt x="124" y="1052"/>
                      <a:pt x="124" y="1052"/>
                    </a:cubicBezTo>
                    <a:cubicBezTo>
                      <a:pt x="120" y="1049"/>
                      <a:pt x="115" y="1046"/>
                      <a:pt x="110" y="1046"/>
                    </a:cubicBezTo>
                    <a:cubicBezTo>
                      <a:pt x="103" y="1046"/>
                      <a:pt x="97" y="1050"/>
                      <a:pt x="93" y="1055"/>
                    </a:cubicBezTo>
                    <a:cubicBezTo>
                      <a:pt x="43" y="1015"/>
                      <a:pt x="43" y="1015"/>
                      <a:pt x="43" y="1015"/>
                    </a:cubicBezTo>
                    <a:cubicBezTo>
                      <a:pt x="44" y="1013"/>
                      <a:pt x="45" y="1009"/>
                      <a:pt x="46" y="1006"/>
                    </a:cubicBezTo>
                    <a:close/>
                    <a:moveTo>
                      <a:pt x="416" y="1165"/>
                    </a:moveTo>
                    <a:cubicBezTo>
                      <a:pt x="367" y="1264"/>
                      <a:pt x="367" y="1264"/>
                      <a:pt x="367" y="1264"/>
                    </a:cubicBezTo>
                    <a:cubicBezTo>
                      <a:pt x="363" y="1261"/>
                      <a:pt x="359" y="1260"/>
                      <a:pt x="354" y="1260"/>
                    </a:cubicBezTo>
                    <a:cubicBezTo>
                      <a:pt x="349" y="1260"/>
                      <a:pt x="344" y="1262"/>
                      <a:pt x="340" y="1265"/>
                    </a:cubicBezTo>
                    <a:cubicBezTo>
                      <a:pt x="126" y="1082"/>
                      <a:pt x="126" y="1082"/>
                      <a:pt x="126" y="1082"/>
                    </a:cubicBezTo>
                    <a:cubicBezTo>
                      <a:pt x="129" y="1078"/>
                      <a:pt x="132" y="1073"/>
                      <a:pt x="132" y="1068"/>
                    </a:cubicBezTo>
                    <a:cubicBezTo>
                      <a:pt x="132" y="1063"/>
                      <a:pt x="130" y="1059"/>
                      <a:pt x="128" y="1056"/>
                    </a:cubicBezTo>
                    <a:cubicBezTo>
                      <a:pt x="176" y="1009"/>
                      <a:pt x="176" y="1009"/>
                      <a:pt x="176" y="1009"/>
                    </a:cubicBezTo>
                    <a:cubicBezTo>
                      <a:pt x="180" y="1012"/>
                      <a:pt x="185" y="1014"/>
                      <a:pt x="190" y="1014"/>
                    </a:cubicBezTo>
                    <a:cubicBezTo>
                      <a:pt x="194" y="1014"/>
                      <a:pt x="198" y="1013"/>
                      <a:pt x="202" y="1010"/>
                    </a:cubicBezTo>
                    <a:cubicBezTo>
                      <a:pt x="410" y="1136"/>
                      <a:pt x="410" y="1136"/>
                      <a:pt x="410" y="1136"/>
                    </a:cubicBezTo>
                    <a:cubicBezTo>
                      <a:pt x="408" y="1139"/>
                      <a:pt x="407" y="1143"/>
                      <a:pt x="407" y="1147"/>
                    </a:cubicBezTo>
                    <a:cubicBezTo>
                      <a:pt x="407" y="1154"/>
                      <a:pt x="410" y="1161"/>
                      <a:pt x="416" y="1165"/>
                    </a:cubicBezTo>
                    <a:close/>
                    <a:moveTo>
                      <a:pt x="634" y="1299"/>
                    </a:moveTo>
                    <a:cubicBezTo>
                      <a:pt x="634" y="1303"/>
                      <a:pt x="635" y="1307"/>
                      <a:pt x="638" y="1310"/>
                    </a:cubicBezTo>
                    <a:cubicBezTo>
                      <a:pt x="560" y="1383"/>
                      <a:pt x="560" y="1383"/>
                      <a:pt x="560" y="1383"/>
                    </a:cubicBezTo>
                    <a:cubicBezTo>
                      <a:pt x="557" y="1380"/>
                      <a:pt x="552" y="1379"/>
                      <a:pt x="547" y="1379"/>
                    </a:cubicBezTo>
                    <a:cubicBezTo>
                      <a:pt x="540" y="1379"/>
                      <a:pt x="534" y="1382"/>
                      <a:pt x="530" y="1387"/>
                    </a:cubicBezTo>
                    <a:cubicBezTo>
                      <a:pt x="374" y="1290"/>
                      <a:pt x="374" y="1290"/>
                      <a:pt x="374" y="1290"/>
                    </a:cubicBezTo>
                    <a:cubicBezTo>
                      <a:pt x="374" y="1289"/>
                      <a:pt x="375" y="1287"/>
                      <a:pt x="375" y="1285"/>
                    </a:cubicBezTo>
                    <a:lnTo>
                      <a:pt x="634" y="1299"/>
                    </a:lnTo>
                    <a:close/>
                    <a:moveTo>
                      <a:pt x="813" y="2072"/>
                    </a:moveTo>
                    <a:cubicBezTo>
                      <a:pt x="812" y="2072"/>
                      <a:pt x="811" y="2073"/>
                      <a:pt x="810" y="2073"/>
                    </a:cubicBezTo>
                    <a:cubicBezTo>
                      <a:pt x="771" y="1924"/>
                      <a:pt x="771" y="1924"/>
                      <a:pt x="771" y="1924"/>
                    </a:cubicBezTo>
                    <a:cubicBezTo>
                      <a:pt x="778" y="1921"/>
                      <a:pt x="782" y="1916"/>
                      <a:pt x="784" y="1909"/>
                    </a:cubicBezTo>
                    <a:cubicBezTo>
                      <a:pt x="847" y="1915"/>
                      <a:pt x="847" y="1915"/>
                      <a:pt x="847" y="1915"/>
                    </a:cubicBezTo>
                    <a:cubicBezTo>
                      <a:pt x="847" y="1923"/>
                      <a:pt x="852" y="1930"/>
                      <a:pt x="859" y="1933"/>
                    </a:cubicBezTo>
                    <a:cubicBezTo>
                      <a:pt x="822" y="2074"/>
                      <a:pt x="822" y="2074"/>
                      <a:pt x="822" y="2074"/>
                    </a:cubicBezTo>
                    <a:cubicBezTo>
                      <a:pt x="819" y="2073"/>
                      <a:pt x="816" y="2072"/>
                      <a:pt x="813" y="2072"/>
                    </a:cubicBezTo>
                    <a:close/>
                    <a:moveTo>
                      <a:pt x="742" y="1904"/>
                    </a:moveTo>
                    <a:cubicBezTo>
                      <a:pt x="742" y="1906"/>
                      <a:pt x="742" y="1907"/>
                      <a:pt x="742" y="1909"/>
                    </a:cubicBezTo>
                    <a:cubicBezTo>
                      <a:pt x="703" y="1935"/>
                      <a:pt x="703" y="1935"/>
                      <a:pt x="703" y="1935"/>
                    </a:cubicBezTo>
                    <a:cubicBezTo>
                      <a:pt x="699" y="1930"/>
                      <a:pt x="693" y="1927"/>
                      <a:pt x="687" y="1927"/>
                    </a:cubicBezTo>
                    <a:cubicBezTo>
                      <a:pt x="686" y="1927"/>
                      <a:pt x="686" y="1927"/>
                      <a:pt x="686" y="1927"/>
                    </a:cubicBezTo>
                    <a:cubicBezTo>
                      <a:pt x="668" y="1795"/>
                      <a:pt x="668" y="1795"/>
                      <a:pt x="668" y="1795"/>
                    </a:cubicBezTo>
                    <a:cubicBezTo>
                      <a:pt x="670" y="1795"/>
                      <a:pt x="672" y="1794"/>
                      <a:pt x="674" y="1793"/>
                    </a:cubicBezTo>
                    <a:cubicBezTo>
                      <a:pt x="748" y="1889"/>
                      <a:pt x="748" y="1889"/>
                      <a:pt x="748" y="1889"/>
                    </a:cubicBezTo>
                    <a:cubicBezTo>
                      <a:pt x="744" y="1893"/>
                      <a:pt x="742" y="1898"/>
                      <a:pt x="742" y="1904"/>
                    </a:cubicBezTo>
                    <a:close/>
                    <a:moveTo>
                      <a:pt x="430" y="1894"/>
                    </a:moveTo>
                    <a:cubicBezTo>
                      <a:pt x="469" y="1511"/>
                      <a:pt x="469" y="1511"/>
                      <a:pt x="469" y="1511"/>
                    </a:cubicBezTo>
                    <a:cubicBezTo>
                      <a:pt x="472" y="1511"/>
                      <a:pt x="475" y="1510"/>
                      <a:pt x="477" y="1509"/>
                    </a:cubicBezTo>
                    <a:cubicBezTo>
                      <a:pt x="649" y="1759"/>
                      <a:pt x="649" y="1759"/>
                      <a:pt x="649" y="1759"/>
                    </a:cubicBezTo>
                    <a:cubicBezTo>
                      <a:pt x="644" y="1763"/>
                      <a:pt x="641" y="1768"/>
                      <a:pt x="641" y="1775"/>
                    </a:cubicBezTo>
                    <a:cubicBezTo>
                      <a:pt x="641" y="1778"/>
                      <a:pt x="642" y="1781"/>
                      <a:pt x="643" y="1783"/>
                    </a:cubicBezTo>
                    <a:cubicBezTo>
                      <a:pt x="442" y="1901"/>
                      <a:pt x="442" y="1901"/>
                      <a:pt x="442" y="1901"/>
                    </a:cubicBezTo>
                    <a:cubicBezTo>
                      <a:pt x="439" y="1898"/>
                      <a:pt x="435" y="1895"/>
                      <a:pt x="430" y="1894"/>
                    </a:cubicBezTo>
                    <a:close/>
                    <a:moveTo>
                      <a:pt x="383" y="1571"/>
                    </a:moveTo>
                    <a:cubicBezTo>
                      <a:pt x="378" y="1571"/>
                      <a:pt x="374" y="1573"/>
                      <a:pt x="370" y="1576"/>
                    </a:cubicBezTo>
                    <a:cubicBezTo>
                      <a:pt x="252" y="1456"/>
                      <a:pt x="252" y="1456"/>
                      <a:pt x="252" y="1456"/>
                    </a:cubicBezTo>
                    <a:cubicBezTo>
                      <a:pt x="255" y="1453"/>
                      <a:pt x="257" y="1450"/>
                      <a:pt x="258" y="1447"/>
                    </a:cubicBezTo>
                    <a:cubicBezTo>
                      <a:pt x="446" y="1488"/>
                      <a:pt x="446" y="1488"/>
                      <a:pt x="446" y="1488"/>
                    </a:cubicBezTo>
                    <a:cubicBezTo>
                      <a:pt x="446" y="1489"/>
                      <a:pt x="446" y="1489"/>
                      <a:pt x="446" y="1490"/>
                    </a:cubicBezTo>
                    <a:cubicBezTo>
                      <a:pt x="446" y="1495"/>
                      <a:pt x="448" y="1500"/>
                      <a:pt x="451" y="1503"/>
                    </a:cubicBezTo>
                    <a:cubicBezTo>
                      <a:pt x="387" y="1572"/>
                      <a:pt x="387" y="1572"/>
                      <a:pt x="387" y="1572"/>
                    </a:cubicBezTo>
                    <a:cubicBezTo>
                      <a:pt x="386" y="1571"/>
                      <a:pt x="384" y="1571"/>
                      <a:pt x="383" y="1571"/>
                    </a:cubicBezTo>
                    <a:close/>
                    <a:moveTo>
                      <a:pt x="32" y="1281"/>
                    </a:moveTo>
                    <a:cubicBezTo>
                      <a:pt x="105" y="1089"/>
                      <a:pt x="105" y="1089"/>
                      <a:pt x="105" y="1089"/>
                    </a:cubicBezTo>
                    <a:cubicBezTo>
                      <a:pt x="106" y="1089"/>
                      <a:pt x="107" y="1089"/>
                      <a:pt x="108" y="1089"/>
                    </a:cubicBezTo>
                    <a:cubicBezTo>
                      <a:pt x="113" y="1302"/>
                      <a:pt x="113" y="1302"/>
                      <a:pt x="113" y="1302"/>
                    </a:cubicBezTo>
                    <a:cubicBezTo>
                      <a:pt x="105" y="1304"/>
                      <a:pt x="99" y="1309"/>
                      <a:pt x="96" y="1316"/>
                    </a:cubicBezTo>
                    <a:cubicBezTo>
                      <a:pt x="43" y="1302"/>
                      <a:pt x="43" y="1302"/>
                      <a:pt x="43" y="1302"/>
                    </a:cubicBezTo>
                    <a:cubicBezTo>
                      <a:pt x="43" y="1301"/>
                      <a:pt x="43" y="1301"/>
                      <a:pt x="43" y="1300"/>
                    </a:cubicBezTo>
                    <a:cubicBezTo>
                      <a:pt x="43" y="1292"/>
                      <a:pt x="38" y="1284"/>
                      <a:pt x="32" y="1281"/>
                    </a:cubicBezTo>
                    <a:close/>
                    <a:moveTo>
                      <a:pt x="727" y="1417"/>
                    </a:moveTo>
                    <a:cubicBezTo>
                      <a:pt x="730" y="1423"/>
                      <a:pt x="737" y="1427"/>
                      <a:pt x="745" y="1427"/>
                    </a:cubicBezTo>
                    <a:cubicBezTo>
                      <a:pt x="745" y="1427"/>
                      <a:pt x="746" y="1427"/>
                      <a:pt x="747" y="1426"/>
                    </a:cubicBezTo>
                    <a:cubicBezTo>
                      <a:pt x="745" y="1595"/>
                      <a:pt x="745" y="1595"/>
                      <a:pt x="745" y="1595"/>
                    </a:cubicBezTo>
                    <a:cubicBezTo>
                      <a:pt x="741" y="1596"/>
                      <a:pt x="738" y="1597"/>
                      <a:pt x="735" y="1599"/>
                    </a:cubicBezTo>
                    <a:cubicBezTo>
                      <a:pt x="563" y="1414"/>
                      <a:pt x="563" y="1414"/>
                      <a:pt x="563" y="1414"/>
                    </a:cubicBezTo>
                    <a:cubicBezTo>
                      <a:pt x="565" y="1411"/>
                      <a:pt x="567" y="1408"/>
                      <a:pt x="568" y="1404"/>
                    </a:cubicBezTo>
                    <a:lnTo>
                      <a:pt x="727" y="1417"/>
                    </a:lnTo>
                    <a:close/>
                    <a:moveTo>
                      <a:pt x="919" y="1659"/>
                    </a:moveTo>
                    <a:cubicBezTo>
                      <a:pt x="821" y="1761"/>
                      <a:pt x="821" y="1761"/>
                      <a:pt x="821" y="1761"/>
                    </a:cubicBezTo>
                    <a:cubicBezTo>
                      <a:pt x="818" y="1760"/>
                      <a:pt x="814" y="1758"/>
                      <a:pt x="811" y="1758"/>
                    </a:cubicBezTo>
                    <a:cubicBezTo>
                      <a:pt x="809" y="1758"/>
                      <a:pt x="807" y="1759"/>
                      <a:pt x="805" y="1759"/>
                    </a:cubicBezTo>
                    <a:cubicBezTo>
                      <a:pt x="757" y="1635"/>
                      <a:pt x="757" y="1635"/>
                      <a:pt x="757" y="1635"/>
                    </a:cubicBezTo>
                    <a:cubicBezTo>
                      <a:pt x="762" y="1633"/>
                      <a:pt x="766" y="1629"/>
                      <a:pt x="767" y="1623"/>
                    </a:cubicBezTo>
                    <a:cubicBezTo>
                      <a:pt x="917" y="1655"/>
                      <a:pt x="917" y="1655"/>
                      <a:pt x="917" y="1655"/>
                    </a:cubicBezTo>
                    <a:cubicBezTo>
                      <a:pt x="918" y="1657"/>
                      <a:pt x="918" y="1658"/>
                      <a:pt x="919" y="1659"/>
                    </a:cubicBezTo>
                    <a:close/>
                    <a:moveTo>
                      <a:pt x="848" y="1910"/>
                    </a:moveTo>
                    <a:cubicBezTo>
                      <a:pt x="784" y="1903"/>
                      <a:pt x="784" y="1903"/>
                      <a:pt x="784" y="1903"/>
                    </a:cubicBezTo>
                    <a:cubicBezTo>
                      <a:pt x="784" y="1895"/>
                      <a:pt x="780" y="1889"/>
                      <a:pt x="773" y="1885"/>
                    </a:cubicBezTo>
                    <a:cubicBezTo>
                      <a:pt x="805" y="1801"/>
                      <a:pt x="805" y="1801"/>
                      <a:pt x="805" y="1801"/>
                    </a:cubicBezTo>
                    <a:cubicBezTo>
                      <a:pt x="807" y="1801"/>
                      <a:pt x="809" y="1801"/>
                      <a:pt x="811" y="1801"/>
                    </a:cubicBezTo>
                    <a:cubicBezTo>
                      <a:pt x="812" y="1801"/>
                      <a:pt x="814" y="1801"/>
                      <a:pt x="816" y="1801"/>
                    </a:cubicBezTo>
                    <a:cubicBezTo>
                      <a:pt x="853" y="1899"/>
                      <a:pt x="853" y="1899"/>
                      <a:pt x="853" y="1899"/>
                    </a:cubicBezTo>
                    <a:cubicBezTo>
                      <a:pt x="851" y="1902"/>
                      <a:pt x="849" y="1906"/>
                      <a:pt x="848" y="1910"/>
                    </a:cubicBezTo>
                    <a:close/>
                    <a:moveTo>
                      <a:pt x="253" y="1424"/>
                    </a:moveTo>
                    <a:cubicBezTo>
                      <a:pt x="344" y="1300"/>
                      <a:pt x="344" y="1300"/>
                      <a:pt x="344" y="1300"/>
                    </a:cubicBezTo>
                    <a:cubicBezTo>
                      <a:pt x="347" y="1302"/>
                      <a:pt x="350" y="1303"/>
                      <a:pt x="354" y="1303"/>
                    </a:cubicBezTo>
                    <a:cubicBezTo>
                      <a:pt x="357" y="1303"/>
                      <a:pt x="360" y="1302"/>
                      <a:pt x="362" y="1301"/>
                    </a:cubicBezTo>
                    <a:cubicBezTo>
                      <a:pt x="455" y="1472"/>
                      <a:pt x="455" y="1472"/>
                      <a:pt x="455" y="1472"/>
                    </a:cubicBezTo>
                    <a:cubicBezTo>
                      <a:pt x="452" y="1475"/>
                      <a:pt x="449" y="1479"/>
                      <a:pt x="447" y="1483"/>
                    </a:cubicBezTo>
                    <a:cubicBezTo>
                      <a:pt x="259" y="1442"/>
                      <a:pt x="259" y="1442"/>
                      <a:pt x="259" y="1442"/>
                    </a:cubicBezTo>
                    <a:cubicBezTo>
                      <a:pt x="259" y="1441"/>
                      <a:pt x="259" y="1440"/>
                      <a:pt x="259" y="1440"/>
                    </a:cubicBezTo>
                    <a:cubicBezTo>
                      <a:pt x="259" y="1433"/>
                      <a:pt x="257" y="1428"/>
                      <a:pt x="253" y="1424"/>
                    </a:cubicBezTo>
                    <a:close/>
                    <a:moveTo>
                      <a:pt x="547" y="1421"/>
                    </a:moveTo>
                    <a:cubicBezTo>
                      <a:pt x="551" y="1421"/>
                      <a:pt x="556" y="1420"/>
                      <a:pt x="559" y="1417"/>
                    </a:cubicBezTo>
                    <a:cubicBezTo>
                      <a:pt x="731" y="1603"/>
                      <a:pt x="731" y="1603"/>
                      <a:pt x="731" y="1603"/>
                    </a:cubicBezTo>
                    <a:cubicBezTo>
                      <a:pt x="729" y="1605"/>
                      <a:pt x="728" y="1607"/>
                      <a:pt x="727" y="1610"/>
                    </a:cubicBezTo>
                    <a:cubicBezTo>
                      <a:pt x="488" y="1496"/>
                      <a:pt x="488" y="1496"/>
                      <a:pt x="488" y="1496"/>
                    </a:cubicBezTo>
                    <a:cubicBezTo>
                      <a:pt x="489" y="1494"/>
                      <a:pt x="489" y="1492"/>
                      <a:pt x="489" y="1490"/>
                    </a:cubicBezTo>
                    <a:cubicBezTo>
                      <a:pt x="489" y="1488"/>
                      <a:pt x="489" y="1485"/>
                      <a:pt x="488" y="1483"/>
                    </a:cubicBezTo>
                    <a:cubicBezTo>
                      <a:pt x="536" y="1419"/>
                      <a:pt x="536" y="1419"/>
                      <a:pt x="536" y="1419"/>
                    </a:cubicBezTo>
                    <a:cubicBezTo>
                      <a:pt x="539" y="1420"/>
                      <a:pt x="543" y="1421"/>
                      <a:pt x="547" y="1421"/>
                    </a:cubicBezTo>
                    <a:close/>
                    <a:moveTo>
                      <a:pt x="789" y="1777"/>
                    </a:moveTo>
                    <a:cubicBezTo>
                      <a:pt x="684" y="1773"/>
                      <a:pt x="684" y="1773"/>
                      <a:pt x="684" y="1773"/>
                    </a:cubicBezTo>
                    <a:cubicBezTo>
                      <a:pt x="684" y="1766"/>
                      <a:pt x="680" y="1761"/>
                      <a:pt x="675" y="1757"/>
                    </a:cubicBezTo>
                    <a:cubicBezTo>
                      <a:pt x="740" y="1636"/>
                      <a:pt x="740" y="1636"/>
                      <a:pt x="740" y="1636"/>
                    </a:cubicBezTo>
                    <a:cubicBezTo>
                      <a:pt x="742" y="1637"/>
                      <a:pt x="745" y="1638"/>
                      <a:pt x="747" y="1638"/>
                    </a:cubicBezTo>
                    <a:cubicBezTo>
                      <a:pt x="749" y="1638"/>
                      <a:pt x="751" y="1638"/>
                      <a:pt x="752" y="1637"/>
                    </a:cubicBezTo>
                    <a:cubicBezTo>
                      <a:pt x="800" y="1761"/>
                      <a:pt x="800" y="1761"/>
                      <a:pt x="800" y="1761"/>
                    </a:cubicBezTo>
                    <a:cubicBezTo>
                      <a:pt x="795" y="1764"/>
                      <a:pt x="791" y="1770"/>
                      <a:pt x="789" y="1777"/>
                    </a:cubicBezTo>
                    <a:close/>
                    <a:moveTo>
                      <a:pt x="486" y="1501"/>
                    </a:moveTo>
                    <a:cubicBezTo>
                      <a:pt x="726" y="1616"/>
                      <a:pt x="726" y="1616"/>
                      <a:pt x="726" y="1616"/>
                    </a:cubicBezTo>
                    <a:cubicBezTo>
                      <a:pt x="726" y="1616"/>
                      <a:pt x="726" y="1616"/>
                      <a:pt x="726" y="1616"/>
                    </a:cubicBezTo>
                    <a:cubicBezTo>
                      <a:pt x="726" y="1624"/>
                      <a:pt x="729" y="1630"/>
                      <a:pt x="735" y="1634"/>
                    </a:cubicBezTo>
                    <a:cubicBezTo>
                      <a:pt x="670" y="1755"/>
                      <a:pt x="670" y="1755"/>
                      <a:pt x="670" y="1755"/>
                    </a:cubicBezTo>
                    <a:cubicBezTo>
                      <a:pt x="668" y="1754"/>
                      <a:pt x="666" y="1753"/>
                      <a:pt x="663" y="1753"/>
                    </a:cubicBezTo>
                    <a:cubicBezTo>
                      <a:pt x="659" y="1753"/>
                      <a:pt x="656" y="1754"/>
                      <a:pt x="653" y="1756"/>
                    </a:cubicBezTo>
                    <a:cubicBezTo>
                      <a:pt x="482" y="1506"/>
                      <a:pt x="482" y="1506"/>
                      <a:pt x="482" y="1506"/>
                    </a:cubicBezTo>
                    <a:cubicBezTo>
                      <a:pt x="483" y="1504"/>
                      <a:pt x="485" y="1503"/>
                      <a:pt x="486" y="1501"/>
                    </a:cubicBezTo>
                    <a:close/>
                    <a:moveTo>
                      <a:pt x="684" y="1778"/>
                    </a:moveTo>
                    <a:cubicBezTo>
                      <a:pt x="789" y="1782"/>
                      <a:pt x="789" y="1782"/>
                      <a:pt x="789" y="1782"/>
                    </a:cubicBezTo>
                    <a:cubicBezTo>
                      <a:pt x="790" y="1789"/>
                      <a:pt x="794" y="1795"/>
                      <a:pt x="801" y="1799"/>
                    </a:cubicBezTo>
                    <a:cubicBezTo>
                      <a:pt x="768" y="1883"/>
                      <a:pt x="768" y="1883"/>
                      <a:pt x="768" y="1883"/>
                    </a:cubicBezTo>
                    <a:cubicBezTo>
                      <a:pt x="767" y="1883"/>
                      <a:pt x="765" y="1882"/>
                      <a:pt x="763" y="1882"/>
                    </a:cubicBezTo>
                    <a:cubicBezTo>
                      <a:pt x="759" y="1882"/>
                      <a:pt x="755" y="1884"/>
                      <a:pt x="752" y="1886"/>
                    </a:cubicBezTo>
                    <a:cubicBezTo>
                      <a:pt x="678" y="1790"/>
                      <a:pt x="678" y="1790"/>
                      <a:pt x="678" y="1790"/>
                    </a:cubicBezTo>
                    <a:cubicBezTo>
                      <a:pt x="681" y="1787"/>
                      <a:pt x="683" y="1783"/>
                      <a:pt x="684" y="1778"/>
                    </a:cubicBezTo>
                    <a:close/>
                    <a:moveTo>
                      <a:pt x="532" y="1415"/>
                    </a:moveTo>
                    <a:cubicBezTo>
                      <a:pt x="486" y="1478"/>
                      <a:pt x="486" y="1478"/>
                      <a:pt x="486" y="1478"/>
                    </a:cubicBezTo>
                    <a:cubicBezTo>
                      <a:pt x="482" y="1472"/>
                      <a:pt x="475" y="1468"/>
                      <a:pt x="468" y="1468"/>
                    </a:cubicBezTo>
                    <a:cubicBezTo>
                      <a:pt x="465" y="1468"/>
                      <a:pt x="462" y="1469"/>
                      <a:pt x="460" y="1470"/>
                    </a:cubicBezTo>
                    <a:cubicBezTo>
                      <a:pt x="367" y="1299"/>
                      <a:pt x="367" y="1299"/>
                      <a:pt x="367" y="1299"/>
                    </a:cubicBezTo>
                    <a:cubicBezTo>
                      <a:pt x="368" y="1298"/>
                      <a:pt x="370" y="1296"/>
                      <a:pt x="371" y="1295"/>
                    </a:cubicBezTo>
                    <a:cubicBezTo>
                      <a:pt x="527" y="1391"/>
                      <a:pt x="527" y="1391"/>
                      <a:pt x="527" y="1391"/>
                    </a:cubicBezTo>
                    <a:cubicBezTo>
                      <a:pt x="526" y="1394"/>
                      <a:pt x="525" y="1397"/>
                      <a:pt x="525" y="1400"/>
                    </a:cubicBezTo>
                    <a:cubicBezTo>
                      <a:pt x="525" y="1406"/>
                      <a:pt x="528" y="1412"/>
                      <a:pt x="532" y="1415"/>
                    </a:cubicBezTo>
                    <a:close/>
                    <a:moveTo>
                      <a:pt x="333" y="1282"/>
                    </a:moveTo>
                    <a:cubicBezTo>
                      <a:pt x="136" y="1317"/>
                      <a:pt x="136" y="1317"/>
                      <a:pt x="136" y="1317"/>
                    </a:cubicBezTo>
                    <a:cubicBezTo>
                      <a:pt x="134" y="1309"/>
                      <a:pt x="127" y="1303"/>
                      <a:pt x="118" y="1302"/>
                    </a:cubicBezTo>
                    <a:cubicBezTo>
                      <a:pt x="113" y="1089"/>
                      <a:pt x="113" y="1089"/>
                      <a:pt x="113" y="1089"/>
                    </a:cubicBezTo>
                    <a:cubicBezTo>
                      <a:pt x="117" y="1089"/>
                      <a:pt x="120" y="1087"/>
                      <a:pt x="122" y="1085"/>
                    </a:cubicBezTo>
                    <a:cubicBezTo>
                      <a:pt x="336" y="1269"/>
                      <a:pt x="336" y="1269"/>
                      <a:pt x="336" y="1269"/>
                    </a:cubicBezTo>
                    <a:cubicBezTo>
                      <a:pt x="334" y="1273"/>
                      <a:pt x="333" y="1277"/>
                      <a:pt x="333" y="1281"/>
                    </a:cubicBezTo>
                    <a:cubicBezTo>
                      <a:pt x="333" y="1282"/>
                      <a:pt x="333" y="1282"/>
                      <a:pt x="333" y="1282"/>
                    </a:cubicBezTo>
                    <a:close/>
                    <a:moveTo>
                      <a:pt x="137" y="1322"/>
                    </a:moveTo>
                    <a:cubicBezTo>
                      <a:pt x="334" y="1288"/>
                      <a:pt x="334" y="1288"/>
                      <a:pt x="334" y="1288"/>
                    </a:cubicBezTo>
                    <a:cubicBezTo>
                      <a:pt x="335" y="1291"/>
                      <a:pt x="337" y="1294"/>
                      <a:pt x="339" y="1297"/>
                    </a:cubicBezTo>
                    <a:cubicBezTo>
                      <a:pt x="248" y="1421"/>
                      <a:pt x="248" y="1421"/>
                      <a:pt x="248" y="1421"/>
                    </a:cubicBezTo>
                    <a:cubicBezTo>
                      <a:pt x="245" y="1419"/>
                      <a:pt x="242" y="1418"/>
                      <a:pt x="238" y="1418"/>
                    </a:cubicBezTo>
                    <a:cubicBezTo>
                      <a:pt x="232" y="1418"/>
                      <a:pt x="226" y="1421"/>
                      <a:pt x="222" y="1425"/>
                    </a:cubicBezTo>
                    <a:cubicBezTo>
                      <a:pt x="133" y="1337"/>
                      <a:pt x="133" y="1337"/>
                      <a:pt x="133" y="1337"/>
                    </a:cubicBezTo>
                    <a:cubicBezTo>
                      <a:pt x="136" y="1333"/>
                      <a:pt x="137" y="1328"/>
                      <a:pt x="137" y="1323"/>
                    </a:cubicBezTo>
                    <a:cubicBezTo>
                      <a:pt x="137" y="1323"/>
                      <a:pt x="137" y="1323"/>
                      <a:pt x="137" y="1322"/>
                    </a:cubicBezTo>
                    <a:close/>
                    <a:moveTo>
                      <a:pt x="869" y="1893"/>
                    </a:moveTo>
                    <a:cubicBezTo>
                      <a:pt x="865" y="1893"/>
                      <a:pt x="861" y="1894"/>
                      <a:pt x="858" y="1896"/>
                    </a:cubicBezTo>
                    <a:cubicBezTo>
                      <a:pt x="821" y="1799"/>
                      <a:pt x="821" y="1799"/>
                      <a:pt x="821" y="1799"/>
                    </a:cubicBezTo>
                    <a:cubicBezTo>
                      <a:pt x="827" y="1795"/>
                      <a:pt x="832" y="1788"/>
                      <a:pt x="832" y="1780"/>
                    </a:cubicBezTo>
                    <a:cubicBezTo>
                      <a:pt x="832" y="1776"/>
                      <a:pt x="831" y="1772"/>
                      <a:pt x="829" y="1769"/>
                    </a:cubicBezTo>
                    <a:cubicBezTo>
                      <a:pt x="927" y="1667"/>
                      <a:pt x="927" y="1667"/>
                      <a:pt x="927" y="1667"/>
                    </a:cubicBezTo>
                    <a:cubicBezTo>
                      <a:pt x="928" y="1667"/>
                      <a:pt x="928" y="1668"/>
                      <a:pt x="929" y="1668"/>
                    </a:cubicBezTo>
                    <a:cubicBezTo>
                      <a:pt x="870" y="1893"/>
                      <a:pt x="870" y="1893"/>
                      <a:pt x="870" y="1893"/>
                    </a:cubicBezTo>
                    <a:cubicBezTo>
                      <a:pt x="869" y="1893"/>
                      <a:pt x="869" y="1893"/>
                      <a:pt x="869" y="1893"/>
                    </a:cubicBezTo>
                    <a:close/>
                    <a:moveTo>
                      <a:pt x="916" y="1649"/>
                    </a:moveTo>
                    <a:cubicBezTo>
                      <a:pt x="769" y="1618"/>
                      <a:pt x="769" y="1618"/>
                      <a:pt x="769" y="1618"/>
                    </a:cubicBezTo>
                    <a:cubicBezTo>
                      <a:pt x="769" y="1618"/>
                      <a:pt x="769" y="1617"/>
                      <a:pt x="769" y="1616"/>
                    </a:cubicBezTo>
                    <a:cubicBezTo>
                      <a:pt x="769" y="1605"/>
                      <a:pt x="761" y="1597"/>
                      <a:pt x="750" y="1595"/>
                    </a:cubicBezTo>
                    <a:cubicBezTo>
                      <a:pt x="752" y="1425"/>
                      <a:pt x="752" y="1425"/>
                      <a:pt x="752" y="1425"/>
                    </a:cubicBezTo>
                    <a:cubicBezTo>
                      <a:pt x="753" y="1425"/>
                      <a:pt x="753" y="1425"/>
                      <a:pt x="753" y="1425"/>
                    </a:cubicBezTo>
                    <a:cubicBezTo>
                      <a:pt x="920" y="1635"/>
                      <a:pt x="920" y="1635"/>
                      <a:pt x="920" y="1635"/>
                    </a:cubicBezTo>
                    <a:cubicBezTo>
                      <a:pt x="917" y="1639"/>
                      <a:pt x="916" y="1643"/>
                      <a:pt x="916" y="1648"/>
                    </a:cubicBezTo>
                    <a:cubicBezTo>
                      <a:pt x="916" y="1648"/>
                      <a:pt x="916" y="1649"/>
                      <a:pt x="916" y="1649"/>
                    </a:cubicBezTo>
                    <a:close/>
                    <a:moveTo>
                      <a:pt x="724" y="1411"/>
                    </a:moveTo>
                    <a:cubicBezTo>
                      <a:pt x="568" y="1399"/>
                      <a:pt x="568" y="1399"/>
                      <a:pt x="568" y="1399"/>
                    </a:cubicBezTo>
                    <a:cubicBezTo>
                      <a:pt x="568" y="1395"/>
                      <a:pt x="566" y="1391"/>
                      <a:pt x="564" y="1387"/>
                    </a:cubicBezTo>
                    <a:cubicBezTo>
                      <a:pt x="641" y="1314"/>
                      <a:pt x="641" y="1314"/>
                      <a:pt x="641" y="1314"/>
                    </a:cubicBezTo>
                    <a:cubicBezTo>
                      <a:pt x="645" y="1317"/>
                      <a:pt x="650" y="1319"/>
                      <a:pt x="655" y="1319"/>
                    </a:cubicBezTo>
                    <a:cubicBezTo>
                      <a:pt x="657" y="1319"/>
                      <a:pt x="659" y="1318"/>
                      <a:pt x="661" y="1318"/>
                    </a:cubicBezTo>
                    <a:cubicBezTo>
                      <a:pt x="727" y="1393"/>
                      <a:pt x="727" y="1393"/>
                      <a:pt x="727" y="1393"/>
                    </a:cubicBezTo>
                    <a:cubicBezTo>
                      <a:pt x="725" y="1397"/>
                      <a:pt x="723" y="1401"/>
                      <a:pt x="723" y="1405"/>
                    </a:cubicBezTo>
                    <a:cubicBezTo>
                      <a:pt x="723" y="1407"/>
                      <a:pt x="724" y="1409"/>
                      <a:pt x="724" y="1411"/>
                    </a:cubicBezTo>
                    <a:close/>
                    <a:moveTo>
                      <a:pt x="42" y="1307"/>
                    </a:moveTo>
                    <a:cubicBezTo>
                      <a:pt x="95" y="1321"/>
                      <a:pt x="95" y="1321"/>
                      <a:pt x="95" y="1321"/>
                    </a:cubicBezTo>
                    <a:cubicBezTo>
                      <a:pt x="95" y="1322"/>
                      <a:pt x="94" y="1323"/>
                      <a:pt x="94" y="1323"/>
                    </a:cubicBezTo>
                    <a:cubicBezTo>
                      <a:pt x="94" y="1331"/>
                      <a:pt x="98" y="1337"/>
                      <a:pt x="104" y="1341"/>
                    </a:cubicBezTo>
                    <a:cubicBezTo>
                      <a:pt x="38" y="1471"/>
                      <a:pt x="38" y="1471"/>
                      <a:pt x="38" y="1471"/>
                    </a:cubicBezTo>
                    <a:cubicBezTo>
                      <a:pt x="36" y="1470"/>
                      <a:pt x="34" y="1469"/>
                      <a:pt x="32" y="1469"/>
                    </a:cubicBezTo>
                    <a:cubicBezTo>
                      <a:pt x="28" y="1320"/>
                      <a:pt x="28" y="1320"/>
                      <a:pt x="28" y="1320"/>
                    </a:cubicBezTo>
                    <a:cubicBezTo>
                      <a:pt x="34" y="1318"/>
                      <a:pt x="39" y="1314"/>
                      <a:pt x="42" y="1307"/>
                    </a:cubicBezTo>
                    <a:close/>
                    <a:moveTo>
                      <a:pt x="42" y="1474"/>
                    </a:moveTo>
                    <a:cubicBezTo>
                      <a:pt x="109" y="1344"/>
                      <a:pt x="109" y="1344"/>
                      <a:pt x="109" y="1344"/>
                    </a:cubicBezTo>
                    <a:cubicBezTo>
                      <a:pt x="111" y="1344"/>
                      <a:pt x="113" y="1345"/>
                      <a:pt x="116" y="1345"/>
                    </a:cubicBezTo>
                    <a:cubicBezTo>
                      <a:pt x="121" y="1345"/>
                      <a:pt x="125" y="1343"/>
                      <a:pt x="129" y="1340"/>
                    </a:cubicBezTo>
                    <a:cubicBezTo>
                      <a:pt x="219" y="1430"/>
                      <a:pt x="219" y="1430"/>
                      <a:pt x="219" y="1430"/>
                    </a:cubicBezTo>
                    <a:cubicBezTo>
                      <a:pt x="218" y="1433"/>
                      <a:pt x="217" y="1436"/>
                      <a:pt x="217" y="1440"/>
                    </a:cubicBezTo>
                    <a:cubicBezTo>
                      <a:pt x="217" y="1441"/>
                      <a:pt x="217" y="1442"/>
                      <a:pt x="217" y="1443"/>
                    </a:cubicBezTo>
                    <a:cubicBezTo>
                      <a:pt x="48" y="1493"/>
                      <a:pt x="48" y="1493"/>
                      <a:pt x="48" y="1493"/>
                    </a:cubicBezTo>
                    <a:cubicBezTo>
                      <a:pt x="48" y="1492"/>
                      <a:pt x="48" y="1491"/>
                      <a:pt x="48" y="1490"/>
                    </a:cubicBezTo>
                    <a:cubicBezTo>
                      <a:pt x="48" y="1484"/>
                      <a:pt x="46" y="1478"/>
                      <a:pt x="42" y="1474"/>
                    </a:cubicBezTo>
                    <a:close/>
                    <a:moveTo>
                      <a:pt x="225" y="1456"/>
                    </a:moveTo>
                    <a:cubicBezTo>
                      <a:pt x="228" y="1459"/>
                      <a:pt x="233" y="1461"/>
                      <a:pt x="238" y="1461"/>
                    </a:cubicBezTo>
                    <a:cubicBezTo>
                      <a:pt x="242" y="1461"/>
                      <a:pt x="245" y="1460"/>
                      <a:pt x="248" y="1459"/>
                    </a:cubicBezTo>
                    <a:cubicBezTo>
                      <a:pt x="366" y="1579"/>
                      <a:pt x="366" y="1579"/>
                      <a:pt x="366" y="1579"/>
                    </a:cubicBezTo>
                    <a:cubicBezTo>
                      <a:pt x="364" y="1583"/>
                      <a:pt x="362" y="1588"/>
                      <a:pt x="362" y="1593"/>
                    </a:cubicBezTo>
                    <a:cubicBezTo>
                      <a:pt x="362" y="1594"/>
                      <a:pt x="362" y="1596"/>
                      <a:pt x="362" y="1598"/>
                    </a:cubicBezTo>
                    <a:cubicBezTo>
                      <a:pt x="98" y="1595"/>
                      <a:pt x="98" y="1595"/>
                      <a:pt x="98" y="1595"/>
                    </a:cubicBezTo>
                    <a:cubicBezTo>
                      <a:pt x="98" y="1591"/>
                      <a:pt x="96" y="1588"/>
                      <a:pt x="94" y="1585"/>
                    </a:cubicBezTo>
                    <a:lnTo>
                      <a:pt x="225" y="1456"/>
                    </a:lnTo>
                    <a:close/>
                    <a:moveTo>
                      <a:pt x="98" y="1601"/>
                    </a:moveTo>
                    <a:cubicBezTo>
                      <a:pt x="360" y="1603"/>
                      <a:pt x="360" y="1603"/>
                      <a:pt x="360" y="1603"/>
                    </a:cubicBezTo>
                    <a:cubicBezTo>
                      <a:pt x="186" y="1703"/>
                      <a:pt x="186" y="1703"/>
                      <a:pt x="186" y="1703"/>
                    </a:cubicBezTo>
                    <a:cubicBezTo>
                      <a:pt x="182" y="1698"/>
                      <a:pt x="176" y="1695"/>
                      <a:pt x="169" y="1695"/>
                    </a:cubicBezTo>
                    <a:cubicBezTo>
                      <a:pt x="166" y="1695"/>
                      <a:pt x="164" y="1696"/>
                      <a:pt x="161" y="1697"/>
                    </a:cubicBezTo>
                    <a:cubicBezTo>
                      <a:pt x="95" y="1610"/>
                      <a:pt x="95" y="1610"/>
                      <a:pt x="95" y="1610"/>
                    </a:cubicBezTo>
                    <a:cubicBezTo>
                      <a:pt x="97" y="1607"/>
                      <a:pt x="98" y="1604"/>
                      <a:pt x="98" y="1601"/>
                    </a:cubicBezTo>
                    <a:close/>
                    <a:moveTo>
                      <a:pt x="392" y="1573"/>
                    </a:moveTo>
                    <a:cubicBezTo>
                      <a:pt x="455" y="1507"/>
                      <a:pt x="455" y="1507"/>
                      <a:pt x="455" y="1507"/>
                    </a:cubicBezTo>
                    <a:cubicBezTo>
                      <a:pt x="457" y="1509"/>
                      <a:pt x="460" y="1510"/>
                      <a:pt x="464" y="1511"/>
                    </a:cubicBezTo>
                    <a:cubicBezTo>
                      <a:pt x="425" y="1893"/>
                      <a:pt x="425" y="1893"/>
                      <a:pt x="425" y="1893"/>
                    </a:cubicBezTo>
                    <a:cubicBezTo>
                      <a:pt x="424" y="1893"/>
                      <a:pt x="423" y="1893"/>
                      <a:pt x="422" y="1893"/>
                    </a:cubicBezTo>
                    <a:cubicBezTo>
                      <a:pt x="388" y="1613"/>
                      <a:pt x="388" y="1613"/>
                      <a:pt x="388" y="1613"/>
                    </a:cubicBezTo>
                    <a:cubicBezTo>
                      <a:pt x="398" y="1611"/>
                      <a:pt x="405" y="1603"/>
                      <a:pt x="405" y="1593"/>
                    </a:cubicBezTo>
                    <a:cubicBezTo>
                      <a:pt x="405" y="1584"/>
                      <a:pt x="400" y="1577"/>
                      <a:pt x="392" y="1573"/>
                    </a:cubicBezTo>
                    <a:close/>
                    <a:moveTo>
                      <a:pt x="445" y="1906"/>
                    </a:moveTo>
                    <a:cubicBezTo>
                      <a:pt x="646" y="1788"/>
                      <a:pt x="646" y="1788"/>
                      <a:pt x="646" y="1788"/>
                    </a:cubicBezTo>
                    <a:cubicBezTo>
                      <a:pt x="650" y="1793"/>
                      <a:pt x="656" y="1796"/>
                      <a:pt x="663" y="1796"/>
                    </a:cubicBezTo>
                    <a:cubicBezTo>
                      <a:pt x="663" y="1796"/>
                      <a:pt x="663" y="1796"/>
                      <a:pt x="663" y="1796"/>
                    </a:cubicBezTo>
                    <a:cubicBezTo>
                      <a:pt x="681" y="1928"/>
                      <a:pt x="681" y="1928"/>
                      <a:pt x="681" y="1928"/>
                    </a:cubicBezTo>
                    <a:cubicBezTo>
                      <a:pt x="675" y="1930"/>
                      <a:pt x="669" y="1935"/>
                      <a:pt x="667" y="1941"/>
                    </a:cubicBezTo>
                    <a:cubicBezTo>
                      <a:pt x="447" y="1912"/>
                      <a:pt x="447" y="1912"/>
                      <a:pt x="447" y="1912"/>
                    </a:cubicBezTo>
                    <a:cubicBezTo>
                      <a:pt x="446" y="1910"/>
                      <a:pt x="446" y="1908"/>
                      <a:pt x="445" y="1906"/>
                    </a:cubicBezTo>
                    <a:close/>
                    <a:moveTo>
                      <a:pt x="706" y="1939"/>
                    </a:moveTo>
                    <a:cubicBezTo>
                      <a:pt x="744" y="1914"/>
                      <a:pt x="744" y="1914"/>
                      <a:pt x="744" y="1914"/>
                    </a:cubicBezTo>
                    <a:cubicBezTo>
                      <a:pt x="748" y="1921"/>
                      <a:pt x="755" y="1925"/>
                      <a:pt x="763" y="1925"/>
                    </a:cubicBezTo>
                    <a:cubicBezTo>
                      <a:pt x="764" y="1925"/>
                      <a:pt x="765" y="1925"/>
                      <a:pt x="766" y="1925"/>
                    </a:cubicBezTo>
                    <a:cubicBezTo>
                      <a:pt x="805" y="2074"/>
                      <a:pt x="805" y="2074"/>
                      <a:pt x="805" y="2074"/>
                    </a:cubicBezTo>
                    <a:cubicBezTo>
                      <a:pt x="805" y="2074"/>
                      <a:pt x="804" y="2075"/>
                      <a:pt x="803" y="2075"/>
                    </a:cubicBezTo>
                    <a:cubicBezTo>
                      <a:pt x="703" y="1962"/>
                      <a:pt x="703" y="1962"/>
                      <a:pt x="703" y="1962"/>
                    </a:cubicBezTo>
                    <a:cubicBezTo>
                      <a:pt x="706" y="1959"/>
                      <a:pt x="708" y="1954"/>
                      <a:pt x="708" y="1949"/>
                    </a:cubicBezTo>
                    <a:cubicBezTo>
                      <a:pt x="708" y="1945"/>
                      <a:pt x="707" y="1942"/>
                      <a:pt x="706" y="1939"/>
                    </a:cubicBezTo>
                    <a:close/>
                    <a:moveTo>
                      <a:pt x="1013" y="1258"/>
                    </a:moveTo>
                    <a:cubicBezTo>
                      <a:pt x="1046" y="1210"/>
                      <a:pt x="1046" y="1210"/>
                      <a:pt x="1046" y="1210"/>
                    </a:cubicBezTo>
                    <a:cubicBezTo>
                      <a:pt x="1048" y="1212"/>
                      <a:pt x="1051" y="1214"/>
                      <a:pt x="1054" y="1214"/>
                    </a:cubicBezTo>
                    <a:cubicBezTo>
                      <a:pt x="1021" y="1626"/>
                      <a:pt x="1021" y="1626"/>
                      <a:pt x="1021" y="1626"/>
                    </a:cubicBezTo>
                    <a:cubicBezTo>
                      <a:pt x="1005" y="1295"/>
                      <a:pt x="1005" y="1295"/>
                      <a:pt x="1005" y="1295"/>
                    </a:cubicBezTo>
                    <a:cubicBezTo>
                      <a:pt x="1014" y="1292"/>
                      <a:pt x="1020" y="1284"/>
                      <a:pt x="1020" y="1274"/>
                    </a:cubicBezTo>
                    <a:cubicBezTo>
                      <a:pt x="1020" y="1268"/>
                      <a:pt x="1017" y="1262"/>
                      <a:pt x="1013" y="1258"/>
                    </a:cubicBezTo>
                    <a:close/>
                    <a:moveTo>
                      <a:pt x="1558" y="1135"/>
                    </a:moveTo>
                    <a:cubicBezTo>
                      <a:pt x="1604" y="1174"/>
                      <a:pt x="1604" y="1174"/>
                      <a:pt x="1604" y="1174"/>
                    </a:cubicBezTo>
                    <a:cubicBezTo>
                      <a:pt x="1601" y="1178"/>
                      <a:pt x="1600" y="1182"/>
                      <a:pt x="1600" y="1186"/>
                    </a:cubicBezTo>
                    <a:cubicBezTo>
                      <a:pt x="1600" y="1194"/>
                      <a:pt x="1604" y="1201"/>
                      <a:pt x="1611" y="1205"/>
                    </a:cubicBezTo>
                    <a:cubicBezTo>
                      <a:pt x="1453" y="1563"/>
                      <a:pt x="1453" y="1563"/>
                      <a:pt x="1453" y="1563"/>
                    </a:cubicBezTo>
                    <a:cubicBezTo>
                      <a:pt x="1545" y="1141"/>
                      <a:pt x="1545" y="1141"/>
                      <a:pt x="1545" y="1141"/>
                    </a:cubicBezTo>
                    <a:cubicBezTo>
                      <a:pt x="1550" y="1141"/>
                      <a:pt x="1555" y="1139"/>
                      <a:pt x="1558" y="1135"/>
                    </a:cubicBezTo>
                    <a:close/>
                    <a:moveTo>
                      <a:pt x="1666" y="1284"/>
                    </a:moveTo>
                    <a:cubicBezTo>
                      <a:pt x="1627" y="1609"/>
                      <a:pt x="1627" y="1609"/>
                      <a:pt x="1627" y="1609"/>
                    </a:cubicBezTo>
                    <a:cubicBezTo>
                      <a:pt x="1624" y="1207"/>
                      <a:pt x="1624" y="1207"/>
                      <a:pt x="1624" y="1207"/>
                    </a:cubicBezTo>
                    <a:cubicBezTo>
                      <a:pt x="1627" y="1207"/>
                      <a:pt x="1629" y="1206"/>
                      <a:pt x="1631" y="1205"/>
                    </a:cubicBezTo>
                    <a:cubicBezTo>
                      <a:pt x="1660" y="1248"/>
                      <a:pt x="1660" y="1248"/>
                      <a:pt x="1660" y="1248"/>
                    </a:cubicBezTo>
                    <a:cubicBezTo>
                      <a:pt x="1656" y="1252"/>
                      <a:pt x="1653" y="1258"/>
                      <a:pt x="1653" y="1264"/>
                    </a:cubicBezTo>
                    <a:cubicBezTo>
                      <a:pt x="1653" y="1273"/>
                      <a:pt x="1658" y="1281"/>
                      <a:pt x="1666" y="1284"/>
                    </a:cubicBezTo>
                    <a:close/>
                    <a:moveTo>
                      <a:pt x="1615" y="1207"/>
                    </a:moveTo>
                    <a:cubicBezTo>
                      <a:pt x="1617" y="1207"/>
                      <a:pt x="1618" y="1207"/>
                      <a:pt x="1619" y="1207"/>
                    </a:cubicBezTo>
                    <a:cubicBezTo>
                      <a:pt x="1622" y="1649"/>
                      <a:pt x="1622" y="1649"/>
                      <a:pt x="1622" y="1649"/>
                    </a:cubicBezTo>
                    <a:cubicBezTo>
                      <a:pt x="1618" y="1680"/>
                      <a:pt x="1618" y="1680"/>
                      <a:pt x="1618" y="1680"/>
                    </a:cubicBezTo>
                    <a:cubicBezTo>
                      <a:pt x="1614" y="1680"/>
                      <a:pt x="1610" y="1682"/>
                      <a:pt x="1607" y="1684"/>
                    </a:cubicBezTo>
                    <a:cubicBezTo>
                      <a:pt x="1451" y="1629"/>
                      <a:pt x="1451" y="1629"/>
                      <a:pt x="1451" y="1629"/>
                    </a:cubicBezTo>
                    <a:cubicBezTo>
                      <a:pt x="1451" y="1627"/>
                      <a:pt x="1452" y="1624"/>
                      <a:pt x="1452" y="1622"/>
                    </a:cubicBezTo>
                    <a:cubicBezTo>
                      <a:pt x="1452" y="1615"/>
                      <a:pt x="1449" y="1609"/>
                      <a:pt x="1444" y="1605"/>
                    </a:cubicBezTo>
                    <a:cubicBezTo>
                      <a:pt x="1448" y="1589"/>
                      <a:pt x="1448" y="1589"/>
                      <a:pt x="1448" y="1589"/>
                    </a:cubicBezTo>
                    <a:lnTo>
                      <a:pt x="1615" y="1207"/>
                    </a:lnTo>
                    <a:close/>
                    <a:moveTo>
                      <a:pt x="2014" y="1329"/>
                    </a:moveTo>
                    <a:cubicBezTo>
                      <a:pt x="2021" y="1329"/>
                      <a:pt x="2028" y="1325"/>
                      <a:pt x="2032" y="1319"/>
                    </a:cubicBezTo>
                    <a:cubicBezTo>
                      <a:pt x="2118" y="1373"/>
                      <a:pt x="2118" y="1373"/>
                      <a:pt x="2118" y="1373"/>
                    </a:cubicBezTo>
                    <a:cubicBezTo>
                      <a:pt x="2117" y="1375"/>
                      <a:pt x="2116" y="1378"/>
                      <a:pt x="2116" y="1381"/>
                    </a:cubicBezTo>
                    <a:cubicBezTo>
                      <a:pt x="1940" y="1400"/>
                      <a:pt x="1940" y="1400"/>
                      <a:pt x="1940" y="1400"/>
                    </a:cubicBezTo>
                    <a:cubicBezTo>
                      <a:pt x="1939" y="1396"/>
                      <a:pt x="1937" y="1393"/>
                      <a:pt x="1934" y="1390"/>
                    </a:cubicBezTo>
                    <a:cubicBezTo>
                      <a:pt x="2001" y="1325"/>
                      <a:pt x="2001" y="1325"/>
                      <a:pt x="2001" y="1325"/>
                    </a:cubicBezTo>
                    <a:cubicBezTo>
                      <a:pt x="2005" y="1327"/>
                      <a:pt x="2009" y="1329"/>
                      <a:pt x="2014" y="1329"/>
                    </a:cubicBezTo>
                    <a:close/>
                    <a:moveTo>
                      <a:pt x="2533" y="1089"/>
                    </a:moveTo>
                    <a:cubicBezTo>
                      <a:pt x="2534" y="1092"/>
                      <a:pt x="2535" y="1095"/>
                      <a:pt x="2536" y="1097"/>
                    </a:cubicBezTo>
                    <a:cubicBezTo>
                      <a:pt x="2392" y="1194"/>
                      <a:pt x="2392" y="1194"/>
                      <a:pt x="2392" y="1194"/>
                    </a:cubicBezTo>
                    <a:cubicBezTo>
                      <a:pt x="2389" y="1191"/>
                      <a:pt x="2383" y="1189"/>
                      <a:pt x="2378" y="1189"/>
                    </a:cubicBezTo>
                    <a:cubicBezTo>
                      <a:pt x="2375" y="1189"/>
                      <a:pt x="2373" y="1189"/>
                      <a:pt x="2371" y="1190"/>
                    </a:cubicBezTo>
                    <a:cubicBezTo>
                      <a:pt x="2334" y="1109"/>
                      <a:pt x="2334" y="1109"/>
                      <a:pt x="2334" y="1109"/>
                    </a:cubicBezTo>
                    <a:cubicBezTo>
                      <a:pt x="2339" y="1106"/>
                      <a:pt x="2343" y="1100"/>
                      <a:pt x="2344" y="1093"/>
                    </a:cubicBezTo>
                    <a:lnTo>
                      <a:pt x="2533" y="1089"/>
                    </a:lnTo>
                    <a:close/>
                    <a:moveTo>
                      <a:pt x="2505" y="1003"/>
                    </a:moveTo>
                    <a:cubicBezTo>
                      <a:pt x="2603" y="983"/>
                      <a:pt x="2603" y="983"/>
                      <a:pt x="2603" y="983"/>
                    </a:cubicBezTo>
                    <a:cubicBezTo>
                      <a:pt x="2604" y="986"/>
                      <a:pt x="2607" y="990"/>
                      <a:pt x="2610" y="992"/>
                    </a:cubicBezTo>
                    <a:cubicBezTo>
                      <a:pt x="2565" y="1067"/>
                      <a:pt x="2565" y="1067"/>
                      <a:pt x="2565" y="1067"/>
                    </a:cubicBezTo>
                    <a:cubicBezTo>
                      <a:pt x="2562" y="1066"/>
                      <a:pt x="2558" y="1065"/>
                      <a:pt x="2555" y="1065"/>
                    </a:cubicBezTo>
                    <a:cubicBezTo>
                      <a:pt x="2551" y="1065"/>
                      <a:pt x="2547" y="1066"/>
                      <a:pt x="2544" y="1067"/>
                    </a:cubicBezTo>
                    <a:cubicBezTo>
                      <a:pt x="2499" y="1016"/>
                      <a:pt x="2499" y="1016"/>
                      <a:pt x="2499" y="1016"/>
                    </a:cubicBezTo>
                    <a:cubicBezTo>
                      <a:pt x="2502" y="1012"/>
                      <a:pt x="2504" y="1008"/>
                      <a:pt x="2505" y="1003"/>
                    </a:cubicBezTo>
                    <a:close/>
                    <a:moveTo>
                      <a:pt x="2627" y="1477"/>
                    </a:moveTo>
                    <a:cubicBezTo>
                      <a:pt x="2577" y="1337"/>
                      <a:pt x="2577" y="1337"/>
                      <a:pt x="2577" y="1337"/>
                    </a:cubicBezTo>
                    <a:cubicBezTo>
                      <a:pt x="2582" y="1333"/>
                      <a:pt x="2586" y="1327"/>
                      <a:pt x="2586" y="1320"/>
                    </a:cubicBezTo>
                    <a:cubicBezTo>
                      <a:pt x="2586" y="1320"/>
                      <a:pt x="2586" y="1320"/>
                      <a:pt x="2586" y="1320"/>
                    </a:cubicBezTo>
                    <a:cubicBezTo>
                      <a:pt x="2615" y="1312"/>
                      <a:pt x="2615" y="1312"/>
                      <a:pt x="2615" y="1312"/>
                    </a:cubicBezTo>
                    <a:cubicBezTo>
                      <a:pt x="2617" y="1321"/>
                      <a:pt x="2625" y="1328"/>
                      <a:pt x="2635" y="1329"/>
                    </a:cubicBezTo>
                    <a:cubicBezTo>
                      <a:pt x="2634" y="1474"/>
                      <a:pt x="2634" y="1474"/>
                      <a:pt x="2634" y="1474"/>
                    </a:cubicBezTo>
                    <a:cubicBezTo>
                      <a:pt x="2631" y="1475"/>
                      <a:pt x="2629" y="1476"/>
                      <a:pt x="2627" y="1477"/>
                    </a:cubicBezTo>
                    <a:close/>
                    <a:moveTo>
                      <a:pt x="2375" y="1801"/>
                    </a:moveTo>
                    <a:cubicBezTo>
                      <a:pt x="2373" y="1801"/>
                      <a:pt x="2370" y="1802"/>
                      <a:pt x="2368" y="1802"/>
                    </a:cubicBezTo>
                    <a:cubicBezTo>
                      <a:pt x="2239" y="1655"/>
                      <a:pt x="2239" y="1655"/>
                      <a:pt x="2239" y="1655"/>
                    </a:cubicBezTo>
                    <a:cubicBezTo>
                      <a:pt x="2240" y="1653"/>
                      <a:pt x="2241" y="1650"/>
                      <a:pt x="2241" y="1647"/>
                    </a:cubicBezTo>
                    <a:cubicBezTo>
                      <a:pt x="2241" y="1640"/>
                      <a:pt x="2237" y="1634"/>
                      <a:pt x="2232" y="1630"/>
                    </a:cubicBezTo>
                    <a:cubicBezTo>
                      <a:pt x="2420" y="1456"/>
                      <a:pt x="2420" y="1456"/>
                      <a:pt x="2420" y="1456"/>
                    </a:cubicBezTo>
                    <a:cubicBezTo>
                      <a:pt x="2420" y="1456"/>
                      <a:pt x="2421" y="1456"/>
                      <a:pt x="2421" y="1456"/>
                    </a:cubicBezTo>
                    <a:cubicBezTo>
                      <a:pt x="2377" y="1801"/>
                      <a:pt x="2377" y="1801"/>
                      <a:pt x="2377" y="1801"/>
                    </a:cubicBezTo>
                    <a:cubicBezTo>
                      <a:pt x="2377" y="1801"/>
                      <a:pt x="2376" y="1801"/>
                      <a:pt x="2375" y="1801"/>
                    </a:cubicBezTo>
                    <a:close/>
                    <a:moveTo>
                      <a:pt x="2213" y="1780"/>
                    </a:moveTo>
                    <a:cubicBezTo>
                      <a:pt x="2030" y="1766"/>
                      <a:pt x="2030" y="1766"/>
                      <a:pt x="2030" y="1766"/>
                    </a:cubicBezTo>
                    <a:cubicBezTo>
                      <a:pt x="2030" y="1762"/>
                      <a:pt x="2028" y="1758"/>
                      <a:pt x="2027" y="1755"/>
                    </a:cubicBezTo>
                    <a:cubicBezTo>
                      <a:pt x="2199" y="1654"/>
                      <a:pt x="2199" y="1654"/>
                      <a:pt x="2199" y="1654"/>
                    </a:cubicBezTo>
                    <a:cubicBezTo>
                      <a:pt x="2202" y="1662"/>
                      <a:pt x="2209" y="1667"/>
                      <a:pt x="2217" y="1668"/>
                    </a:cubicBezTo>
                    <a:cubicBezTo>
                      <a:pt x="2227" y="1764"/>
                      <a:pt x="2227" y="1764"/>
                      <a:pt x="2227" y="1764"/>
                    </a:cubicBezTo>
                    <a:cubicBezTo>
                      <a:pt x="2220" y="1766"/>
                      <a:pt x="2214" y="1772"/>
                      <a:pt x="2213" y="1780"/>
                    </a:cubicBezTo>
                    <a:close/>
                    <a:moveTo>
                      <a:pt x="1974" y="1928"/>
                    </a:moveTo>
                    <a:cubicBezTo>
                      <a:pt x="1969" y="1928"/>
                      <a:pt x="1964" y="1930"/>
                      <a:pt x="1960" y="1933"/>
                    </a:cubicBezTo>
                    <a:cubicBezTo>
                      <a:pt x="1904" y="1893"/>
                      <a:pt x="1904" y="1893"/>
                      <a:pt x="1904" y="1893"/>
                    </a:cubicBezTo>
                    <a:cubicBezTo>
                      <a:pt x="1906" y="1890"/>
                      <a:pt x="1907" y="1887"/>
                      <a:pt x="1907" y="1883"/>
                    </a:cubicBezTo>
                    <a:cubicBezTo>
                      <a:pt x="1907" y="1878"/>
                      <a:pt x="1905" y="1874"/>
                      <a:pt x="1902" y="1870"/>
                    </a:cubicBezTo>
                    <a:cubicBezTo>
                      <a:pt x="1995" y="1783"/>
                      <a:pt x="1995" y="1783"/>
                      <a:pt x="1995" y="1783"/>
                    </a:cubicBezTo>
                    <a:cubicBezTo>
                      <a:pt x="1997" y="1785"/>
                      <a:pt x="1999" y="1786"/>
                      <a:pt x="2002" y="1787"/>
                    </a:cubicBezTo>
                    <a:cubicBezTo>
                      <a:pt x="1975" y="1928"/>
                      <a:pt x="1975" y="1928"/>
                      <a:pt x="1975" y="1928"/>
                    </a:cubicBezTo>
                    <a:cubicBezTo>
                      <a:pt x="1975" y="1928"/>
                      <a:pt x="1975" y="1928"/>
                      <a:pt x="1974" y="1928"/>
                    </a:cubicBezTo>
                    <a:close/>
                    <a:moveTo>
                      <a:pt x="1811" y="1905"/>
                    </a:moveTo>
                    <a:cubicBezTo>
                      <a:pt x="1810" y="1902"/>
                      <a:pt x="1808" y="1898"/>
                      <a:pt x="1806" y="1896"/>
                    </a:cubicBezTo>
                    <a:cubicBezTo>
                      <a:pt x="1850" y="1811"/>
                      <a:pt x="1850" y="1811"/>
                      <a:pt x="1850" y="1811"/>
                    </a:cubicBezTo>
                    <a:cubicBezTo>
                      <a:pt x="1852" y="1812"/>
                      <a:pt x="1855" y="1813"/>
                      <a:pt x="1857" y="1813"/>
                    </a:cubicBezTo>
                    <a:cubicBezTo>
                      <a:pt x="1869" y="1813"/>
                      <a:pt x="1878" y="1804"/>
                      <a:pt x="1879" y="1792"/>
                    </a:cubicBezTo>
                    <a:cubicBezTo>
                      <a:pt x="1988" y="1782"/>
                      <a:pt x="1988" y="1782"/>
                      <a:pt x="1988" y="1782"/>
                    </a:cubicBezTo>
                    <a:cubicBezTo>
                      <a:pt x="1899" y="1866"/>
                      <a:pt x="1899" y="1866"/>
                      <a:pt x="1899" y="1866"/>
                    </a:cubicBezTo>
                    <a:cubicBezTo>
                      <a:pt x="1895" y="1863"/>
                      <a:pt x="1890" y="1861"/>
                      <a:pt x="1885" y="1861"/>
                    </a:cubicBezTo>
                    <a:cubicBezTo>
                      <a:pt x="1873" y="1861"/>
                      <a:pt x="1864" y="1871"/>
                      <a:pt x="1864" y="1883"/>
                    </a:cubicBezTo>
                    <a:cubicBezTo>
                      <a:pt x="1864" y="1886"/>
                      <a:pt x="1865" y="1889"/>
                      <a:pt x="1866" y="1892"/>
                    </a:cubicBezTo>
                    <a:lnTo>
                      <a:pt x="1811" y="1905"/>
                    </a:lnTo>
                    <a:close/>
                    <a:moveTo>
                      <a:pt x="1729" y="1671"/>
                    </a:moveTo>
                    <a:cubicBezTo>
                      <a:pt x="1884" y="1627"/>
                      <a:pt x="1884" y="1627"/>
                      <a:pt x="1884" y="1627"/>
                    </a:cubicBezTo>
                    <a:cubicBezTo>
                      <a:pt x="1887" y="1630"/>
                      <a:pt x="1892" y="1633"/>
                      <a:pt x="1898" y="1633"/>
                    </a:cubicBezTo>
                    <a:cubicBezTo>
                      <a:pt x="1901" y="1633"/>
                      <a:pt x="1904" y="1632"/>
                      <a:pt x="1907" y="1630"/>
                    </a:cubicBezTo>
                    <a:cubicBezTo>
                      <a:pt x="1993" y="1752"/>
                      <a:pt x="1993" y="1752"/>
                      <a:pt x="1993" y="1752"/>
                    </a:cubicBezTo>
                    <a:cubicBezTo>
                      <a:pt x="1989" y="1756"/>
                      <a:pt x="1987" y="1761"/>
                      <a:pt x="1987" y="1767"/>
                    </a:cubicBezTo>
                    <a:cubicBezTo>
                      <a:pt x="1987" y="1770"/>
                      <a:pt x="1988" y="1774"/>
                      <a:pt x="1990" y="1777"/>
                    </a:cubicBezTo>
                    <a:cubicBezTo>
                      <a:pt x="1878" y="1787"/>
                      <a:pt x="1878" y="1787"/>
                      <a:pt x="1878" y="1787"/>
                    </a:cubicBezTo>
                    <a:cubicBezTo>
                      <a:pt x="1876" y="1777"/>
                      <a:pt x="1867" y="1770"/>
                      <a:pt x="1857" y="1770"/>
                    </a:cubicBezTo>
                    <a:cubicBezTo>
                      <a:pt x="1851" y="1770"/>
                      <a:pt x="1846" y="1772"/>
                      <a:pt x="1842" y="1776"/>
                    </a:cubicBezTo>
                    <a:cubicBezTo>
                      <a:pt x="1726" y="1685"/>
                      <a:pt x="1726" y="1685"/>
                      <a:pt x="1726" y="1685"/>
                    </a:cubicBezTo>
                    <a:cubicBezTo>
                      <a:pt x="1728" y="1682"/>
                      <a:pt x="1729" y="1678"/>
                      <a:pt x="1729" y="1674"/>
                    </a:cubicBezTo>
                    <a:cubicBezTo>
                      <a:pt x="1729" y="1673"/>
                      <a:pt x="1729" y="1672"/>
                      <a:pt x="1729" y="1671"/>
                    </a:cubicBezTo>
                    <a:close/>
                    <a:moveTo>
                      <a:pt x="1940" y="1406"/>
                    </a:moveTo>
                    <a:cubicBezTo>
                      <a:pt x="2117" y="1386"/>
                      <a:pt x="2117" y="1386"/>
                      <a:pt x="2117" y="1386"/>
                    </a:cubicBezTo>
                    <a:cubicBezTo>
                      <a:pt x="2118" y="1390"/>
                      <a:pt x="2119" y="1392"/>
                      <a:pt x="2121" y="1395"/>
                    </a:cubicBezTo>
                    <a:cubicBezTo>
                      <a:pt x="1917" y="1601"/>
                      <a:pt x="1917" y="1601"/>
                      <a:pt x="1917" y="1601"/>
                    </a:cubicBezTo>
                    <a:cubicBezTo>
                      <a:pt x="1915" y="1598"/>
                      <a:pt x="1912" y="1595"/>
                      <a:pt x="1909" y="1593"/>
                    </a:cubicBezTo>
                    <a:cubicBezTo>
                      <a:pt x="1928" y="1425"/>
                      <a:pt x="1928" y="1425"/>
                      <a:pt x="1928" y="1425"/>
                    </a:cubicBezTo>
                    <a:cubicBezTo>
                      <a:pt x="1935" y="1421"/>
                      <a:pt x="1940" y="1414"/>
                      <a:pt x="1940" y="1406"/>
                    </a:cubicBezTo>
                    <a:close/>
                    <a:moveTo>
                      <a:pt x="2396" y="1198"/>
                    </a:moveTo>
                    <a:cubicBezTo>
                      <a:pt x="2539" y="1101"/>
                      <a:pt x="2539" y="1101"/>
                      <a:pt x="2539" y="1101"/>
                    </a:cubicBezTo>
                    <a:cubicBezTo>
                      <a:pt x="2543" y="1105"/>
                      <a:pt x="2548" y="1107"/>
                      <a:pt x="2553" y="1107"/>
                    </a:cubicBezTo>
                    <a:cubicBezTo>
                      <a:pt x="2561" y="1299"/>
                      <a:pt x="2561" y="1299"/>
                      <a:pt x="2561" y="1299"/>
                    </a:cubicBezTo>
                    <a:cubicBezTo>
                      <a:pt x="2555" y="1300"/>
                      <a:pt x="2549" y="1303"/>
                      <a:pt x="2546" y="1308"/>
                    </a:cubicBezTo>
                    <a:cubicBezTo>
                      <a:pt x="2397" y="1219"/>
                      <a:pt x="2397" y="1219"/>
                      <a:pt x="2397" y="1219"/>
                    </a:cubicBezTo>
                    <a:cubicBezTo>
                      <a:pt x="2399" y="1216"/>
                      <a:pt x="2399" y="1213"/>
                      <a:pt x="2399" y="1210"/>
                    </a:cubicBezTo>
                    <a:cubicBezTo>
                      <a:pt x="2399" y="1206"/>
                      <a:pt x="2398" y="1202"/>
                      <a:pt x="2396" y="1198"/>
                    </a:cubicBezTo>
                    <a:close/>
                    <a:moveTo>
                      <a:pt x="2616" y="1300"/>
                    </a:moveTo>
                    <a:cubicBezTo>
                      <a:pt x="2583" y="1309"/>
                      <a:pt x="2583" y="1309"/>
                      <a:pt x="2583" y="1309"/>
                    </a:cubicBezTo>
                    <a:cubicBezTo>
                      <a:pt x="2579" y="1303"/>
                      <a:pt x="2573" y="1299"/>
                      <a:pt x="2566" y="1299"/>
                    </a:cubicBezTo>
                    <a:cubicBezTo>
                      <a:pt x="2558" y="1114"/>
                      <a:pt x="2558" y="1114"/>
                      <a:pt x="2558" y="1114"/>
                    </a:cubicBezTo>
                    <a:cubicBezTo>
                      <a:pt x="2626" y="1289"/>
                      <a:pt x="2626" y="1289"/>
                      <a:pt x="2626" y="1289"/>
                    </a:cubicBezTo>
                    <a:cubicBezTo>
                      <a:pt x="2622" y="1291"/>
                      <a:pt x="2618" y="1295"/>
                      <a:pt x="2616" y="1300"/>
                    </a:cubicBezTo>
                    <a:close/>
                    <a:moveTo>
                      <a:pt x="2417" y="1452"/>
                    </a:moveTo>
                    <a:cubicBezTo>
                      <a:pt x="2233" y="1622"/>
                      <a:pt x="2233" y="1622"/>
                      <a:pt x="2233" y="1622"/>
                    </a:cubicBezTo>
                    <a:cubicBezTo>
                      <a:pt x="2326" y="1393"/>
                      <a:pt x="2326" y="1393"/>
                      <a:pt x="2326" y="1393"/>
                    </a:cubicBezTo>
                    <a:cubicBezTo>
                      <a:pt x="2328" y="1394"/>
                      <a:pt x="2330" y="1394"/>
                      <a:pt x="2332" y="1394"/>
                    </a:cubicBezTo>
                    <a:cubicBezTo>
                      <a:pt x="2339" y="1394"/>
                      <a:pt x="2344" y="1391"/>
                      <a:pt x="2348" y="1387"/>
                    </a:cubicBezTo>
                    <a:cubicBezTo>
                      <a:pt x="2415" y="1430"/>
                      <a:pt x="2415" y="1430"/>
                      <a:pt x="2415" y="1430"/>
                    </a:cubicBezTo>
                    <a:cubicBezTo>
                      <a:pt x="2414" y="1433"/>
                      <a:pt x="2413" y="1436"/>
                      <a:pt x="2413" y="1440"/>
                    </a:cubicBezTo>
                    <a:cubicBezTo>
                      <a:pt x="2413" y="1444"/>
                      <a:pt x="2414" y="1449"/>
                      <a:pt x="2417" y="1452"/>
                    </a:cubicBezTo>
                    <a:close/>
                    <a:moveTo>
                      <a:pt x="2023" y="1751"/>
                    </a:moveTo>
                    <a:cubicBezTo>
                      <a:pt x="2019" y="1748"/>
                      <a:pt x="2014" y="1745"/>
                      <a:pt x="2008" y="1745"/>
                    </a:cubicBezTo>
                    <a:cubicBezTo>
                      <a:pt x="2004" y="1745"/>
                      <a:pt x="2000" y="1747"/>
                      <a:pt x="1997" y="1749"/>
                    </a:cubicBezTo>
                    <a:cubicBezTo>
                      <a:pt x="1912" y="1627"/>
                      <a:pt x="1912" y="1627"/>
                      <a:pt x="1912" y="1627"/>
                    </a:cubicBezTo>
                    <a:cubicBezTo>
                      <a:pt x="1913" y="1626"/>
                      <a:pt x="1915" y="1624"/>
                      <a:pt x="1916" y="1622"/>
                    </a:cubicBezTo>
                    <a:cubicBezTo>
                      <a:pt x="2199" y="1642"/>
                      <a:pt x="2199" y="1642"/>
                      <a:pt x="2199" y="1642"/>
                    </a:cubicBezTo>
                    <a:cubicBezTo>
                      <a:pt x="2198" y="1643"/>
                      <a:pt x="2198" y="1645"/>
                      <a:pt x="2198" y="1647"/>
                    </a:cubicBezTo>
                    <a:cubicBezTo>
                      <a:pt x="2198" y="1647"/>
                      <a:pt x="2198" y="1648"/>
                      <a:pt x="2198" y="1648"/>
                    </a:cubicBezTo>
                    <a:lnTo>
                      <a:pt x="2023" y="1751"/>
                    </a:lnTo>
                    <a:close/>
                    <a:moveTo>
                      <a:pt x="2125" y="1398"/>
                    </a:moveTo>
                    <a:cubicBezTo>
                      <a:pt x="2128" y="1401"/>
                      <a:pt x="2133" y="1403"/>
                      <a:pt x="2138" y="1403"/>
                    </a:cubicBezTo>
                    <a:cubicBezTo>
                      <a:pt x="2147" y="1403"/>
                      <a:pt x="2155" y="1397"/>
                      <a:pt x="2158" y="1389"/>
                    </a:cubicBezTo>
                    <a:cubicBezTo>
                      <a:pt x="2311" y="1377"/>
                      <a:pt x="2311" y="1377"/>
                      <a:pt x="2311" y="1377"/>
                    </a:cubicBezTo>
                    <a:cubicBezTo>
                      <a:pt x="2311" y="1378"/>
                      <a:pt x="2312" y="1379"/>
                      <a:pt x="2312" y="1381"/>
                    </a:cubicBezTo>
                    <a:cubicBezTo>
                      <a:pt x="1919" y="1607"/>
                      <a:pt x="1919" y="1607"/>
                      <a:pt x="1919" y="1607"/>
                    </a:cubicBezTo>
                    <a:cubicBezTo>
                      <a:pt x="1919" y="1607"/>
                      <a:pt x="1919" y="1607"/>
                      <a:pt x="1919" y="1607"/>
                    </a:cubicBezTo>
                    <a:lnTo>
                      <a:pt x="2125" y="1398"/>
                    </a:lnTo>
                    <a:close/>
                    <a:moveTo>
                      <a:pt x="2201" y="1636"/>
                    </a:moveTo>
                    <a:cubicBezTo>
                      <a:pt x="1918" y="1617"/>
                      <a:pt x="1918" y="1617"/>
                      <a:pt x="1918" y="1617"/>
                    </a:cubicBezTo>
                    <a:cubicBezTo>
                      <a:pt x="1918" y="1616"/>
                      <a:pt x="1919" y="1614"/>
                      <a:pt x="1919" y="1613"/>
                    </a:cubicBezTo>
                    <a:cubicBezTo>
                      <a:pt x="2315" y="1385"/>
                      <a:pt x="2315" y="1385"/>
                      <a:pt x="2315" y="1385"/>
                    </a:cubicBezTo>
                    <a:cubicBezTo>
                      <a:pt x="2317" y="1388"/>
                      <a:pt x="2319" y="1390"/>
                      <a:pt x="2322" y="1391"/>
                    </a:cubicBezTo>
                    <a:cubicBezTo>
                      <a:pt x="2225" y="1627"/>
                      <a:pt x="2225" y="1627"/>
                      <a:pt x="2225" y="1627"/>
                    </a:cubicBezTo>
                    <a:cubicBezTo>
                      <a:pt x="2223" y="1626"/>
                      <a:pt x="2221" y="1626"/>
                      <a:pt x="2220" y="1626"/>
                    </a:cubicBezTo>
                    <a:cubicBezTo>
                      <a:pt x="2212" y="1626"/>
                      <a:pt x="2205" y="1630"/>
                      <a:pt x="2201" y="1636"/>
                    </a:cubicBezTo>
                    <a:close/>
                    <a:moveTo>
                      <a:pt x="2341" y="1353"/>
                    </a:moveTo>
                    <a:cubicBezTo>
                      <a:pt x="2379" y="1231"/>
                      <a:pt x="2379" y="1231"/>
                      <a:pt x="2379" y="1231"/>
                    </a:cubicBezTo>
                    <a:cubicBezTo>
                      <a:pt x="2385" y="1231"/>
                      <a:pt x="2391" y="1228"/>
                      <a:pt x="2395" y="1223"/>
                    </a:cubicBezTo>
                    <a:cubicBezTo>
                      <a:pt x="2544" y="1313"/>
                      <a:pt x="2544" y="1313"/>
                      <a:pt x="2544" y="1313"/>
                    </a:cubicBezTo>
                    <a:cubicBezTo>
                      <a:pt x="2543" y="1315"/>
                      <a:pt x="2543" y="1318"/>
                      <a:pt x="2543" y="1320"/>
                    </a:cubicBezTo>
                    <a:cubicBezTo>
                      <a:pt x="2543" y="1321"/>
                      <a:pt x="2543" y="1321"/>
                      <a:pt x="2543" y="1322"/>
                    </a:cubicBezTo>
                    <a:cubicBezTo>
                      <a:pt x="2353" y="1367"/>
                      <a:pt x="2353" y="1367"/>
                      <a:pt x="2353" y="1367"/>
                    </a:cubicBezTo>
                    <a:cubicBezTo>
                      <a:pt x="2351" y="1361"/>
                      <a:pt x="2347" y="1356"/>
                      <a:pt x="2341" y="1353"/>
                    </a:cubicBezTo>
                    <a:close/>
                    <a:moveTo>
                      <a:pt x="2374" y="1231"/>
                    </a:moveTo>
                    <a:cubicBezTo>
                      <a:pt x="2336" y="1352"/>
                      <a:pt x="2336" y="1352"/>
                      <a:pt x="2336" y="1352"/>
                    </a:cubicBezTo>
                    <a:cubicBezTo>
                      <a:pt x="2335" y="1351"/>
                      <a:pt x="2333" y="1351"/>
                      <a:pt x="2332" y="1351"/>
                    </a:cubicBezTo>
                    <a:cubicBezTo>
                      <a:pt x="2321" y="1351"/>
                      <a:pt x="2311" y="1360"/>
                      <a:pt x="2311" y="1372"/>
                    </a:cubicBezTo>
                    <a:cubicBezTo>
                      <a:pt x="2159" y="1383"/>
                      <a:pt x="2159" y="1383"/>
                      <a:pt x="2159" y="1383"/>
                    </a:cubicBezTo>
                    <a:cubicBezTo>
                      <a:pt x="2159" y="1383"/>
                      <a:pt x="2159" y="1382"/>
                      <a:pt x="2159" y="1382"/>
                    </a:cubicBezTo>
                    <a:cubicBezTo>
                      <a:pt x="2159" y="1378"/>
                      <a:pt x="2158" y="1374"/>
                      <a:pt x="2156" y="1371"/>
                    </a:cubicBezTo>
                    <a:cubicBezTo>
                      <a:pt x="2362" y="1225"/>
                      <a:pt x="2362" y="1225"/>
                      <a:pt x="2362" y="1225"/>
                    </a:cubicBezTo>
                    <a:cubicBezTo>
                      <a:pt x="2365" y="1228"/>
                      <a:pt x="2369" y="1230"/>
                      <a:pt x="2374" y="1231"/>
                    </a:cubicBezTo>
                    <a:close/>
                    <a:moveTo>
                      <a:pt x="2448" y="1423"/>
                    </a:moveTo>
                    <a:cubicBezTo>
                      <a:pt x="2444" y="1420"/>
                      <a:pt x="2439" y="1418"/>
                      <a:pt x="2434" y="1418"/>
                    </a:cubicBezTo>
                    <a:cubicBezTo>
                      <a:pt x="2428" y="1418"/>
                      <a:pt x="2422" y="1421"/>
                      <a:pt x="2418" y="1426"/>
                    </a:cubicBezTo>
                    <a:cubicBezTo>
                      <a:pt x="2351" y="1382"/>
                      <a:pt x="2351" y="1382"/>
                      <a:pt x="2351" y="1382"/>
                    </a:cubicBezTo>
                    <a:cubicBezTo>
                      <a:pt x="2353" y="1379"/>
                      <a:pt x="2354" y="1376"/>
                      <a:pt x="2354" y="1373"/>
                    </a:cubicBezTo>
                    <a:cubicBezTo>
                      <a:pt x="2354" y="1373"/>
                      <a:pt x="2353" y="1372"/>
                      <a:pt x="2353" y="1372"/>
                    </a:cubicBezTo>
                    <a:cubicBezTo>
                      <a:pt x="2544" y="1327"/>
                      <a:pt x="2544" y="1327"/>
                      <a:pt x="2544" y="1327"/>
                    </a:cubicBezTo>
                    <a:cubicBezTo>
                      <a:pt x="2545" y="1329"/>
                      <a:pt x="2546" y="1331"/>
                      <a:pt x="2547" y="1332"/>
                    </a:cubicBezTo>
                    <a:lnTo>
                      <a:pt x="2448" y="1423"/>
                    </a:lnTo>
                    <a:close/>
                    <a:moveTo>
                      <a:pt x="2631" y="1287"/>
                    </a:moveTo>
                    <a:cubicBezTo>
                      <a:pt x="2561" y="1106"/>
                      <a:pt x="2561" y="1106"/>
                      <a:pt x="2561" y="1106"/>
                    </a:cubicBezTo>
                    <a:cubicBezTo>
                      <a:pt x="2570" y="1104"/>
                      <a:pt x="2576" y="1096"/>
                      <a:pt x="2576" y="1086"/>
                    </a:cubicBezTo>
                    <a:cubicBezTo>
                      <a:pt x="2576" y="1080"/>
                      <a:pt x="2573" y="1075"/>
                      <a:pt x="2569" y="1071"/>
                    </a:cubicBezTo>
                    <a:cubicBezTo>
                      <a:pt x="2615" y="995"/>
                      <a:pt x="2615" y="995"/>
                      <a:pt x="2615" y="995"/>
                    </a:cubicBezTo>
                    <a:cubicBezTo>
                      <a:pt x="2615" y="995"/>
                      <a:pt x="2615" y="995"/>
                      <a:pt x="2615" y="995"/>
                    </a:cubicBezTo>
                    <a:cubicBezTo>
                      <a:pt x="2633" y="1287"/>
                      <a:pt x="2633" y="1287"/>
                      <a:pt x="2633" y="1287"/>
                    </a:cubicBezTo>
                    <a:cubicBezTo>
                      <a:pt x="2633" y="1287"/>
                      <a:pt x="2632" y="1287"/>
                      <a:pt x="2631" y="1287"/>
                    </a:cubicBezTo>
                    <a:close/>
                    <a:moveTo>
                      <a:pt x="2322" y="1113"/>
                    </a:moveTo>
                    <a:cubicBezTo>
                      <a:pt x="2325" y="1113"/>
                      <a:pt x="2327" y="1112"/>
                      <a:pt x="2329" y="1112"/>
                    </a:cubicBezTo>
                    <a:cubicBezTo>
                      <a:pt x="2366" y="1192"/>
                      <a:pt x="2366" y="1192"/>
                      <a:pt x="2366" y="1192"/>
                    </a:cubicBezTo>
                    <a:cubicBezTo>
                      <a:pt x="2360" y="1196"/>
                      <a:pt x="2356" y="1202"/>
                      <a:pt x="2356" y="1210"/>
                    </a:cubicBezTo>
                    <a:cubicBezTo>
                      <a:pt x="2356" y="1214"/>
                      <a:pt x="2357" y="1217"/>
                      <a:pt x="2359" y="1220"/>
                    </a:cubicBezTo>
                    <a:cubicBezTo>
                      <a:pt x="2153" y="1367"/>
                      <a:pt x="2153" y="1367"/>
                      <a:pt x="2153" y="1367"/>
                    </a:cubicBezTo>
                    <a:cubicBezTo>
                      <a:pt x="2153" y="1366"/>
                      <a:pt x="2152" y="1366"/>
                      <a:pt x="2151" y="1365"/>
                    </a:cubicBezTo>
                    <a:cubicBezTo>
                      <a:pt x="2313" y="1111"/>
                      <a:pt x="2313" y="1111"/>
                      <a:pt x="2313" y="1111"/>
                    </a:cubicBezTo>
                    <a:cubicBezTo>
                      <a:pt x="2316" y="1112"/>
                      <a:pt x="2319" y="1113"/>
                      <a:pt x="2322" y="1113"/>
                    </a:cubicBezTo>
                    <a:close/>
                    <a:moveTo>
                      <a:pt x="1919" y="1427"/>
                    </a:moveTo>
                    <a:cubicBezTo>
                      <a:pt x="1920" y="1427"/>
                      <a:pt x="1921" y="1427"/>
                      <a:pt x="1922" y="1426"/>
                    </a:cubicBezTo>
                    <a:cubicBezTo>
                      <a:pt x="1904" y="1591"/>
                      <a:pt x="1904" y="1591"/>
                      <a:pt x="1904" y="1591"/>
                    </a:cubicBezTo>
                    <a:cubicBezTo>
                      <a:pt x="1902" y="1590"/>
                      <a:pt x="1900" y="1590"/>
                      <a:pt x="1898" y="1590"/>
                    </a:cubicBezTo>
                    <a:cubicBezTo>
                      <a:pt x="1886" y="1590"/>
                      <a:pt x="1876" y="1599"/>
                      <a:pt x="1876" y="1611"/>
                    </a:cubicBezTo>
                    <a:cubicBezTo>
                      <a:pt x="1876" y="1615"/>
                      <a:pt x="1877" y="1619"/>
                      <a:pt x="1880" y="1623"/>
                    </a:cubicBezTo>
                    <a:cubicBezTo>
                      <a:pt x="1727" y="1666"/>
                      <a:pt x="1727" y="1666"/>
                      <a:pt x="1727" y="1666"/>
                    </a:cubicBezTo>
                    <a:cubicBezTo>
                      <a:pt x="1726" y="1664"/>
                      <a:pt x="1725" y="1662"/>
                      <a:pt x="1724" y="1660"/>
                    </a:cubicBezTo>
                    <a:cubicBezTo>
                      <a:pt x="1905" y="1421"/>
                      <a:pt x="1905" y="1421"/>
                      <a:pt x="1905" y="1421"/>
                    </a:cubicBezTo>
                    <a:cubicBezTo>
                      <a:pt x="1909" y="1425"/>
                      <a:pt x="1913" y="1427"/>
                      <a:pt x="1919" y="1427"/>
                    </a:cubicBezTo>
                    <a:close/>
                    <a:moveTo>
                      <a:pt x="1723" y="1690"/>
                    </a:moveTo>
                    <a:cubicBezTo>
                      <a:pt x="1839" y="1780"/>
                      <a:pt x="1839" y="1780"/>
                      <a:pt x="1839" y="1780"/>
                    </a:cubicBezTo>
                    <a:cubicBezTo>
                      <a:pt x="1837" y="1784"/>
                      <a:pt x="1836" y="1787"/>
                      <a:pt x="1836" y="1791"/>
                    </a:cubicBezTo>
                    <a:cubicBezTo>
                      <a:pt x="1836" y="1799"/>
                      <a:pt x="1839" y="1805"/>
                      <a:pt x="1845" y="1809"/>
                    </a:cubicBezTo>
                    <a:cubicBezTo>
                      <a:pt x="1802" y="1892"/>
                      <a:pt x="1802" y="1892"/>
                      <a:pt x="1802" y="1892"/>
                    </a:cubicBezTo>
                    <a:cubicBezTo>
                      <a:pt x="1799" y="1889"/>
                      <a:pt x="1794" y="1887"/>
                      <a:pt x="1789" y="1887"/>
                    </a:cubicBezTo>
                    <a:cubicBezTo>
                      <a:pt x="1789" y="1887"/>
                      <a:pt x="1788" y="1888"/>
                      <a:pt x="1787" y="1888"/>
                    </a:cubicBezTo>
                    <a:cubicBezTo>
                      <a:pt x="1717" y="1693"/>
                      <a:pt x="1717" y="1693"/>
                      <a:pt x="1717" y="1693"/>
                    </a:cubicBezTo>
                    <a:cubicBezTo>
                      <a:pt x="1719" y="1692"/>
                      <a:pt x="1721" y="1691"/>
                      <a:pt x="1723" y="1690"/>
                    </a:cubicBezTo>
                    <a:close/>
                    <a:moveTo>
                      <a:pt x="1811" y="1911"/>
                    </a:moveTo>
                    <a:cubicBezTo>
                      <a:pt x="1869" y="1897"/>
                      <a:pt x="1869" y="1897"/>
                      <a:pt x="1869" y="1897"/>
                    </a:cubicBezTo>
                    <a:cubicBezTo>
                      <a:pt x="1873" y="1901"/>
                      <a:pt x="1878" y="1904"/>
                      <a:pt x="1885" y="1904"/>
                    </a:cubicBezTo>
                    <a:cubicBezTo>
                      <a:pt x="1857" y="2062"/>
                      <a:pt x="1857" y="2062"/>
                      <a:pt x="1857" y="2062"/>
                    </a:cubicBezTo>
                    <a:cubicBezTo>
                      <a:pt x="1856" y="2062"/>
                      <a:pt x="1856" y="2062"/>
                      <a:pt x="1855" y="2062"/>
                    </a:cubicBezTo>
                    <a:cubicBezTo>
                      <a:pt x="1854" y="2062"/>
                      <a:pt x="1852" y="2062"/>
                      <a:pt x="1851" y="2062"/>
                    </a:cubicBezTo>
                    <a:cubicBezTo>
                      <a:pt x="1802" y="1927"/>
                      <a:pt x="1802" y="1927"/>
                      <a:pt x="1802" y="1927"/>
                    </a:cubicBezTo>
                    <a:cubicBezTo>
                      <a:pt x="1807" y="1923"/>
                      <a:pt x="1810" y="1917"/>
                      <a:pt x="1811" y="1911"/>
                    </a:cubicBezTo>
                    <a:close/>
                    <a:moveTo>
                      <a:pt x="1841" y="2068"/>
                    </a:moveTo>
                    <a:cubicBezTo>
                      <a:pt x="1776" y="2013"/>
                      <a:pt x="1776" y="2013"/>
                      <a:pt x="1776" y="2013"/>
                    </a:cubicBezTo>
                    <a:cubicBezTo>
                      <a:pt x="1776" y="2011"/>
                      <a:pt x="1777" y="2009"/>
                      <a:pt x="1777" y="2007"/>
                    </a:cubicBezTo>
                    <a:cubicBezTo>
                      <a:pt x="1777" y="1995"/>
                      <a:pt x="1767" y="1986"/>
                      <a:pt x="1755" y="1986"/>
                    </a:cubicBezTo>
                    <a:cubicBezTo>
                      <a:pt x="1747" y="1986"/>
                      <a:pt x="1739" y="1991"/>
                      <a:pt x="1736" y="1998"/>
                    </a:cubicBezTo>
                    <a:cubicBezTo>
                      <a:pt x="1631" y="1983"/>
                      <a:pt x="1631" y="1983"/>
                      <a:pt x="1631" y="1983"/>
                    </a:cubicBezTo>
                    <a:cubicBezTo>
                      <a:pt x="1631" y="1983"/>
                      <a:pt x="1631" y="1983"/>
                      <a:pt x="1631" y="1983"/>
                    </a:cubicBezTo>
                    <a:cubicBezTo>
                      <a:pt x="1631" y="1973"/>
                      <a:pt x="1624" y="1964"/>
                      <a:pt x="1613" y="1962"/>
                    </a:cubicBezTo>
                    <a:cubicBezTo>
                      <a:pt x="1622" y="1722"/>
                      <a:pt x="1622" y="1722"/>
                      <a:pt x="1622" y="1722"/>
                    </a:cubicBezTo>
                    <a:cubicBezTo>
                      <a:pt x="1625" y="1722"/>
                      <a:pt x="1627" y="1721"/>
                      <a:pt x="1629" y="1720"/>
                    </a:cubicBezTo>
                    <a:cubicBezTo>
                      <a:pt x="1842" y="2067"/>
                      <a:pt x="1842" y="2067"/>
                      <a:pt x="1842" y="2067"/>
                    </a:cubicBezTo>
                    <a:cubicBezTo>
                      <a:pt x="1842" y="2067"/>
                      <a:pt x="1841" y="2067"/>
                      <a:pt x="1841" y="2068"/>
                    </a:cubicBezTo>
                    <a:close/>
                    <a:moveTo>
                      <a:pt x="1742" y="2076"/>
                    </a:moveTo>
                    <a:cubicBezTo>
                      <a:pt x="1743" y="2087"/>
                      <a:pt x="1752" y="2095"/>
                      <a:pt x="1763" y="2095"/>
                    </a:cubicBezTo>
                    <a:cubicBezTo>
                      <a:pt x="1763" y="2095"/>
                      <a:pt x="1764" y="2095"/>
                      <a:pt x="1764" y="2095"/>
                    </a:cubicBezTo>
                    <a:cubicBezTo>
                      <a:pt x="1776" y="2160"/>
                      <a:pt x="1776" y="2160"/>
                      <a:pt x="1776" y="2160"/>
                    </a:cubicBezTo>
                    <a:cubicBezTo>
                      <a:pt x="1767" y="2163"/>
                      <a:pt x="1760" y="2171"/>
                      <a:pt x="1760" y="2181"/>
                    </a:cubicBezTo>
                    <a:cubicBezTo>
                      <a:pt x="1760" y="2185"/>
                      <a:pt x="1761" y="2189"/>
                      <a:pt x="1763" y="2192"/>
                    </a:cubicBezTo>
                    <a:cubicBezTo>
                      <a:pt x="1699" y="2231"/>
                      <a:pt x="1699" y="2231"/>
                      <a:pt x="1699" y="2231"/>
                    </a:cubicBezTo>
                    <a:cubicBezTo>
                      <a:pt x="1632" y="2163"/>
                      <a:pt x="1632" y="2163"/>
                      <a:pt x="1632" y="2163"/>
                    </a:cubicBezTo>
                    <a:cubicBezTo>
                      <a:pt x="1652" y="2096"/>
                      <a:pt x="1652" y="2096"/>
                      <a:pt x="1652" y="2096"/>
                    </a:cubicBezTo>
                    <a:cubicBezTo>
                      <a:pt x="1653" y="2097"/>
                      <a:pt x="1655" y="2097"/>
                      <a:pt x="1656" y="2097"/>
                    </a:cubicBezTo>
                    <a:cubicBezTo>
                      <a:pt x="1667" y="2097"/>
                      <a:pt x="1676" y="2088"/>
                      <a:pt x="1677" y="2077"/>
                    </a:cubicBezTo>
                    <a:lnTo>
                      <a:pt x="1742" y="2076"/>
                    </a:lnTo>
                    <a:close/>
                    <a:moveTo>
                      <a:pt x="1755" y="2324"/>
                    </a:moveTo>
                    <a:cubicBezTo>
                      <a:pt x="1755" y="2328"/>
                      <a:pt x="1756" y="2332"/>
                      <a:pt x="1758" y="2335"/>
                    </a:cubicBezTo>
                    <a:cubicBezTo>
                      <a:pt x="1598" y="2469"/>
                      <a:pt x="1598" y="2469"/>
                      <a:pt x="1598" y="2469"/>
                    </a:cubicBezTo>
                    <a:cubicBezTo>
                      <a:pt x="1595" y="2466"/>
                      <a:pt x="1591" y="2464"/>
                      <a:pt x="1586" y="2463"/>
                    </a:cubicBezTo>
                    <a:cubicBezTo>
                      <a:pt x="1584" y="2329"/>
                      <a:pt x="1584" y="2329"/>
                      <a:pt x="1584" y="2329"/>
                    </a:cubicBezTo>
                    <a:cubicBezTo>
                      <a:pt x="1593" y="2328"/>
                      <a:pt x="1600" y="2321"/>
                      <a:pt x="1602" y="2312"/>
                    </a:cubicBezTo>
                    <a:lnTo>
                      <a:pt x="1755" y="2324"/>
                    </a:lnTo>
                    <a:close/>
                    <a:moveTo>
                      <a:pt x="1415" y="2882"/>
                    </a:moveTo>
                    <a:cubicBezTo>
                      <a:pt x="1256" y="2892"/>
                      <a:pt x="1256" y="2892"/>
                      <a:pt x="1256" y="2892"/>
                    </a:cubicBezTo>
                    <a:cubicBezTo>
                      <a:pt x="1256" y="2890"/>
                      <a:pt x="1257" y="2888"/>
                      <a:pt x="1257" y="2885"/>
                    </a:cubicBezTo>
                    <a:cubicBezTo>
                      <a:pt x="1257" y="2878"/>
                      <a:pt x="1253" y="2871"/>
                      <a:pt x="1247" y="2867"/>
                    </a:cubicBezTo>
                    <a:cubicBezTo>
                      <a:pt x="1325" y="2720"/>
                      <a:pt x="1325" y="2720"/>
                      <a:pt x="1325" y="2720"/>
                    </a:cubicBezTo>
                    <a:cubicBezTo>
                      <a:pt x="1327" y="2722"/>
                      <a:pt x="1330" y="2722"/>
                      <a:pt x="1333" y="2722"/>
                    </a:cubicBezTo>
                    <a:cubicBezTo>
                      <a:pt x="1336" y="2722"/>
                      <a:pt x="1339" y="2721"/>
                      <a:pt x="1342" y="2720"/>
                    </a:cubicBezTo>
                    <a:cubicBezTo>
                      <a:pt x="1424" y="2865"/>
                      <a:pt x="1424" y="2865"/>
                      <a:pt x="1424" y="2865"/>
                    </a:cubicBezTo>
                    <a:cubicBezTo>
                      <a:pt x="1419" y="2868"/>
                      <a:pt x="1415" y="2874"/>
                      <a:pt x="1415" y="2882"/>
                    </a:cubicBezTo>
                    <a:close/>
                    <a:moveTo>
                      <a:pt x="910" y="2333"/>
                    </a:moveTo>
                    <a:cubicBezTo>
                      <a:pt x="1052" y="2304"/>
                      <a:pt x="1052" y="2304"/>
                      <a:pt x="1052" y="2304"/>
                    </a:cubicBezTo>
                    <a:cubicBezTo>
                      <a:pt x="1054" y="2312"/>
                      <a:pt x="1062" y="2318"/>
                      <a:pt x="1071" y="2318"/>
                    </a:cubicBezTo>
                    <a:cubicBezTo>
                      <a:pt x="1086" y="2469"/>
                      <a:pt x="1086" y="2469"/>
                      <a:pt x="1086" y="2469"/>
                    </a:cubicBezTo>
                    <a:cubicBezTo>
                      <a:pt x="1082" y="2470"/>
                      <a:pt x="1078" y="2471"/>
                      <a:pt x="1076" y="2474"/>
                    </a:cubicBezTo>
                    <a:cubicBezTo>
                      <a:pt x="910" y="2334"/>
                      <a:pt x="910" y="2334"/>
                      <a:pt x="910" y="2334"/>
                    </a:cubicBezTo>
                    <a:cubicBezTo>
                      <a:pt x="910" y="2333"/>
                      <a:pt x="910" y="2333"/>
                      <a:pt x="910" y="2333"/>
                    </a:cubicBezTo>
                    <a:close/>
                    <a:moveTo>
                      <a:pt x="1069" y="2276"/>
                    </a:moveTo>
                    <a:cubicBezTo>
                      <a:pt x="1064" y="2277"/>
                      <a:pt x="1059" y="2279"/>
                      <a:pt x="1056" y="2283"/>
                    </a:cubicBezTo>
                    <a:cubicBezTo>
                      <a:pt x="973" y="2229"/>
                      <a:pt x="973" y="2229"/>
                      <a:pt x="973" y="2229"/>
                    </a:cubicBezTo>
                    <a:cubicBezTo>
                      <a:pt x="1035" y="2165"/>
                      <a:pt x="1035" y="2165"/>
                      <a:pt x="1035" y="2165"/>
                    </a:cubicBezTo>
                    <a:lnTo>
                      <a:pt x="1069" y="2276"/>
                    </a:lnTo>
                    <a:close/>
                    <a:moveTo>
                      <a:pt x="1207" y="2164"/>
                    </a:moveTo>
                    <a:cubicBezTo>
                      <a:pt x="1210" y="2166"/>
                      <a:pt x="1215" y="2168"/>
                      <a:pt x="1220" y="2168"/>
                    </a:cubicBezTo>
                    <a:cubicBezTo>
                      <a:pt x="1221" y="2168"/>
                      <a:pt x="1223" y="2168"/>
                      <a:pt x="1224" y="2168"/>
                    </a:cubicBezTo>
                    <a:cubicBezTo>
                      <a:pt x="1321" y="2444"/>
                      <a:pt x="1321" y="2444"/>
                      <a:pt x="1321" y="2444"/>
                    </a:cubicBezTo>
                    <a:cubicBezTo>
                      <a:pt x="1318" y="2445"/>
                      <a:pt x="1316" y="2447"/>
                      <a:pt x="1314" y="2450"/>
                    </a:cubicBezTo>
                    <a:cubicBezTo>
                      <a:pt x="1091" y="2306"/>
                      <a:pt x="1091" y="2306"/>
                      <a:pt x="1091" y="2306"/>
                    </a:cubicBezTo>
                    <a:cubicBezTo>
                      <a:pt x="1092" y="2303"/>
                      <a:pt x="1093" y="2300"/>
                      <a:pt x="1093" y="2297"/>
                    </a:cubicBezTo>
                    <a:cubicBezTo>
                      <a:pt x="1093" y="2292"/>
                      <a:pt x="1091" y="2287"/>
                      <a:pt x="1089" y="2284"/>
                    </a:cubicBezTo>
                    <a:lnTo>
                      <a:pt x="1207" y="2164"/>
                    </a:lnTo>
                    <a:close/>
                    <a:moveTo>
                      <a:pt x="1095" y="1969"/>
                    </a:moveTo>
                    <a:cubicBezTo>
                      <a:pt x="1094" y="1959"/>
                      <a:pt x="1085" y="1951"/>
                      <a:pt x="1074" y="1951"/>
                    </a:cubicBezTo>
                    <a:cubicBezTo>
                      <a:pt x="1074" y="1951"/>
                      <a:pt x="1073" y="1952"/>
                      <a:pt x="1073" y="1952"/>
                    </a:cubicBezTo>
                    <a:cubicBezTo>
                      <a:pt x="1026" y="1708"/>
                      <a:pt x="1026" y="1708"/>
                      <a:pt x="1026" y="1708"/>
                    </a:cubicBezTo>
                    <a:cubicBezTo>
                      <a:pt x="1029" y="1707"/>
                      <a:pt x="1032" y="1705"/>
                      <a:pt x="1035" y="1702"/>
                    </a:cubicBezTo>
                    <a:cubicBezTo>
                      <a:pt x="1313" y="1950"/>
                      <a:pt x="1313" y="1950"/>
                      <a:pt x="1313" y="1950"/>
                    </a:cubicBezTo>
                    <a:cubicBezTo>
                      <a:pt x="1311" y="1953"/>
                      <a:pt x="1309" y="1956"/>
                      <a:pt x="1309" y="1960"/>
                    </a:cubicBezTo>
                    <a:lnTo>
                      <a:pt x="1095" y="1969"/>
                    </a:lnTo>
                    <a:close/>
                    <a:moveTo>
                      <a:pt x="1227" y="1630"/>
                    </a:moveTo>
                    <a:cubicBezTo>
                      <a:pt x="1229" y="1631"/>
                      <a:pt x="1231" y="1632"/>
                      <a:pt x="1233" y="1633"/>
                    </a:cubicBezTo>
                    <a:cubicBezTo>
                      <a:pt x="1229" y="1657"/>
                      <a:pt x="1229" y="1657"/>
                      <a:pt x="1229" y="1657"/>
                    </a:cubicBezTo>
                    <a:cubicBezTo>
                      <a:pt x="1220" y="1659"/>
                      <a:pt x="1214" y="1667"/>
                      <a:pt x="1214" y="1677"/>
                    </a:cubicBezTo>
                    <a:cubicBezTo>
                      <a:pt x="1214" y="1678"/>
                      <a:pt x="1214" y="1679"/>
                      <a:pt x="1214" y="1680"/>
                    </a:cubicBezTo>
                    <a:cubicBezTo>
                      <a:pt x="1040" y="1687"/>
                      <a:pt x="1040" y="1687"/>
                      <a:pt x="1040" y="1687"/>
                    </a:cubicBezTo>
                    <a:cubicBezTo>
                      <a:pt x="1040" y="1687"/>
                      <a:pt x="1040" y="1687"/>
                      <a:pt x="1040" y="1687"/>
                    </a:cubicBezTo>
                    <a:lnTo>
                      <a:pt x="1227" y="1630"/>
                    </a:lnTo>
                    <a:close/>
                    <a:moveTo>
                      <a:pt x="1433" y="1643"/>
                    </a:moveTo>
                    <a:cubicBezTo>
                      <a:pt x="1437" y="1642"/>
                      <a:pt x="1441" y="1641"/>
                      <a:pt x="1444" y="1638"/>
                    </a:cubicBezTo>
                    <a:cubicBezTo>
                      <a:pt x="1601" y="1693"/>
                      <a:pt x="1601" y="1693"/>
                      <a:pt x="1601" y="1693"/>
                    </a:cubicBezTo>
                    <a:cubicBezTo>
                      <a:pt x="1600" y="1694"/>
                      <a:pt x="1600" y="1694"/>
                      <a:pt x="1600" y="1695"/>
                    </a:cubicBezTo>
                    <a:cubicBezTo>
                      <a:pt x="1439" y="1674"/>
                      <a:pt x="1439" y="1674"/>
                      <a:pt x="1439" y="1674"/>
                    </a:cubicBezTo>
                    <a:cubicBezTo>
                      <a:pt x="1439" y="1674"/>
                      <a:pt x="1439" y="1674"/>
                      <a:pt x="1439" y="1674"/>
                    </a:cubicBezTo>
                    <a:cubicBezTo>
                      <a:pt x="1439" y="1667"/>
                      <a:pt x="1435" y="1661"/>
                      <a:pt x="1430" y="1657"/>
                    </a:cubicBezTo>
                    <a:lnTo>
                      <a:pt x="1433" y="1643"/>
                    </a:lnTo>
                    <a:close/>
                    <a:moveTo>
                      <a:pt x="1608" y="1962"/>
                    </a:moveTo>
                    <a:cubicBezTo>
                      <a:pt x="1599" y="1963"/>
                      <a:pt x="1591" y="1970"/>
                      <a:pt x="1589" y="1979"/>
                    </a:cubicBezTo>
                    <a:cubicBezTo>
                      <a:pt x="1352" y="1961"/>
                      <a:pt x="1352" y="1961"/>
                      <a:pt x="1352" y="1961"/>
                    </a:cubicBezTo>
                    <a:cubicBezTo>
                      <a:pt x="1351" y="1957"/>
                      <a:pt x="1350" y="1953"/>
                      <a:pt x="1348" y="1950"/>
                    </a:cubicBezTo>
                    <a:cubicBezTo>
                      <a:pt x="1610" y="1719"/>
                      <a:pt x="1610" y="1719"/>
                      <a:pt x="1610" y="1719"/>
                    </a:cubicBezTo>
                    <a:cubicBezTo>
                      <a:pt x="1612" y="1721"/>
                      <a:pt x="1615" y="1721"/>
                      <a:pt x="1617" y="1722"/>
                    </a:cubicBezTo>
                    <a:lnTo>
                      <a:pt x="1608" y="1962"/>
                    </a:lnTo>
                    <a:close/>
                    <a:moveTo>
                      <a:pt x="1040" y="1700"/>
                    </a:moveTo>
                    <a:cubicBezTo>
                      <a:pt x="1308" y="1822"/>
                      <a:pt x="1308" y="1822"/>
                      <a:pt x="1308" y="1822"/>
                    </a:cubicBezTo>
                    <a:cubicBezTo>
                      <a:pt x="1311" y="1829"/>
                      <a:pt x="1317" y="1834"/>
                      <a:pt x="1325" y="1835"/>
                    </a:cubicBezTo>
                    <a:cubicBezTo>
                      <a:pt x="1326" y="1941"/>
                      <a:pt x="1326" y="1941"/>
                      <a:pt x="1326" y="1941"/>
                    </a:cubicBezTo>
                    <a:cubicBezTo>
                      <a:pt x="1322" y="1942"/>
                      <a:pt x="1319" y="1944"/>
                      <a:pt x="1316" y="1946"/>
                    </a:cubicBezTo>
                    <a:lnTo>
                      <a:pt x="1040" y="1700"/>
                    </a:lnTo>
                    <a:close/>
                    <a:moveTo>
                      <a:pt x="1349" y="1814"/>
                    </a:moveTo>
                    <a:cubicBezTo>
                      <a:pt x="1349" y="1814"/>
                      <a:pt x="1349" y="1813"/>
                      <a:pt x="1349" y="1813"/>
                    </a:cubicBezTo>
                    <a:cubicBezTo>
                      <a:pt x="1600" y="1708"/>
                      <a:pt x="1600" y="1708"/>
                      <a:pt x="1600" y="1708"/>
                    </a:cubicBezTo>
                    <a:cubicBezTo>
                      <a:pt x="1601" y="1711"/>
                      <a:pt x="1603" y="1714"/>
                      <a:pt x="1606" y="1716"/>
                    </a:cubicBezTo>
                    <a:cubicBezTo>
                      <a:pt x="1345" y="1946"/>
                      <a:pt x="1345" y="1946"/>
                      <a:pt x="1345" y="1946"/>
                    </a:cubicBezTo>
                    <a:cubicBezTo>
                      <a:pt x="1341" y="1943"/>
                      <a:pt x="1336" y="1941"/>
                      <a:pt x="1331" y="1941"/>
                    </a:cubicBezTo>
                    <a:cubicBezTo>
                      <a:pt x="1330" y="1835"/>
                      <a:pt x="1330" y="1835"/>
                      <a:pt x="1330" y="1835"/>
                    </a:cubicBezTo>
                    <a:cubicBezTo>
                      <a:pt x="1341" y="1834"/>
                      <a:pt x="1349" y="1825"/>
                      <a:pt x="1349" y="1814"/>
                    </a:cubicBezTo>
                    <a:close/>
                    <a:moveTo>
                      <a:pt x="1417" y="1696"/>
                    </a:moveTo>
                    <a:cubicBezTo>
                      <a:pt x="1427" y="1696"/>
                      <a:pt x="1435" y="1689"/>
                      <a:pt x="1438" y="1680"/>
                    </a:cubicBezTo>
                    <a:cubicBezTo>
                      <a:pt x="1599" y="1700"/>
                      <a:pt x="1599" y="1700"/>
                      <a:pt x="1599" y="1700"/>
                    </a:cubicBezTo>
                    <a:cubicBezTo>
                      <a:pt x="1599" y="1700"/>
                      <a:pt x="1599" y="1701"/>
                      <a:pt x="1599" y="1701"/>
                    </a:cubicBezTo>
                    <a:cubicBezTo>
                      <a:pt x="1599" y="1701"/>
                      <a:pt x="1599" y="1702"/>
                      <a:pt x="1599" y="1702"/>
                    </a:cubicBezTo>
                    <a:cubicBezTo>
                      <a:pt x="1348" y="1807"/>
                      <a:pt x="1348" y="1807"/>
                      <a:pt x="1348" y="1807"/>
                    </a:cubicBezTo>
                    <a:cubicBezTo>
                      <a:pt x="1347" y="1804"/>
                      <a:pt x="1344" y="1800"/>
                      <a:pt x="1341" y="1798"/>
                    </a:cubicBezTo>
                    <a:cubicBezTo>
                      <a:pt x="1408" y="1694"/>
                      <a:pt x="1408" y="1694"/>
                      <a:pt x="1408" y="1694"/>
                    </a:cubicBezTo>
                    <a:cubicBezTo>
                      <a:pt x="1411" y="1695"/>
                      <a:pt x="1414" y="1696"/>
                      <a:pt x="1417" y="1696"/>
                    </a:cubicBezTo>
                    <a:close/>
                    <a:moveTo>
                      <a:pt x="1306" y="1814"/>
                    </a:moveTo>
                    <a:cubicBezTo>
                      <a:pt x="1306" y="1815"/>
                      <a:pt x="1306" y="1815"/>
                      <a:pt x="1306" y="1816"/>
                    </a:cubicBezTo>
                    <a:cubicBezTo>
                      <a:pt x="1039" y="1694"/>
                      <a:pt x="1039" y="1694"/>
                      <a:pt x="1039" y="1694"/>
                    </a:cubicBezTo>
                    <a:cubicBezTo>
                      <a:pt x="1040" y="1693"/>
                      <a:pt x="1040" y="1693"/>
                      <a:pt x="1040" y="1692"/>
                    </a:cubicBezTo>
                    <a:cubicBezTo>
                      <a:pt x="1215" y="1685"/>
                      <a:pt x="1215" y="1685"/>
                      <a:pt x="1215" y="1685"/>
                    </a:cubicBezTo>
                    <a:cubicBezTo>
                      <a:pt x="1219" y="1693"/>
                      <a:pt x="1226" y="1698"/>
                      <a:pt x="1235" y="1698"/>
                    </a:cubicBezTo>
                    <a:cubicBezTo>
                      <a:pt x="1238" y="1698"/>
                      <a:pt x="1241" y="1698"/>
                      <a:pt x="1243" y="1697"/>
                    </a:cubicBezTo>
                    <a:cubicBezTo>
                      <a:pt x="1313" y="1798"/>
                      <a:pt x="1313" y="1798"/>
                      <a:pt x="1313" y="1798"/>
                    </a:cubicBezTo>
                    <a:cubicBezTo>
                      <a:pt x="1309" y="1802"/>
                      <a:pt x="1306" y="1808"/>
                      <a:pt x="1306" y="1814"/>
                    </a:cubicBezTo>
                    <a:close/>
                    <a:moveTo>
                      <a:pt x="1327" y="1983"/>
                    </a:moveTo>
                    <a:cubicBezTo>
                      <a:pt x="1442" y="2131"/>
                      <a:pt x="1442" y="2131"/>
                      <a:pt x="1442" y="2131"/>
                    </a:cubicBezTo>
                    <a:cubicBezTo>
                      <a:pt x="1438" y="2135"/>
                      <a:pt x="1436" y="2140"/>
                      <a:pt x="1436" y="2145"/>
                    </a:cubicBezTo>
                    <a:cubicBezTo>
                      <a:pt x="1240" y="2151"/>
                      <a:pt x="1240" y="2151"/>
                      <a:pt x="1240" y="2151"/>
                    </a:cubicBezTo>
                    <a:cubicBezTo>
                      <a:pt x="1241" y="2150"/>
                      <a:pt x="1241" y="2148"/>
                      <a:pt x="1241" y="2147"/>
                    </a:cubicBezTo>
                    <a:cubicBezTo>
                      <a:pt x="1241" y="2140"/>
                      <a:pt x="1238" y="2134"/>
                      <a:pt x="1233" y="2130"/>
                    </a:cubicBezTo>
                    <a:cubicBezTo>
                      <a:pt x="1323" y="1982"/>
                      <a:pt x="1323" y="1982"/>
                      <a:pt x="1323" y="1982"/>
                    </a:cubicBezTo>
                    <a:cubicBezTo>
                      <a:pt x="1324" y="1983"/>
                      <a:pt x="1326" y="1983"/>
                      <a:pt x="1327" y="1983"/>
                    </a:cubicBezTo>
                    <a:close/>
                    <a:moveTo>
                      <a:pt x="1579" y="2329"/>
                    </a:moveTo>
                    <a:cubicBezTo>
                      <a:pt x="1581" y="2463"/>
                      <a:pt x="1581" y="2463"/>
                      <a:pt x="1581" y="2463"/>
                    </a:cubicBezTo>
                    <a:cubicBezTo>
                      <a:pt x="1572" y="2464"/>
                      <a:pt x="1564" y="2471"/>
                      <a:pt x="1563" y="2480"/>
                    </a:cubicBezTo>
                    <a:cubicBezTo>
                      <a:pt x="1352" y="2462"/>
                      <a:pt x="1352" y="2462"/>
                      <a:pt x="1352" y="2462"/>
                    </a:cubicBezTo>
                    <a:cubicBezTo>
                      <a:pt x="1352" y="2460"/>
                      <a:pt x="1351" y="2457"/>
                      <a:pt x="1350" y="2454"/>
                    </a:cubicBezTo>
                    <a:cubicBezTo>
                      <a:pt x="1564" y="2321"/>
                      <a:pt x="1564" y="2321"/>
                      <a:pt x="1564" y="2321"/>
                    </a:cubicBezTo>
                    <a:cubicBezTo>
                      <a:pt x="1568" y="2325"/>
                      <a:pt x="1573" y="2328"/>
                      <a:pt x="1579" y="2329"/>
                    </a:cubicBezTo>
                    <a:close/>
                    <a:moveTo>
                      <a:pt x="1517" y="2626"/>
                    </a:moveTo>
                    <a:cubicBezTo>
                      <a:pt x="1353" y="2628"/>
                      <a:pt x="1353" y="2628"/>
                      <a:pt x="1353" y="2628"/>
                    </a:cubicBezTo>
                    <a:cubicBezTo>
                      <a:pt x="1353" y="2627"/>
                      <a:pt x="1353" y="2627"/>
                      <a:pt x="1353" y="2627"/>
                    </a:cubicBezTo>
                    <a:cubicBezTo>
                      <a:pt x="1353" y="2616"/>
                      <a:pt x="1345" y="2607"/>
                      <a:pt x="1334" y="2606"/>
                    </a:cubicBezTo>
                    <a:cubicBezTo>
                      <a:pt x="1333" y="2484"/>
                      <a:pt x="1333" y="2484"/>
                      <a:pt x="1333" y="2484"/>
                    </a:cubicBezTo>
                    <a:cubicBezTo>
                      <a:pt x="1339" y="2484"/>
                      <a:pt x="1344" y="2481"/>
                      <a:pt x="1347" y="2476"/>
                    </a:cubicBezTo>
                    <a:cubicBezTo>
                      <a:pt x="1521" y="2616"/>
                      <a:pt x="1521" y="2616"/>
                      <a:pt x="1521" y="2616"/>
                    </a:cubicBezTo>
                    <a:cubicBezTo>
                      <a:pt x="1519" y="2619"/>
                      <a:pt x="1518" y="2622"/>
                      <a:pt x="1517" y="2626"/>
                    </a:cubicBezTo>
                    <a:close/>
                    <a:moveTo>
                      <a:pt x="1143" y="2635"/>
                    </a:moveTo>
                    <a:cubicBezTo>
                      <a:pt x="1311" y="2633"/>
                      <a:pt x="1311" y="2633"/>
                      <a:pt x="1311" y="2633"/>
                    </a:cubicBezTo>
                    <a:cubicBezTo>
                      <a:pt x="1314" y="2642"/>
                      <a:pt x="1321" y="2648"/>
                      <a:pt x="1330" y="2648"/>
                    </a:cubicBezTo>
                    <a:cubicBezTo>
                      <a:pt x="1330" y="2680"/>
                      <a:pt x="1330" y="2680"/>
                      <a:pt x="1330" y="2680"/>
                    </a:cubicBezTo>
                    <a:cubicBezTo>
                      <a:pt x="1323" y="2680"/>
                      <a:pt x="1317" y="2685"/>
                      <a:pt x="1314" y="2692"/>
                    </a:cubicBezTo>
                    <a:cubicBezTo>
                      <a:pt x="1143" y="2639"/>
                      <a:pt x="1143" y="2639"/>
                      <a:pt x="1143" y="2639"/>
                    </a:cubicBezTo>
                    <a:cubicBezTo>
                      <a:pt x="1143" y="2637"/>
                      <a:pt x="1143" y="2636"/>
                      <a:pt x="1143" y="2635"/>
                    </a:cubicBezTo>
                    <a:cubicBezTo>
                      <a:pt x="1143" y="2635"/>
                      <a:pt x="1143" y="2635"/>
                      <a:pt x="1143" y="2635"/>
                    </a:cubicBezTo>
                    <a:close/>
                    <a:moveTo>
                      <a:pt x="1143" y="2629"/>
                    </a:moveTo>
                    <a:cubicBezTo>
                      <a:pt x="1142" y="2626"/>
                      <a:pt x="1140" y="2623"/>
                      <a:pt x="1137" y="2620"/>
                    </a:cubicBezTo>
                    <a:cubicBezTo>
                      <a:pt x="1321" y="2482"/>
                      <a:pt x="1321" y="2482"/>
                      <a:pt x="1321" y="2482"/>
                    </a:cubicBezTo>
                    <a:cubicBezTo>
                      <a:pt x="1323" y="2483"/>
                      <a:pt x="1325" y="2484"/>
                      <a:pt x="1328" y="2484"/>
                    </a:cubicBezTo>
                    <a:cubicBezTo>
                      <a:pt x="1329" y="2606"/>
                      <a:pt x="1329" y="2606"/>
                      <a:pt x="1329" y="2606"/>
                    </a:cubicBezTo>
                    <a:cubicBezTo>
                      <a:pt x="1318" y="2607"/>
                      <a:pt x="1310" y="2616"/>
                      <a:pt x="1310" y="2627"/>
                    </a:cubicBezTo>
                    <a:cubicBezTo>
                      <a:pt x="1310" y="2627"/>
                      <a:pt x="1310" y="2628"/>
                      <a:pt x="1310" y="2628"/>
                    </a:cubicBezTo>
                    <a:lnTo>
                      <a:pt x="1143" y="2629"/>
                    </a:lnTo>
                    <a:close/>
                    <a:moveTo>
                      <a:pt x="1104" y="2473"/>
                    </a:moveTo>
                    <a:cubicBezTo>
                      <a:pt x="1101" y="2470"/>
                      <a:pt x="1096" y="2468"/>
                      <a:pt x="1091" y="2468"/>
                    </a:cubicBezTo>
                    <a:cubicBezTo>
                      <a:pt x="1076" y="2318"/>
                      <a:pt x="1076" y="2318"/>
                      <a:pt x="1076" y="2318"/>
                    </a:cubicBezTo>
                    <a:cubicBezTo>
                      <a:pt x="1081" y="2317"/>
                      <a:pt x="1085" y="2314"/>
                      <a:pt x="1088" y="2311"/>
                    </a:cubicBezTo>
                    <a:cubicBezTo>
                      <a:pt x="1311" y="2454"/>
                      <a:pt x="1311" y="2454"/>
                      <a:pt x="1311" y="2454"/>
                    </a:cubicBezTo>
                    <a:cubicBezTo>
                      <a:pt x="1310" y="2456"/>
                      <a:pt x="1309" y="2459"/>
                      <a:pt x="1309" y="2462"/>
                    </a:cubicBezTo>
                    <a:lnTo>
                      <a:pt x="1104" y="2473"/>
                    </a:lnTo>
                    <a:close/>
                    <a:moveTo>
                      <a:pt x="1238" y="2157"/>
                    </a:moveTo>
                    <a:cubicBezTo>
                      <a:pt x="1436" y="2150"/>
                      <a:pt x="1436" y="2150"/>
                      <a:pt x="1436" y="2150"/>
                    </a:cubicBezTo>
                    <a:cubicBezTo>
                      <a:pt x="1437" y="2157"/>
                      <a:pt x="1441" y="2162"/>
                      <a:pt x="1447" y="2165"/>
                    </a:cubicBezTo>
                    <a:cubicBezTo>
                      <a:pt x="1336" y="2443"/>
                      <a:pt x="1336" y="2443"/>
                      <a:pt x="1336" y="2443"/>
                    </a:cubicBezTo>
                    <a:cubicBezTo>
                      <a:pt x="1334" y="2442"/>
                      <a:pt x="1332" y="2442"/>
                      <a:pt x="1330" y="2442"/>
                    </a:cubicBezTo>
                    <a:cubicBezTo>
                      <a:pt x="1329" y="2442"/>
                      <a:pt x="1327" y="2442"/>
                      <a:pt x="1326" y="2442"/>
                    </a:cubicBezTo>
                    <a:cubicBezTo>
                      <a:pt x="1229" y="2166"/>
                      <a:pt x="1229" y="2166"/>
                      <a:pt x="1229" y="2166"/>
                    </a:cubicBezTo>
                    <a:cubicBezTo>
                      <a:pt x="1233" y="2164"/>
                      <a:pt x="1236" y="2161"/>
                      <a:pt x="1238" y="2157"/>
                    </a:cubicBezTo>
                    <a:close/>
                    <a:moveTo>
                      <a:pt x="1560" y="2308"/>
                    </a:moveTo>
                    <a:cubicBezTo>
                      <a:pt x="1560" y="2311"/>
                      <a:pt x="1560" y="2314"/>
                      <a:pt x="1562" y="2317"/>
                    </a:cubicBezTo>
                    <a:cubicBezTo>
                      <a:pt x="1347" y="2450"/>
                      <a:pt x="1347" y="2450"/>
                      <a:pt x="1347" y="2450"/>
                    </a:cubicBezTo>
                    <a:cubicBezTo>
                      <a:pt x="1345" y="2448"/>
                      <a:pt x="1343" y="2446"/>
                      <a:pt x="1341" y="2445"/>
                    </a:cubicBezTo>
                    <a:cubicBezTo>
                      <a:pt x="1452" y="2167"/>
                      <a:pt x="1452" y="2167"/>
                      <a:pt x="1452" y="2167"/>
                    </a:cubicBezTo>
                    <a:cubicBezTo>
                      <a:pt x="1453" y="2168"/>
                      <a:pt x="1455" y="2168"/>
                      <a:pt x="1457" y="2168"/>
                    </a:cubicBezTo>
                    <a:cubicBezTo>
                      <a:pt x="1461" y="2168"/>
                      <a:pt x="1465" y="2167"/>
                      <a:pt x="1468" y="2165"/>
                    </a:cubicBezTo>
                    <a:cubicBezTo>
                      <a:pt x="1566" y="2292"/>
                      <a:pt x="1566" y="2292"/>
                      <a:pt x="1566" y="2292"/>
                    </a:cubicBezTo>
                    <a:cubicBezTo>
                      <a:pt x="1562" y="2296"/>
                      <a:pt x="1560" y="2302"/>
                      <a:pt x="1560" y="2308"/>
                    </a:cubicBezTo>
                    <a:close/>
                    <a:moveTo>
                      <a:pt x="1112" y="2490"/>
                    </a:moveTo>
                    <a:cubicBezTo>
                      <a:pt x="1112" y="2486"/>
                      <a:pt x="1110" y="2482"/>
                      <a:pt x="1108" y="2479"/>
                    </a:cubicBezTo>
                    <a:cubicBezTo>
                      <a:pt x="1309" y="2467"/>
                      <a:pt x="1309" y="2467"/>
                      <a:pt x="1309" y="2467"/>
                    </a:cubicBezTo>
                    <a:cubicBezTo>
                      <a:pt x="1310" y="2472"/>
                      <a:pt x="1313" y="2476"/>
                      <a:pt x="1316" y="2479"/>
                    </a:cubicBezTo>
                    <a:cubicBezTo>
                      <a:pt x="1133" y="2617"/>
                      <a:pt x="1133" y="2617"/>
                      <a:pt x="1133" y="2617"/>
                    </a:cubicBezTo>
                    <a:cubicBezTo>
                      <a:pt x="1130" y="2615"/>
                      <a:pt x="1126" y="2613"/>
                      <a:pt x="1122" y="2613"/>
                    </a:cubicBezTo>
                    <a:cubicBezTo>
                      <a:pt x="1121" y="2613"/>
                      <a:pt x="1121" y="2613"/>
                      <a:pt x="1120" y="2614"/>
                    </a:cubicBezTo>
                    <a:cubicBezTo>
                      <a:pt x="1097" y="2510"/>
                      <a:pt x="1097" y="2510"/>
                      <a:pt x="1097" y="2510"/>
                    </a:cubicBezTo>
                    <a:cubicBezTo>
                      <a:pt x="1106" y="2507"/>
                      <a:pt x="1112" y="2499"/>
                      <a:pt x="1112" y="2490"/>
                    </a:cubicBezTo>
                    <a:close/>
                    <a:moveTo>
                      <a:pt x="1141" y="2644"/>
                    </a:moveTo>
                    <a:cubicBezTo>
                      <a:pt x="1312" y="2697"/>
                      <a:pt x="1312" y="2697"/>
                      <a:pt x="1312" y="2697"/>
                    </a:cubicBezTo>
                    <a:cubicBezTo>
                      <a:pt x="1312" y="2698"/>
                      <a:pt x="1312" y="2699"/>
                      <a:pt x="1312" y="2701"/>
                    </a:cubicBezTo>
                    <a:cubicBezTo>
                      <a:pt x="1312" y="2703"/>
                      <a:pt x="1312" y="2705"/>
                      <a:pt x="1313" y="2707"/>
                    </a:cubicBezTo>
                    <a:cubicBezTo>
                      <a:pt x="1156" y="2766"/>
                      <a:pt x="1156" y="2766"/>
                      <a:pt x="1156" y="2766"/>
                    </a:cubicBezTo>
                    <a:cubicBezTo>
                      <a:pt x="1152" y="2760"/>
                      <a:pt x="1146" y="2756"/>
                      <a:pt x="1138" y="2756"/>
                    </a:cubicBezTo>
                    <a:cubicBezTo>
                      <a:pt x="1127" y="2656"/>
                      <a:pt x="1127" y="2656"/>
                      <a:pt x="1127" y="2656"/>
                    </a:cubicBezTo>
                    <a:cubicBezTo>
                      <a:pt x="1133" y="2654"/>
                      <a:pt x="1139" y="2650"/>
                      <a:pt x="1141" y="2644"/>
                    </a:cubicBezTo>
                    <a:close/>
                    <a:moveTo>
                      <a:pt x="1159" y="2777"/>
                    </a:moveTo>
                    <a:cubicBezTo>
                      <a:pt x="1159" y="2775"/>
                      <a:pt x="1159" y="2772"/>
                      <a:pt x="1158" y="2770"/>
                    </a:cubicBezTo>
                    <a:cubicBezTo>
                      <a:pt x="1314" y="2711"/>
                      <a:pt x="1314" y="2711"/>
                      <a:pt x="1314" y="2711"/>
                    </a:cubicBezTo>
                    <a:cubicBezTo>
                      <a:pt x="1316" y="2714"/>
                      <a:pt x="1318" y="2717"/>
                      <a:pt x="1321" y="2719"/>
                    </a:cubicBezTo>
                    <a:cubicBezTo>
                      <a:pt x="1244" y="2866"/>
                      <a:pt x="1244" y="2866"/>
                      <a:pt x="1244" y="2866"/>
                    </a:cubicBezTo>
                    <a:cubicBezTo>
                      <a:pt x="1241" y="2865"/>
                      <a:pt x="1238" y="2864"/>
                      <a:pt x="1235" y="2864"/>
                    </a:cubicBezTo>
                    <a:cubicBezTo>
                      <a:pt x="1231" y="2864"/>
                      <a:pt x="1226" y="2866"/>
                      <a:pt x="1223" y="2868"/>
                    </a:cubicBezTo>
                    <a:cubicBezTo>
                      <a:pt x="1152" y="2793"/>
                      <a:pt x="1152" y="2793"/>
                      <a:pt x="1152" y="2793"/>
                    </a:cubicBezTo>
                    <a:cubicBezTo>
                      <a:pt x="1156" y="2789"/>
                      <a:pt x="1159" y="2784"/>
                      <a:pt x="1159" y="2777"/>
                    </a:cubicBezTo>
                    <a:close/>
                    <a:moveTo>
                      <a:pt x="1336" y="2680"/>
                    </a:moveTo>
                    <a:cubicBezTo>
                      <a:pt x="1336" y="2648"/>
                      <a:pt x="1336" y="2648"/>
                      <a:pt x="1336" y="2648"/>
                    </a:cubicBezTo>
                    <a:cubicBezTo>
                      <a:pt x="1344" y="2646"/>
                      <a:pt x="1350" y="2641"/>
                      <a:pt x="1352" y="2633"/>
                    </a:cubicBezTo>
                    <a:cubicBezTo>
                      <a:pt x="1518" y="2631"/>
                      <a:pt x="1518" y="2631"/>
                      <a:pt x="1518" y="2631"/>
                    </a:cubicBezTo>
                    <a:cubicBezTo>
                      <a:pt x="1518" y="2631"/>
                      <a:pt x="1518" y="2632"/>
                      <a:pt x="1518" y="2632"/>
                    </a:cubicBezTo>
                    <a:cubicBezTo>
                      <a:pt x="1352" y="2691"/>
                      <a:pt x="1352" y="2691"/>
                      <a:pt x="1352" y="2691"/>
                    </a:cubicBezTo>
                    <a:cubicBezTo>
                      <a:pt x="1349" y="2685"/>
                      <a:pt x="1343" y="2680"/>
                      <a:pt x="1336" y="2680"/>
                    </a:cubicBezTo>
                    <a:close/>
                    <a:moveTo>
                      <a:pt x="1539" y="2605"/>
                    </a:moveTo>
                    <a:cubicBezTo>
                      <a:pt x="1533" y="2605"/>
                      <a:pt x="1528" y="2608"/>
                      <a:pt x="1524" y="2611"/>
                    </a:cubicBezTo>
                    <a:cubicBezTo>
                      <a:pt x="1350" y="2472"/>
                      <a:pt x="1350" y="2472"/>
                      <a:pt x="1350" y="2472"/>
                    </a:cubicBezTo>
                    <a:cubicBezTo>
                      <a:pt x="1351" y="2471"/>
                      <a:pt x="1351" y="2469"/>
                      <a:pt x="1351" y="2468"/>
                    </a:cubicBezTo>
                    <a:cubicBezTo>
                      <a:pt x="1562" y="2485"/>
                      <a:pt x="1562" y="2485"/>
                      <a:pt x="1562" y="2485"/>
                    </a:cubicBezTo>
                    <a:cubicBezTo>
                      <a:pt x="1563" y="2494"/>
                      <a:pt x="1568" y="2501"/>
                      <a:pt x="1576" y="2504"/>
                    </a:cubicBezTo>
                    <a:cubicBezTo>
                      <a:pt x="1548" y="2608"/>
                      <a:pt x="1548" y="2608"/>
                      <a:pt x="1548" y="2608"/>
                    </a:cubicBezTo>
                    <a:cubicBezTo>
                      <a:pt x="1546" y="2606"/>
                      <a:pt x="1542" y="2605"/>
                      <a:pt x="1539" y="2605"/>
                    </a:cubicBezTo>
                    <a:close/>
                    <a:moveTo>
                      <a:pt x="1594" y="2290"/>
                    </a:moveTo>
                    <a:cubicBezTo>
                      <a:pt x="1630" y="2168"/>
                      <a:pt x="1630" y="2168"/>
                      <a:pt x="1630" y="2168"/>
                    </a:cubicBezTo>
                    <a:cubicBezTo>
                      <a:pt x="1695" y="2234"/>
                      <a:pt x="1695" y="2234"/>
                      <a:pt x="1695" y="2234"/>
                    </a:cubicBezTo>
                    <a:cubicBezTo>
                      <a:pt x="1598" y="2294"/>
                      <a:pt x="1598" y="2294"/>
                      <a:pt x="1598" y="2294"/>
                    </a:cubicBezTo>
                    <a:cubicBezTo>
                      <a:pt x="1596" y="2293"/>
                      <a:pt x="1595" y="2291"/>
                      <a:pt x="1594" y="2290"/>
                    </a:cubicBezTo>
                    <a:close/>
                    <a:moveTo>
                      <a:pt x="1647" y="2095"/>
                    </a:moveTo>
                    <a:cubicBezTo>
                      <a:pt x="1589" y="2288"/>
                      <a:pt x="1589" y="2288"/>
                      <a:pt x="1589" y="2288"/>
                    </a:cubicBezTo>
                    <a:cubicBezTo>
                      <a:pt x="1586" y="2287"/>
                      <a:pt x="1584" y="2286"/>
                      <a:pt x="1581" y="2286"/>
                    </a:cubicBezTo>
                    <a:cubicBezTo>
                      <a:pt x="1577" y="2286"/>
                      <a:pt x="1573" y="2287"/>
                      <a:pt x="1570" y="2289"/>
                    </a:cubicBezTo>
                    <a:cubicBezTo>
                      <a:pt x="1472" y="2162"/>
                      <a:pt x="1472" y="2162"/>
                      <a:pt x="1472" y="2162"/>
                    </a:cubicBezTo>
                    <a:cubicBezTo>
                      <a:pt x="1476" y="2158"/>
                      <a:pt x="1478" y="2153"/>
                      <a:pt x="1478" y="2147"/>
                    </a:cubicBezTo>
                    <a:cubicBezTo>
                      <a:pt x="1478" y="2145"/>
                      <a:pt x="1478" y="2144"/>
                      <a:pt x="1478" y="2142"/>
                    </a:cubicBezTo>
                    <a:cubicBezTo>
                      <a:pt x="1479" y="2141"/>
                      <a:pt x="1479" y="2141"/>
                      <a:pt x="1479" y="2141"/>
                    </a:cubicBezTo>
                    <a:cubicBezTo>
                      <a:pt x="1636" y="2084"/>
                      <a:pt x="1636" y="2084"/>
                      <a:pt x="1636" y="2084"/>
                    </a:cubicBezTo>
                    <a:cubicBezTo>
                      <a:pt x="1639" y="2089"/>
                      <a:pt x="1642" y="2093"/>
                      <a:pt x="1647" y="2095"/>
                    </a:cubicBezTo>
                    <a:close/>
                    <a:moveTo>
                      <a:pt x="1457" y="2125"/>
                    </a:moveTo>
                    <a:cubicBezTo>
                      <a:pt x="1453" y="2125"/>
                      <a:pt x="1449" y="2126"/>
                      <a:pt x="1446" y="2128"/>
                    </a:cubicBezTo>
                    <a:cubicBezTo>
                      <a:pt x="1334" y="1983"/>
                      <a:pt x="1334" y="1983"/>
                      <a:pt x="1334" y="1983"/>
                    </a:cubicBezTo>
                    <a:cubicBezTo>
                      <a:pt x="1343" y="1982"/>
                      <a:pt x="1350" y="1975"/>
                      <a:pt x="1351" y="1966"/>
                    </a:cubicBezTo>
                    <a:cubicBezTo>
                      <a:pt x="1589" y="1984"/>
                      <a:pt x="1589" y="1984"/>
                      <a:pt x="1589" y="1984"/>
                    </a:cubicBezTo>
                    <a:cubicBezTo>
                      <a:pt x="1589" y="1990"/>
                      <a:pt x="1591" y="1994"/>
                      <a:pt x="1594" y="1998"/>
                    </a:cubicBezTo>
                    <a:cubicBezTo>
                      <a:pt x="1476" y="2137"/>
                      <a:pt x="1476" y="2137"/>
                      <a:pt x="1476" y="2137"/>
                    </a:cubicBezTo>
                    <a:cubicBezTo>
                      <a:pt x="1472" y="2130"/>
                      <a:pt x="1465" y="2125"/>
                      <a:pt x="1457" y="2125"/>
                    </a:cubicBezTo>
                    <a:close/>
                    <a:moveTo>
                      <a:pt x="1428" y="1643"/>
                    </a:moveTo>
                    <a:cubicBezTo>
                      <a:pt x="1425" y="1655"/>
                      <a:pt x="1425" y="1655"/>
                      <a:pt x="1425" y="1655"/>
                    </a:cubicBezTo>
                    <a:cubicBezTo>
                      <a:pt x="1423" y="1654"/>
                      <a:pt x="1420" y="1653"/>
                      <a:pt x="1417" y="1653"/>
                    </a:cubicBezTo>
                    <a:cubicBezTo>
                      <a:pt x="1412" y="1653"/>
                      <a:pt x="1408" y="1654"/>
                      <a:pt x="1405" y="1657"/>
                    </a:cubicBezTo>
                    <a:cubicBezTo>
                      <a:pt x="1360" y="1609"/>
                      <a:pt x="1360" y="1609"/>
                      <a:pt x="1360" y="1609"/>
                    </a:cubicBezTo>
                    <a:cubicBezTo>
                      <a:pt x="1410" y="1626"/>
                      <a:pt x="1410" y="1626"/>
                      <a:pt x="1410" y="1626"/>
                    </a:cubicBezTo>
                    <a:cubicBezTo>
                      <a:pt x="1412" y="1635"/>
                      <a:pt x="1419" y="1642"/>
                      <a:pt x="1428" y="1643"/>
                    </a:cubicBezTo>
                    <a:close/>
                    <a:moveTo>
                      <a:pt x="1354" y="1610"/>
                    </a:moveTo>
                    <a:cubicBezTo>
                      <a:pt x="1401" y="1661"/>
                      <a:pt x="1401" y="1661"/>
                      <a:pt x="1401" y="1661"/>
                    </a:cubicBezTo>
                    <a:cubicBezTo>
                      <a:pt x="1398" y="1664"/>
                      <a:pt x="1396" y="1669"/>
                      <a:pt x="1396" y="1674"/>
                    </a:cubicBezTo>
                    <a:cubicBezTo>
                      <a:pt x="1396" y="1681"/>
                      <a:pt x="1399" y="1687"/>
                      <a:pt x="1403" y="1691"/>
                    </a:cubicBezTo>
                    <a:cubicBezTo>
                      <a:pt x="1337" y="1795"/>
                      <a:pt x="1337" y="1795"/>
                      <a:pt x="1337" y="1795"/>
                    </a:cubicBezTo>
                    <a:cubicBezTo>
                      <a:pt x="1334" y="1794"/>
                      <a:pt x="1331" y="1793"/>
                      <a:pt x="1328" y="1793"/>
                    </a:cubicBezTo>
                    <a:cubicBezTo>
                      <a:pt x="1324" y="1793"/>
                      <a:pt x="1321" y="1794"/>
                      <a:pt x="1318" y="1795"/>
                    </a:cubicBezTo>
                    <a:cubicBezTo>
                      <a:pt x="1248" y="1694"/>
                      <a:pt x="1248" y="1694"/>
                      <a:pt x="1248" y="1694"/>
                    </a:cubicBezTo>
                    <a:cubicBezTo>
                      <a:pt x="1253" y="1690"/>
                      <a:pt x="1256" y="1684"/>
                      <a:pt x="1256" y="1677"/>
                    </a:cubicBezTo>
                    <a:cubicBezTo>
                      <a:pt x="1256" y="1672"/>
                      <a:pt x="1255" y="1668"/>
                      <a:pt x="1253" y="1665"/>
                    </a:cubicBezTo>
                    <a:cubicBezTo>
                      <a:pt x="1315" y="1609"/>
                      <a:pt x="1315" y="1609"/>
                      <a:pt x="1315" y="1609"/>
                    </a:cubicBezTo>
                    <a:cubicBezTo>
                      <a:pt x="1319" y="1616"/>
                      <a:pt x="1326" y="1622"/>
                      <a:pt x="1335" y="1622"/>
                    </a:cubicBezTo>
                    <a:cubicBezTo>
                      <a:pt x="1344" y="1622"/>
                      <a:pt x="1351" y="1617"/>
                      <a:pt x="1354" y="1610"/>
                    </a:cubicBezTo>
                    <a:close/>
                    <a:moveTo>
                      <a:pt x="1249" y="1661"/>
                    </a:moveTo>
                    <a:cubicBezTo>
                      <a:pt x="1245" y="1658"/>
                      <a:pt x="1240" y="1656"/>
                      <a:pt x="1235" y="1656"/>
                    </a:cubicBezTo>
                    <a:cubicBezTo>
                      <a:pt x="1235" y="1656"/>
                      <a:pt x="1235" y="1656"/>
                      <a:pt x="1235" y="1656"/>
                    </a:cubicBezTo>
                    <a:cubicBezTo>
                      <a:pt x="1238" y="1633"/>
                      <a:pt x="1238" y="1633"/>
                      <a:pt x="1238" y="1633"/>
                    </a:cubicBezTo>
                    <a:cubicBezTo>
                      <a:pt x="1247" y="1633"/>
                      <a:pt x="1254" y="1628"/>
                      <a:pt x="1257" y="1622"/>
                    </a:cubicBezTo>
                    <a:cubicBezTo>
                      <a:pt x="1311" y="1605"/>
                      <a:pt x="1311" y="1605"/>
                      <a:pt x="1311" y="1605"/>
                    </a:cubicBezTo>
                    <a:lnTo>
                      <a:pt x="1249" y="1661"/>
                    </a:lnTo>
                    <a:close/>
                    <a:moveTo>
                      <a:pt x="1217" y="1612"/>
                    </a:moveTo>
                    <a:cubicBezTo>
                      <a:pt x="1217" y="1616"/>
                      <a:pt x="1218" y="1619"/>
                      <a:pt x="1219" y="1622"/>
                    </a:cubicBezTo>
                    <a:cubicBezTo>
                      <a:pt x="1037" y="1677"/>
                      <a:pt x="1037" y="1677"/>
                      <a:pt x="1037" y="1677"/>
                    </a:cubicBezTo>
                    <a:cubicBezTo>
                      <a:pt x="1034" y="1672"/>
                      <a:pt x="1029" y="1668"/>
                      <a:pt x="1023" y="1667"/>
                    </a:cubicBezTo>
                    <a:cubicBezTo>
                      <a:pt x="1060" y="1215"/>
                      <a:pt x="1060" y="1215"/>
                      <a:pt x="1060" y="1215"/>
                    </a:cubicBezTo>
                    <a:cubicBezTo>
                      <a:pt x="1061" y="1215"/>
                      <a:pt x="1063" y="1214"/>
                      <a:pt x="1064" y="1214"/>
                    </a:cubicBezTo>
                    <a:cubicBezTo>
                      <a:pt x="1227" y="1594"/>
                      <a:pt x="1227" y="1594"/>
                      <a:pt x="1227" y="1594"/>
                    </a:cubicBezTo>
                    <a:cubicBezTo>
                      <a:pt x="1221" y="1597"/>
                      <a:pt x="1217" y="1604"/>
                      <a:pt x="1217" y="1612"/>
                    </a:cubicBezTo>
                    <a:close/>
                    <a:moveTo>
                      <a:pt x="1096" y="1975"/>
                    </a:moveTo>
                    <a:cubicBezTo>
                      <a:pt x="1309" y="1966"/>
                      <a:pt x="1309" y="1966"/>
                      <a:pt x="1309" y="1966"/>
                    </a:cubicBezTo>
                    <a:cubicBezTo>
                      <a:pt x="1310" y="1971"/>
                      <a:pt x="1313" y="1976"/>
                      <a:pt x="1318" y="1979"/>
                    </a:cubicBezTo>
                    <a:cubicBezTo>
                      <a:pt x="1228" y="2127"/>
                      <a:pt x="1228" y="2127"/>
                      <a:pt x="1228" y="2127"/>
                    </a:cubicBezTo>
                    <a:cubicBezTo>
                      <a:pt x="1226" y="2126"/>
                      <a:pt x="1223" y="2125"/>
                      <a:pt x="1220" y="2125"/>
                    </a:cubicBezTo>
                    <a:cubicBezTo>
                      <a:pt x="1215" y="2125"/>
                      <a:pt x="1211" y="2127"/>
                      <a:pt x="1208" y="2129"/>
                    </a:cubicBezTo>
                    <a:cubicBezTo>
                      <a:pt x="1087" y="1990"/>
                      <a:pt x="1087" y="1990"/>
                      <a:pt x="1087" y="1990"/>
                    </a:cubicBezTo>
                    <a:cubicBezTo>
                      <a:pt x="1092" y="1987"/>
                      <a:pt x="1095" y="1981"/>
                      <a:pt x="1096" y="1975"/>
                    </a:cubicBezTo>
                    <a:close/>
                    <a:moveTo>
                      <a:pt x="1203" y="2160"/>
                    </a:moveTo>
                    <a:cubicBezTo>
                      <a:pt x="1085" y="2280"/>
                      <a:pt x="1085" y="2280"/>
                      <a:pt x="1085" y="2280"/>
                    </a:cubicBezTo>
                    <a:cubicBezTo>
                      <a:pt x="1081" y="2277"/>
                      <a:pt x="1077" y="2276"/>
                      <a:pt x="1072" y="2276"/>
                    </a:cubicBezTo>
                    <a:cubicBezTo>
                      <a:pt x="1072" y="2276"/>
                      <a:pt x="1072" y="2276"/>
                      <a:pt x="1072" y="2276"/>
                    </a:cubicBezTo>
                    <a:cubicBezTo>
                      <a:pt x="1074" y="2275"/>
                      <a:pt x="1074" y="2275"/>
                      <a:pt x="1074" y="2275"/>
                    </a:cubicBezTo>
                    <a:cubicBezTo>
                      <a:pt x="1019" y="2097"/>
                      <a:pt x="1019" y="2097"/>
                      <a:pt x="1019" y="2097"/>
                    </a:cubicBezTo>
                    <a:cubicBezTo>
                      <a:pt x="1025" y="2094"/>
                      <a:pt x="1029" y="2089"/>
                      <a:pt x="1031" y="2084"/>
                    </a:cubicBezTo>
                    <a:cubicBezTo>
                      <a:pt x="1199" y="2143"/>
                      <a:pt x="1199" y="2143"/>
                      <a:pt x="1199" y="2143"/>
                    </a:cubicBezTo>
                    <a:cubicBezTo>
                      <a:pt x="1198" y="2144"/>
                      <a:pt x="1198" y="2145"/>
                      <a:pt x="1198" y="2147"/>
                    </a:cubicBezTo>
                    <a:cubicBezTo>
                      <a:pt x="1198" y="2152"/>
                      <a:pt x="1200" y="2156"/>
                      <a:pt x="1203" y="2160"/>
                    </a:cubicBezTo>
                    <a:close/>
                    <a:moveTo>
                      <a:pt x="902" y="2188"/>
                    </a:moveTo>
                    <a:cubicBezTo>
                      <a:pt x="967" y="2231"/>
                      <a:pt x="967" y="2231"/>
                      <a:pt x="967" y="2231"/>
                    </a:cubicBezTo>
                    <a:cubicBezTo>
                      <a:pt x="969" y="2233"/>
                      <a:pt x="969" y="2233"/>
                      <a:pt x="969" y="2233"/>
                    </a:cubicBezTo>
                    <a:cubicBezTo>
                      <a:pt x="969" y="2232"/>
                      <a:pt x="969" y="2232"/>
                      <a:pt x="969" y="2232"/>
                    </a:cubicBezTo>
                    <a:cubicBezTo>
                      <a:pt x="1053" y="2288"/>
                      <a:pt x="1053" y="2288"/>
                      <a:pt x="1053" y="2288"/>
                    </a:cubicBezTo>
                    <a:cubicBezTo>
                      <a:pt x="1051" y="2290"/>
                      <a:pt x="1050" y="2294"/>
                      <a:pt x="1050" y="2297"/>
                    </a:cubicBezTo>
                    <a:cubicBezTo>
                      <a:pt x="1050" y="2298"/>
                      <a:pt x="1050" y="2298"/>
                      <a:pt x="1051" y="2299"/>
                    </a:cubicBezTo>
                    <a:cubicBezTo>
                      <a:pt x="911" y="2327"/>
                      <a:pt x="911" y="2327"/>
                      <a:pt x="911" y="2327"/>
                    </a:cubicBezTo>
                    <a:cubicBezTo>
                      <a:pt x="911" y="2327"/>
                      <a:pt x="911" y="2326"/>
                      <a:pt x="911" y="2326"/>
                    </a:cubicBezTo>
                    <a:cubicBezTo>
                      <a:pt x="911" y="2316"/>
                      <a:pt x="904" y="2307"/>
                      <a:pt x="895" y="2305"/>
                    </a:cubicBezTo>
                    <a:cubicBezTo>
                      <a:pt x="892" y="2192"/>
                      <a:pt x="892" y="2192"/>
                      <a:pt x="892" y="2192"/>
                    </a:cubicBezTo>
                    <a:cubicBezTo>
                      <a:pt x="896" y="2191"/>
                      <a:pt x="899" y="2190"/>
                      <a:pt x="902" y="2188"/>
                    </a:cubicBezTo>
                    <a:close/>
                    <a:moveTo>
                      <a:pt x="907" y="2338"/>
                    </a:moveTo>
                    <a:cubicBezTo>
                      <a:pt x="1072" y="2478"/>
                      <a:pt x="1072" y="2478"/>
                      <a:pt x="1072" y="2478"/>
                    </a:cubicBezTo>
                    <a:cubicBezTo>
                      <a:pt x="1071" y="2480"/>
                      <a:pt x="1070" y="2482"/>
                      <a:pt x="1069" y="2485"/>
                    </a:cubicBezTo>
                    <a:cubicBezTo>
                      <a:pt x="922" y="2471"/>
                      <a:pt x="922" y="2471"/>
                      <a:pt x="922" y="2471"/>
                    </a:cubicBezTo>
                    <a:cubicBezTo>
                      <a:pt x="921" y="2460"/>
                      <a:pt x="914" y="2452"/>
                      <a:pt x="904" y="2450"/>
                    </a:cubicBezTo>
                    <a:cubicBezTo>
                      <a:pt x="895" y="2347"/>
                      <a:pt x="895" y="2347"/>
                      <a:pt x="895" y="2347"/>
                    </a:cubicBezTo>
                    <a:cubicBezTo>
                      <a:pt x="900" y="2345"/>
                      <a:pt x="904" y="2342"/>
                      <a:pt x="907" y="2338"/>
                    </a:cubicBezTo>
                    <a:close/>
                    <a:moveTo>
                      <a:pt x="921" y="2476"/>
                    </a:moveTo>
                    <a:cubicBezTo>
                      <a:pt x="1069" y="2490"/>
                      <a:pt x="1069" y="2490"/>
                      <a:pt x="1069" y="2490"/>
                    </a:cubicBezTo>
                    <a:cubicBezTo>
                      <a:pt x="1069" y="2502"/>
                      <a:pt x="1079" y="2511"/>
                      <a:pt x="1090" y="2511"/>
                    </a:cubicBezTo>
                    <a:cubicBezTo>
                      <a:pt x="1091" y="2511"/>
                      <a:pt x="1092" y="2511"/>
                      <a:pt x="1092" y="2511"/>
                    </a:cubicBezTo>
                    <a:cubicBezTo>
                      <a:pt x="1115" y="2615"/>
                      <a:pt x="1115" y="2615"/>
                      <a:pt x="1115" y="2615"/>
                    </a:cubicBezTo>
                    <a:cubicBezTo>
                      <a:pt x="1109" y="2617"/>
                      <a:pt x="1105" y="2621"/>
                      <a:pt x="1102" y="2626"/>
                    </a:cubicBezTo>
                    <a:cubicBezTo>
                      <a:pt x="1011" y="2599"/>
                      <a:pt x="1011" y="2599"/>
                      <a:pt x="1011" y="2599"/>
                    </a:cubicBezTo>
                    <a:cubicBezTo>
                      <a:pt x="1011" y="2598"/>
                      <a:pt x="1011" y="2596"/>
                      <a:pt x="1011" y="2595"/>
                    </a:cubicBezTo>
                    <a:cubicBezTo>
                      <a:pt x="1011" y="2583"/>
                      <a:pt x="1002" y="2574"/>
                      <a:pt x="990" y="2574"/>
                    </a:cubicBezTo>
                    <a:cubicBezTo>
                      <a:pt x="986" y="2574"/>
                      <a:pt x="982" y="2575"/>
                      <a:pt x="979" y="2577"/>
                    </a:cubicBezTo>
                    <a:cubicBezTo>
                      <a:pt x="916" y="2485"/>
                      <a:pt x="916" y="2485"/>
                      <a:pt x="916" y="2485"/>
                    </a:cubicBezTo>
                    <a:cubicBezTo>
                      <a:pt x="919" y="2483"/>
                      <a:pt x="920" y="2479"/>
                      <a:pt x="921" y="2476"/>
                    </a:cubicBezTo>
                    <a:close/>
                    <a:moveTo>
                      <a:pt x="1010" y="2604"/>
                    </a:moveTo>
                    <a:cubicBezTo>
                      <a:pt x="1101" y="2631"/>
                      <a:pt x="1101" y="2631"/>
                      <a:pt x="1101" y="2631"/>
                    </a:cubicBezTo>
                    <a:cubicBezTo>
                      <a:pt x="1101" y="2632"/>
                      <a:pt x="1100" y="2634"/>
                      <a:pt x="1100" y="2635"/>
                    </a:cubicBezTo>
                    <a:cubicBezTo>
                      <a:pt x="1100" y="2647"/>
                      <a:pt x="1110" y="2656"/>
                      <a:pt x="1122" y="2656"/>
                    </a:cubicBezTo>
                    <a:cubicBezTo>
                      <a:pt x="1133" y="2756"/>
                      <a:pt x="1133" y="2756"/>
                      <a:pt x="1133" y="2756"/>
                    </a:cubicBezTo>
                    <a:cubicBezTo>
                      <a:pt x="1123" y="2759"/>
                      <a:pt x="1116" y="2767"/>
                      <a:pt x="1116" y="2777"/>
                    </a:cubicBezTo>
                    <a:cubicBezTo>
                      <a:pt x="1116" y="2778"/>
                      <a:pt x="1116" y="2779"/>
                      <a:pt x="1117" y="2780"/>
                    </a:cubicBezTo>
                    <a:cubicBezTo>
                      <a:pt x="1044" y="2798"/>
                      <a:pt x="1044" y="2798"/>
                      <a:pt x="1044" y="2798"/>
                    </a:cubicBezTo>
                    <a:cubicBezTo>
                      <a:pt x="1041" y="2790"/>
                      <a:pt x="1033" y="2785"/>
                      <a:pt x="1024" y="2785"/>
                    </a:cubicBezTo>
                    <a:cubicBezTo>
                      <a:pt x="996" y="2616"/>
                      <a:pt x="996" y="2616"/>
                      <a:pt x="996" y="2616"/>
                    </a:cubicBezTo>
                    <a:cubicBezTo>
                      <a:pt x="1002" y="2614"/>
                      <a:pt x="1007" y="2610"/>
                      <a:pt x="1010" y="2604"/>
                    </a:cubicBezTo>
                    <a:close/>
                    <a:moveTo>
                      <a:pt x="1045" y="2804"/>
                    </a:moveTo>
                    <a:cubicBezTo>
                      <a:pt x="1118" y="2785"/>
                      <a:pt x="1118" y="2785"/>
                      <a:pt x="1118" y="2785"/>
                    </a:cubicBezTo>
                    <a:cubicBezTo>
                      <a:pt x="1121" y="2793"/>
                      <a:pt x="1129" y="2799"/>
                      <a:pt x="1138" y="2799"/>
                    </a:cubicBezTo>
                    <a:cubicBezTo>
                      <a:pt x="1141" y="2799"/>
                      <a:pt x="1144" y="2798"/>
                      <a:pt x="1147" y="2796"/>
                    </a:cubicBezTo>
                    <a:cubicBezTo>
                      <a:pt x="1219" y="2872"/>
                      <a:pt x="1219" y="2872"/>
                      <a:pt x="1219" y="2872"/>
                    </a:cubicBezTo>
                    <a:cubicBezTo>
                      <a:pt x="1216" y="2876"/>
                      <a:pt x="1214" y="2880"/>
                      <a:pt x="1214" y="2885"/>
                    </a:cubicBezTo>
                    <a:cubicBezTo>
                      <a:pt x="1214" y="2889"/>
                      <a:pt x="1215" y="2892"/>
                      <a:pt x="1216" y="2895"/>
                    </a:cubicBezTo>
                    <a:cubicBezTo>
                      <a:pt x="1196" y="2908"/>
                      <a:pt x="1196" y="2908"/>
                      <a:pt x="1196" y="2908"/>
                    </a:cubicBezTo>
                    <a:cubicBezTo>
                      <a:pt x="1192" y="2904"/>
                      <a:pt x="1186" y="2901"/>
                      <a:pt x="1180" y="2901"/>
                    </a:cubicBezTo>
                    <a:cubicBezTo>
                      <a:pt x="1175" y="2901"/>
                      <a:pt x="1170" y="2903"/>
                      <a:pt x="1166" y="2906"/>
                    </a:cubicBezTo>
                    <a:cubicBezTo>
                      <a:pt x="1042" y="2818"/>
                      <a:pt x="1042" y="2818"/>
                      <a:pt x="1042" y="2818"/>
                    </a:cubicBezTo>
                    <a:cubicBezTo>
                      <a:pt x="1044" y="2815"/>
                      <a:pt x="1046" y="2811"/>
                      <a:pt x="1046" y="2806"/>
                    </a:cubicBezTo>
                    <a:cubicBezTo>
                      <a:pt x="1046" y="2805"/>
                      <a:pt x="1046" y="2804"/>
                      <a:pt x="1045" y="2804"/>
                    </a:cubicBezTo>
                    <a:close/>
                    <a:moveTo>
                      <a:pt x="1199" y="2913"/>
                    </a:moveTo>
                    <a:cubicBezTo>
                      <a:pt x="1219" y="2899"/>
                      <a:pt x="1219" y="2899"/>
                      <a:pt x="1219" y="2899"/>
                    </a:cubicBezTo>
                    <a:cubicBezTo>
                      <a:pt x="1223" y="2904"/>
                      <a:pt x="1229" y="2907"/>
                      <a:pt x="1235" y="2907"/>
                    </a:cubicBezTo>
                    <a:cubicBezTo>
                      <a:pt x="1236" y="2907"/>
                      <a:pt x="1237" y="2907"/>
                      <a:pt x="1237" y="2907"/>
                    </a:cubicBezTo>
                    <a:cubicBezTo>
                      <a:pt x="1247" y="2957"/>
                      <a:pt x="1247" y="2957"/>
                      <a:pt x="1247" y="2957"/>
                    </a:cubicBezTo>
                    <a:cubicBezTo>
                      <a:pt x="1244" y="2958"/>
                      <a:pt x="1242" y="2960"/>
                      <a:pt x="1240" y="2962"/>
                    </a:cubicBezTo>
                    <a:cubicBezTo>
                      <a:pt x="1200" y="2931"/>
                      <a:pt x="1200" y="2931"/>
                      <a:pt x="1200" y="2931"/>
                    </a:cubicBezTo>
                    <a:cubicBezTo>
                      <a:pt x="1201" y="2928"/>
                      <a:pt x="1201" y="2925"/>
                      <a:pt x="1201" y="2922"/>
                    </a:cubicBezTo>
                    <a:cubicBezTo>
                      <a:pt x="1201" y="2919"/>
                      <a:pt x="1200" y="2916"/>
                      <a:pt x="1199" y="2913"/>
                    </a:cubicBezTo>
                    <a:close/>
                    <a:moveTo>
                      <a:pt x="1254" y="2956"/>
                    </a:moveTo>
                    <a:cubicBezTo>
                      <a:pt x="1253" y="2956"/>
                      <a:pt x="1253" y="2956"/>
                      <a:pt x="1252" y="2956"/>
                    </a:cubicBezTo>
                    <a:cubicBezTo>
                      <a:pt x="1243" y="2906"/>
                      <a:pt x="1243" y="2906"/>
                      <a:pt x="1243" y="2906"/>
                    </a:cubicBezTo>
                    <a:cubicBezTo>
                      <a:pt x="1247" y="2904"/>
                      <a:pt x="1250" y="2901"/>
                      <a:pt x="1253" y="2898"/>
                    </a:cubicBezTo>
                    <a:cubicBezTo>
                      <a:pt x="1415" y="2887"/>
                      <a:pt x="1415" y="2887"/>
                      <a:pt x="1415" y="2887"/>
                    </a:cubicBezTo>
                    <a:cubicBezTo>
                      <a:pt x="1416" y="2895"/>
                      <a:pt x="1422" y="2901"/>
                      <a:pt x="1430" y="2903"/>
                    </a:cubicBezTo>
                    <a:cubicBezTo>
                      <a:pt x="1423" y="2951"/>
                      <a:pt x="1423" y="2951"/>
                      <a:pt x="1423" y="2951"/>
                    </a:cubicBezTo>
                    <a:cubicBezTo>
                      <a:pt x="1423" y="2951"/>
                      <a:pt x="1423" y="2951"/>
                      <a:pt x="1423" y="2951"/>
                    </a:cubicBezTo>
                    <a:cubicBezTo>
                      <a:pt x="1412" y="2951"/>
                      <a:pt x="1404" y="2959"/>
                      <a:pt x="1402" y="2968"/>
                    </a:cubicBezTo>
                    <a:cubicBezTo>
                      <a:pt x="1275" y="2976"/>
                      <a:pt x="1275" y="2976"/>
                      <a:pt x="1275" y="2976"/>
                    </a:cubicBezTo>
                    <a:cubicBezTo>
                      <a:pt x="1274" y="2965"/>
                      <a:pt x="1265" y="2956"/>
                      <a:pt x="1254" y="2956"/>
                    </a:cubicBezTo>
                    <a:close/>
                    <a:moveTo>
                      <a:pt x="1448" y="2865"/>
                    </a:moveTo>
                    <a:cubicBezTo>
                      <a:pt x="1444" y="2863"/>
                      <a:pt x="1440" y="2861"/>
                      <a:pt x="1436" y="2861"/>
                    </a:cubicBezTo>
                    <a:cubicBezTo>
                      <a:pt x="1433" y="2861"/>
                      <a:pt x="1430" y="2862"/>
                      <a:pt x="1428" y="2863"/>
                    </a:cubicBezTo>
                    <a:cubicBezTo>
                      <a:pt x="1345" y="2718"/>
                      <a:pt x="1345" y="2718"/>
                      <a:pt x="1345" y="2718"/>
                    </a:cubicBezTo>
                    <a:cubicBezTo>
                      <a:pt x="1348" y="2716"/>
                      <a:pt x="1350" y="2713"/>
                      <a:pt x="1352" y="2710"/>
                    </a:cubicBezTo>
                    <a:cubicBezTo>
                      <a:pt x="1505" y="2771"/>
                      <a:pt x="1505" y="2771"/>
                      <a:pt x="1505" y="2771"/>
                    </a:cubicBezTo>
                    <a:cubicBezTo>
                      <a:pt x="1505" y="2773"/>
                      <a:pt x="1504" y="2775"/>
                      <a:pt x="1504" y="2777"/>
                    </a:cubicBezTo>
                    <a:cubicBezTo>
                      <a:pt x="1504" y="2783"/>
                      <a:pt x="1506" y="2788"/>
                      <a:pt x="1510" y="2792"/>
                    </a:cubicBezTo>
                    <a:lnTo>
                      <a:pt x="1448" y="2865"/>
                    </a:lnTo>
                    <a:close/>
                    <a:moveTo>
                      <a:pt x="1525" y="2756"/>
                    </a:moveTo>
                    <a:cubicBezTo>
                      <a:pt x="1517" y="2756"/>
                      <a:pt x="1510" y="2761"/>
                      <a:pt x="1507" y="2767"/>
                    </a:cubicBezTo>
                    <a:cubicBezTo>
                      <a:pt x="1353" y="2707"/>
                      <a:pt x="1353" y="2707"/>
                      <a:pt x="1353" y="2707"/>
                    </a:cubicBezTo>
                    <a:cubicBezTo>
                      <a:pt x="1354" y="2705"/>
                      <a:pt x="1354" y="2703"/>
                      <a:pt x="1354" y="2701"/>
                    </a:cubicBezTo>
                    <a:cubicBezTo>
                      <a:pt x="1354" y="2699"/>
                      <a:pt x="1354" y="2698"/>
                      <a:pt x="1354" y="2696"/>
                    </a:cubicBezTo>
                    <a:cubicBezTo>
                      <a:pt x="1520" y="2636"/>
                      <a:pt x="1520" y="2636"/>
                      <a:pt x="1520" y="2636"/>
                    </a:cubicBezTo>
                    <a:cubicBezTo>
                      <a:pt x="1523" y="2642"/>
                      <a:pt x="1528" y="2646"/>
                      <a:pt x="1534" y="2648"/>
                    </a:cubicBezTo>
                    <a:lnTo>
                      <a:pt x="1525" y="2756"/>
                    </a:lnTo>
                    <a:close/>
                    <a:moveTo>
                      <a:pt x="1668" y="2590"/>
                    </a:moveTo>
                    <a:cubicBezTo>
                      <a:pt x="1665" y="2590"/>
                      <a:pt x="1661" y="2590"/>
                      <a:pt x="1659" y="2592"/>
                    </a:cubicBezTo>
                    <a:cubicBezTo>
                      <a:pt x="1598" y="2501"/>
                      <a:pt x="1598" y="2501"/>
                      <a:pt x="1598" y="2501"/>
                    </a:cubicBezTo>
                    <a:cubicBezTo>
                      <a:pt x="1602" y="2497"/>
                      <a:pt x="1605" y="2491"/>
                      <a:pt x="1605" y="2485"/>
                    </a:cubicBezTo>
                    <a:cubicBezTo>
                      <a:pt x="1745" y="2473"/>
                      <a:pt x="1745" y="2473"/>
                      <a:pt x="1745" y="2473"/>
                    </a:cubicBezTo>
                    <a:cubicBezTo>
                      <a:pt x="1746" y="2477"/>
                      <a:pt x="1747" y="2480"/>
                      <a:pt x="1750" y="2483"/>
                    </a:cubicBezTo>
                    <a:cubicBezTo>
                      <a:pt x="1676" y="2591"/>
                      <a:pt x="1676" y="2591"/>
                      <a:pt x="1676" y="2591"/>
                    </a:cubicBezTo>
                    <a:cubicBezTo>
                      <a:pt x="1673" y="2590"/>
                      <a:pt x="1671" y="2590"/>
                      <a:pt x="1668" y="2590"/>
                    </a:cubicBezTo>
                    <a:close/>
                    <a:moveTo>
                      <a:pt x="1744" y="2468"/>
                    </a:moveTo>
                    <a:cubicBezTo>
                      <a:pt x="1605" y="2480"/>
                      <a:pt x="1605" y="2480"/>
                      <a:pt x="1605" y="2480"/>
                    </a:cubicBezTo>
                    <a:cubicBezTo>
                      <a:pt x="1604" y="2477"/>
                      <a:pt x="1603" y="2475"/>
                      <a:pt x="1602" y="2473"/>
                    </a:cubicBezTo>
                    <a:cubicBezTo>
                      <a:pt x="1762" y="2339"/>
                      <a:pt x="1762" y="2339"/>
                      <a:pt x="1762" y="2339"/>
                    </a:cubicBezTo>
                    <a:cubicBezTo>
                      <a:pt x="1764" y="2341"/>
                      <a:pt x="1767" y="2343"/>
                      <a:pt x="1770" y="2344"/>
                    </a:cubicBezTo>
                    <a:cubicBezTo>
                      <a:pt x="1765" y="2447"/>
                      <a:pt x="1765" y="2447"/>
                      <a:pt x="1765" y="2447"/>
                    </a:cubicBezTo>
                    <a:cubicBezTo>
                      <a:pt x="1754" y="2448"/>
                      <a:pt x="1745" y="2457"/>
                      <a:pt x="1744" y="2468"/>
                    </a:cubicBezTo>
                    <a:close/>
                    <a:moveTo>
                      <a:pt x="1755" y="2319"/>
                    </a:moveTo>
                    <a:cubicBezTo>
                      <a:pt x="1602" y="2307"/>
                      <a:pt x="1602" y="2307"/>
                      <a:pt x="1602" y="2307"/>
                    </a:cubicBezTo>
                    <a:cubicBezTo>
                      <a:pt x="1602" y="2304"/>
                      <a:pt x="1602" y="2301"/>
                      <a:pt x="1600" y="2299"/>
                    </a:cubicBezTo>
                    <a:cubicBezTo>
                      <a:pt x="1698" y="2238"/>
                      <a:pt x="1698" y="2238"/>
                      <a:pt x="1698" y="2238"/>
                    </a:cubicBezTo>
                    <a:cubicBezTo>
                      <a:pt x="1699" y="2238"/>
                      <a:pt x="1699" y="2238"/>
                      <a:pt x="1699" y="2238"/>
                    </a:cubicBezTo>
                    <a:cubicBezTo>
                      <a:pt x="1700" y="2237"/>
                      <a:pt x="1700" y="2237"/>
                      <a:pt x="1700" y="2237"/>
                    </a:cubicBezTo>
                    <a:cubicBezTo>
                      <a:pt x="1766" y="2196"/>
                      <a:pt x="1766" y="2196"/>
                      <a:pt x="1766" y="2196"/>
                    </a:cubicBezTo>
                    <a:cubicBezTo>
                      <a:pt x="1768" y="2199"/>
                      <a:pt x="1772" y="2200"/>
                      <a:pt x="1775" y="2202"/>
                    </a:cubicBezTo>
                    <a:cubicBezTo>
                      <a:pt x="1772" y="2302"/>
                      <a:pt x="1772" y="2302"/>
                      <a:pt x="1772" y="2302"/>
                    </a:cubicBezTo>
                    <a:cubicBezTo>
                      <a:pt x="1763" y="2304"/>
                      <a:pt x="1757" y="2311"/>
                      <a:pt x="1755" y="2319"/>
                    </a:cubicBezTo>
                    <a:close/>
                    <a:moveTo>
                      <a:pt x="1781" y="2160"/>
                    </a:moveTo>
                    <a:cubicBezTo>
                      <a:pt x="1781" y="2160"/>
                      <a:pt x="1781" y="2160"/>
                      <a:pt x="1781" y="2160"/>
                    </a:cubicBezTo>
                    <a:cubicBezTo>
                      <a:pt x="1769" y="2094"/>
                      <a:pt x="1769" y="2094"/>
                      <a:pt x="1769" y="2094"/>
                    </a:cubicBezTo>
                    <a:cubicBezTo>
                      <a:pt x="1778" y="2091"/>
                      <a:pt x="1784" y="2083"/>
                      <a:pt x="1784" y="2074"/>
                    </a:cubicBezTo>
                    <a:cubicBezTo>
                      <a:pt x="1784" y="2062"/>
                      <a:pt x="1775" y="2052"/>
                      <a:pt x="1763" y="2052"/>
                    </a:cubicBezTo>
                    <a:cubicBezTo>
                      <a:pt x="1752" y="2052"/>
                      <a:pt x="1743" y="2061"/>
                      <a:pt x="1742" y="2071"/>
                    </a:cubicBezTo>
                    <a:cubicBezTo>
                      <a:pt x="1677" y="2072"/>
                      <a:pt x="1677" y="2072"/>
                      <a:pt x="1677" y="2072"/>
                    </a:cubicBezTo>
                    <a:cubicBezTo>
                      <a:pt x="1675" y="2062"/>
                      <a:pt x="1666" y="2054"/>
                      <a:pt x="1656" y="2054"/>
                    </a:cubicBezTo>
                    <a:cubicBezTo>
                      <a:pt x="1644" y="2054"/>
                      <a:pt x="1634" y="2064"/>
                      <a:pt x="1634" y="2075"/>
                    </a:cubicBezTo>
                    <a:cubicBezTo>
                      <a:pt x="1634" y="2077"/>
                      <a:pt x="1635" y="2079"/>
                      <a:pt x="1635" y="2081"/>
                    </a:cubicBezTo>
                    <a:cubicBezTo>
                      <a:pt x="1484" y="2135"/>
                      <a:pt x="1484" y="2135"/>
                      <a:pt x="1484" y="2135"/>
                    </a:cubicBezTo>
                    <a:cubicBezTo>
                      <a:pt x="1598" y="2001"/>
                      <a:pt x="1598" y="2001"/>
                      <a:pt x="1598" y="2001"/>
                    </a:cubicBezTo>
                    <a:cubicBezTo>
                      <a:pt x="1601" y="2003"/>
                      <a:pt x="1606" y="2005"/>
                      <a:pt x="1610" y="2005"/>
                    </a:cubicBezTo>
                    <a:cubicBezTo>
                      <a:pt x="1620" y="2005"/>
                      <a:pt x="1628" y="1998"/>
                      <a:pt x="1631" y="1989"/>
                    </a:cubicBezTo>
                    <a:cubicBezTo>
                      <a:pt x="1734" y="2003"/>
                      <a:pt x="1734" y="2003"/>
                      <a:pt x="1734" y="2003"/>
                    </a:cubicBezTo>
                    <a:cubicBezTo>
                      <a:pt x="1734" y="2004"/>
                      <a:pt x="1734" y="2006"/>
                      <a:pt x="1734" y="2007"/>
                    </a:cubicBezTo>
                    <a:cubicBezTo>
                      <a:pt x="1734" y="2019"/>
                      <a:pt x="1743" y="2029"/>
                      <a:pt x="1755" y="2029"/>
                    </a:cubicBezTo>
                    <a:cubicBezTo>
                      <a:pt x="1763" y="2029"/>
                      <a:pt x="1770" y="2024"/>
                      <a:pt x="1773" y="2018"/>
                    </a:cubicBezTo>
                    <a:cubicBezTo>
                      <a:pt x="1837" y="2072"/>
                      <a:pt x="1837" y="2072"/>
                      <a:pt x="1837" y="2072"/>
                    </a:cubicBezTo>
                    <a:cubicBezTo>
                      <a:pt x="1835" y="2075"/>
                      <a:pt x="1834" y="2079"/>
                      <a:pt x="1834" y="2083"/>
                    </a:cubicBezTo>
                    <a:cubicBezTo>
                      <a:pt x="1834" y="2088"/>
                      <a:pt x="1836" y="2093"/>
                      <a:pt x="1839" y="2096"/>
                    </a:cubicBezTo>
                    <a:cubicBezTo>
                      <a:pt x="1788" y="2161"/>
                      <a:pt x="1788" y="2161"/>
                      <a:pt x="1788" y="2161"/>
                    </a:cubicBezTo>
                    <a:cubicBezTo>
                      <a:pt x="1786" y="2160"/>
                      <a:pt x="1784" y="2160"/>
                      <a:pt x="1781" y="2160"/>
                    </a:cubicBezTo>
                    <a:close/>
                    <a:moveTo>
                      <a:pt x="1862" y="2063"/>
                    </a:moveTo>
                    <a:cubicBezTo>
                      <a:pt x="1890" y="1904"/>
                      <a:pt x="1890" y="1904"/>
                      <a:pt x="1890" y="1904"/>
                    </a:cubicBezTo>
                    <a:cubicBezTo>
                      <a:pt x="1894" y="1903"/>
                      <a:pt x="1898" y="1900"/>
                      <a:pt x="1901" y="1897"/>
                    </a:cubicBezTo>
                    <a:cubicBezTo>
                      <a:pt x="1956" y="1937"/>
                      <a:pt x="1956" y="1937"/>
                      <a:pt x="1956" y="1937"/>
                    </a:cubicBezTo>
                    <a:cubicBezTo>
                      <a:pt x="1954" y="1940"/>
                      <a:pt x="1953" y="1945"/>
                      <a:pt x="1953" y="1949"/>
                    </a:cubicBezTo>
                    <a:cubicBezTo>
                      <a:pt x="1953" y="1955"/>
                      <a:pt x="1955" y="1960"/>
                      <a:pt x="1958" y="1964"/>
                    </a:cubicBezTo>
                    <a:cubicBezTo>
                      <a:pt x="1866" y="2065"/>
                      <a:pt x="1866" y="2065"/>
                      <a:pt x="1866" y="2065"/>
                    </a:cubicBezTo>
                    <a:cubicBezTo>
                      <a:pt x="1864" y="2064"/>
                      <a:pt x="1863" y="2063"/>
                      <a:pt x="1862" y="2063"/>
                    </a:cubicBezTo>
                    <a:close/>
                    <a:moveTo>
                      <a:pt x="1981" y="1929"/>
                    </a:moveTo>
                    <a:cubicBezTo>
                      <a:pt x="2007" y="1788"/>
                      <a:pt x="2007" y="1788"/>
                      <a:pt x="2007" y="1788"/>
                    </a:cubicBezTo>
                    <a:cubicBezTo>
                      <a:pt x="2008" y="1788"/>
                      <a:pt x="2008" y="1788"/>
                      <a:pt x="2008" y="1788"/>
                    </a:cubicBezTo>
                    <a:cubicBezTo>
                      <a:pt x="2014" y="1788"/>
                      <a:pt x="2020" y="1786"/>
                      <a:pt x="2023" y="1782"/>
                    </a:cubicBezTo>
                    <a:cubicBezTo>
                      <a:pt x="2191" y="1914"/>
                      <a:pt x="2191" y="1914"/>
                      <a:pt x="2191" y="1914"/>
                    </a:cubicBezTo>
                    <a:cubicBezTo>
                      <a:pt x="2189" y="1917"/>
                      <a:pt x="2188" y="1919"/>
                      <a:pt x="2188" y="1922"/>
                    </a:cubicBezTo>
                    <a:cubicBezTo>
                      <a:pt x="1994" y="1943"/>
                      <a:pt x="1994" y="1943"/>
                      <a:pt x="1994" y="1943"/>
                    </a:cubicBezTo>
                    <a:cubicBezTo>
                      <a:pt x="1992" y="1936"/>
                      <a:pt x="1987" y="1931"/>
                      <a:pt x="1981" y="1929"/>
                    </a:cubicBezTo>
                    <a:close/>
                    <a:moveTo>
                      <a:pt x="2209" y="1904"/>
                    </a:moveTo>
                    <a:cubicBezTo>
                      <a:pt x="2203" y="1904"/>
                      <a:pt x="2198" y="1906"/>
                      <a:pt x="2194" y="1910"/>
                    </a:cubicBezTo>
                    <a:cubicBezTo>
                      <a:pt x="2027" y="1778"/>
                      <a:pt x="2027" y="1778"/>
                      <a:pt x="2027" y="1778"/>
                    </a:cubicBezTo>
                    <a:cubicBezTo>
                      <a:pt x="2028" y="1776"/>
                      <a:pt x="2029" y="1773"/>
                      <a:pt x="2029" y="1771"/>
                    </a:cubicBezTo>
                    <a:cubicBezTo>
                      <a:pt x="2212" y="1785"/>
                      <a:pt x="2212" y="1785"/>
                      <a:pt x="2212" y="1785"/>
                    </a:cubicBezTo>
                    <a:cubicBezTo>
                      <a:pt x="2213" y="1795"/>
                      <a:pt x="2219" y="1802"/>
                      <a:pt x="2228" y="1805"/>
                    </a:cubicBezTo>
                    <a:cubicBezTo>
                      <a:pt x="2210" y="1904"/>
                      <a:pt x="2210" y="1904"/>
                      <a:pt x="2210" y="1904"/>
                    </a:cubicBezTo>
                    <a:cubicBezTo>
                      <a:pt x="2210" y="1904"/>
                      <a:pt x="2209" y="1904"/>
                      <a:pt x="2209" y="1904"/>
                    </a:cubicBezTo>
                    <a:close/>
                    <a:moveTo>
                      <a:pt x="2234" y="1763"/>
                    </a:moveTo>
                    <a:cubicBezTo>
                      <a:pt x="2233" y="1763"/>
                      <a:pt x="2233" y="1763"/>
                      <a:pt x="2232" y="1763"/>
                    </a:cubicBezTo>
                    <a:cubicBezTo>
                      <a:pt x="2222" y="1668"/>
                      <a:pt x="2222" y="1668"/>
                      <a:pt x="2222" y="1668"/>
                    </a:cubicBezTo>
                    <a:cubicBezTo>
                      <a:pt x="2228" y="1667"/>
                      <a:pt x="2233" y="1664"/>
                      <a:pt x="2237" y="1660"/>
                    </a:cubicBezTo>
                    <a:cubicBezTo>
                      <a:pt x="2363" y="1805"/>
                      <a:pt x="2363" y="1805"/>
                      <a:pt x="2363" y="1805"/>
                    </a:cubicBezTo>
                    <a:cubicBezTo>
                      <a:pt x="2362" y="1805"/>
                      <a:pt x="2362" y="1806"/>
                      <a:pt x="2361" y="1807"/>
                    </a:cubicBezTo>
                    <a:cubicBezTo>
                      <a:pt x="2255" y="1786"/>
                      <a:pt x="2255" y="1786"/>
                      <a:pt x="2255" y="1786"/>
                    </a:cubicBezTo>
                    <a:cubicBezTo>
                      <a:pt x="2255" y="1785"/>
                      <a:pt x="2255" y="1785"/>
                      <a:pt x="2255" y="1784"/>
                    </a:cubicBezTo>
                    <a:cubicBezTo>
                      <a:pt x="2255" y="1772"/>
                      <a:pt x="2245" y="1763"/>
                      <a:pt x="2234" y="1763"/>
                    </a:cubicBezTo>
                    <a:close/>
                    <a:moveTo>
                      <a:pt x="2382" y="1802"/>
                    </a:moveTo>
                    <a:cubicBezTo>
                      <a:pt x="2426" y="1459"/>
                      <a:pt x="2426" y="1459"/>
                      <a:pt x="2426" y="1459"/>
                    </a:cubicBezTo>
                    <a:cubicBezTo>
                      <a:pt x="2426" y="1459"/>
                      <a:pt x="2426" y="1460"/>
                      <a:pt x="2427" y="1460"/>
                    </a:cubicBezTo>
                    <a:cubicBezTo>
                      <a:pt x="2484" y="1700"/>
                      <a:pt x="2484" y="1700"/>
                      <a:pt x="2484" y="1700"/>
                    </a:cubicBezTo>
                    <a:cubicBezTo>
                      <a:pt x="2476" y="1703"/>
                      <a:pt x="2470" y="1710"/>
                      <a:pt x="2470" y="1720"/>
                    </a:cubicBezTo>
                    <a:cubicBezTo>
                      <a:pt x="2470" y="1723"/>
                      <a:pt x="2471" y="1726"/>
                      <a:pt x="2472" y="1729"/>
                    </a:cubicBezTo>
                    <a:cubicBezTo>
                      <a:pt x="2387" y="1805"/>
                      <a:pt x="2387" y="1805"/>
                      <a:pt x="2387" y="1805"/>
                    </a:cubicBezTo>
                    <a:cubicBezTo>
                      <a:pt x="2386" y="1804"/>
                      <a:pt x="2384" y="1803"/>
                      <a:pt x="2382" y="1802"/>
                    </a:cubicBezTo>
                    <a:close/>
                    <a:moveTo>
                      <a:pt x="2452" y="1427"/>
                    </a:moveTo>
                    <a:cubicBezTo>
                      <a:pt x="2550" y="1336"/>
                      <a:pt x="2550" y="1336"/>
                      <a:pt x="2550" y="1336"/>
                    </a:cubicBezTo>
                    <a:cubicBezTo>
                      <a:pt x="2554" y="1339"/>
                      <a:pt x="2559" y="1341"/>
                      <a:pt x="2564" y="1341"/>
                    </a:cubicBezTo>
                    <a:cubicBezTo>
                      <a:pt x="2567" y="1341"/>
                      <a:pt x="2570" y="1341"/>
                      <a:pt x="2572" y="1340"/>
                    </a:cubicBezTo>
                    <a:cubicBezTo>
                      <a:pt x="2623" y="1481"/>
                      <a:pt x="2623" y="1481"/>
                      <a:pt x="2623" y="1481"/>
                    </a:cubicBezTo>
                    <a:cubicBezTo>
                      <a:pt x="2620" y="1485"/>
                      <a:pt x="2618" y="1490"/>
                      <a:pt x="2618" y="1495"/>
                    </a:cubicBezTo>
                    <a:cubicBezTo>
                      <a:pt x="2618" y="1495"/>
                      <a:pt x="2618" y="1495"/>
                      <a:pt x="2618" y="1496"/>
                    </a:cubicBezTo>
                    <a:cubicBezTo>
                      <a:pt x="2454" y="1448"/>
                      <a:pt x="2454" y="1448"/>
                      <a:pt x="2454" y="1448"/>
                    </a:cubicBezTo>
                    <a:cubicBezTo>
                      <a:pt x="2455" y="1446"/>
                      <a:pt x="2456" y="1443"/>
                      <a:pt x="2456" y="1440"/>
                    </a:cubicBezTo>
                    <a:cubicBezTo>
                      <a:pt x="2456" y="1435"/>
                      <a:pt x="2454" y="1431"/>
                      <a:pt x="2452" y="1427"/>
                    </a:cubicBezTo>
                    <a:close/>
                    <a:moveTo>
                      <a:pt x="2483" y="1023"/>
                    </a:moveTo>
                    <a:cubicBezTo>
                      <a:pt x="2488" y="1023"/>
                      <a:pt x="2492" y="1022"/>
                      <a:pt x="2495" y="1019"/>
                    </a:cubicBezTo>
                    <a:cubicBezTo>
                      <a:pt x="2540" y="1070"/>
                      <a:pt x="2540" y="1070"/>
                      <a:pt x="2540" y="1070"/>
                    </a:cubicBezTo>
                    <a:cubicBezTo>
                      <a:pt x="2536" y="1074"/>
                      <a:pt x="2534" y="1079"/>
                      <a:pt x="2533" y="1084"/>
                    </a:cubicBezTo>
                    <a:cubicBezTo>
                      <a:pt x="2344" y="1088"/>
                      <a:pt x="2344" y="1088"/>
                      <a:pt x="2344" y="1088"/>
                    </a:cubicBezTo>
                    <a:cubicBezTo>
                      <a:pt x="2343" y="1086"/>
                      <a:pt x="2343" y="1084"/>
                      <a:pt x="2342" y="1082"/>
                    </a:cubicBezTo>
                    <a:cubicBezTo>
                      <a:pt x="2467" y="1016"/>
                      <a:pt x="2467" y="1016"/>
                      <a:pt x="2467" y="1016"/>
                    </a:cubicBezTo>
                    <a:cubicBezTo>
                      <a:pt x="2471" y="1020"/>
                      <a:pt x="2477" y="1023"/>
                      <a:pt x="2483" y="1023"/>
                    </a:cubicBezTo>
                    <a:close/>
                    <a:moveTo>
                      <a:pt x="2309" y="1108"/>
                    </a:moveTo>
                    <a:cubicBezTo>
                      <a:pt x="2147" y="1362"/>
                      <a:pt x="2147" y="1362"/>
                      <a:pt x="2147" y="1362"/>
                    </a:cubicBezTo>
                    <a:cubicBezTo>
                      <a:pt x="2144" y="1361"/>
                      <a:pt x="2141" y="1360"/>
                      <a:pt x="2138" y="1360"/>
                    </a:cubicBezTo>
                    <a:cubicBezTo>
                      <a:pt x="2131" y="1360"/>
                      <a:pt x="2125" y="1363"/>
                      <a:pt x="2121" y="1368"/>
                    </a:cubicBezTo>
                    <a:cubicBezTo>
                      <a:pt x="2034" y="1314"/>
                      <a:pt x="2034" y="1314"/>
                      <a:pt x="2034" y="1314"/>
                    </a:cubicBezTo>
                    <a:cubicBezTo>
                      <a:pt x="2035" y="1312"/>
                      <a:pt x="2035" y="1310"/>
                      <a:pt x="2035" y="1308"/>
                    </a:cubicBezTo>
                    <a:cubicBezTo>
                      <a:pt x="2035" y="1305"/>
                      <a:pt x="2035" y="1302"/>
                      <a:pt x="2033" y="1299"/>
                    </a:cubicBezTo>
                    <a:cubicBezTo>
                      <a:pt x="2306" y="1104"/>
                      <a:pt x="2306" y="1104"/>
                      <a:pt x="2306" y="1104"/>
                    </a:cubicBezTo>
                    <a:cubicBezTo>
                      <a:pt x="2306" y="1106"/>
                      <a:pt x="2308" y="1107"/>
                      <a:pt x="2309" y="1108"/>
                    </a:cubicBezTo>
                    <a:close/>
                    <a:moveTo>
                      <a:pt x="1708" y="1696"/>
                    </a:moveTo>
                    <a:cubicBezTo>
                      <a:pt x="1709" y="1696"/>
                      <a:pt x="1711" y="1696"/>
                      <a:pt x="1712" y="1695"/>
                    </a:cubicBezTo>
                    <a:cubicBezTo>
                      <a:pt x="1782" y="1889"/>
                      <a:pt x="1782" y="1889"/>
                      <a:pt x="1782" y="1889"/>
                    </a:cubicBezTo>
                    <a:cubicBezTo>
                      <a:pt x="1774" y="1892"/>
                      <a:pt x="1768" y="1900"/>
                      <a:pt x="1768" y="1909"/>
                    </a:cubicBezTo>
                    <a:cubicBezTo>
                      <a:pt x="1768" y="1921"/>
                      <a:pt x="1778" y="1930"/>
                      <a:pt x="1789" y="1930"/>
                    </a:cubicBezTo>
                    <a:cubicBezTo>
                      <a:pt x="1792" y="1930"/>
                      <a:pt x="1794" y="1930"/>
                      <a:pt x="1797" y="1929"/>
                    </a:cubicBezTo>
                    <a:cubicBezTo>
                      <a:pt x="1844" y="2060"/>
                      <a:pt x="1844" y="2060"/>
                      <a:pt x="1844" y="2060"/>
                    </a:cubicBezTo>
                    <a:cubicBezTo>
                      <a:pt x="1634" y="1717"/>
                      <a:pt x="1634" y="1717"/>
                      <a:pt x="1634" y="1717"/>
                    </a:cubicBezTo>
                    <a:cubicBezTo>
                      <a:pt x="1638" y="1714"/>
                      <a:pt x="1640" y="1710"/>
                      <a:pt x="1642" y="1705"/>
                    </a:cubicBezTo>
                    <a:cubicBezTo>
                      <a:pt x="1690" y="1687"/>
                      <a:pt x="1690" y="1687"/>
                      <a:pt x="1690" y="1687"/>
                    </a:cubicBezTo>
                    <a:cubicBezTo>
                      <a:pt x="1694" y="1692"/>
                      <a:pt x="1700" y="1696"/>
                      <a:pt x="1708" y="1696"/>
                    </a:cubicBezTo>
                    <a:close/>
                    <a:moveTo>
                      <a:pt x="1674" y="1243"/>
                    </a:moveTo>
                    <a:cubicBezTo>
                      <a:pt x="1671" y="1243"/>
                      <a:pt x="1667" y="1243"/>
                      <a:pt x="1665" y="1245"/>
                    </a:cubicBezTo>
                    <a:cubicBezTo>
                      <a:pt x="1636" y="1202"/>
                      <a:pt x="1636" y="1202"/>
                      <a:pt x="1636" y="1202"/>
                    </a:cubicBezTo>
                    <a:cubicBezTo>
                      <a:pt x="1640" y="1198"/>
                      <a:pt x="1643" y="1193"/>
                      <a:pt x="1643" y="1186"/>
                    </a:cubicBezTo>
                    <a:cubicBezTo>
                      <a:pt x="1643" y="1185"/>
                      <a:pt x="1643" y="1183"/>
                      <a:pt x="1642" y="1181"/>
                    </a:cubicBezTo>
                    <a:cubicBezTo>
                      <a:pt x="2105" y="1013"/>
                      <a:pt x="2105" y="1013"/>
                      <a:pt x="2105" y="1013"/>
                    </a:cubicBezTo>
                    <a:cubicBezTo>
                      <a:pt x="2109" y="1020"/>
                      <a:pt x="2116" y="1024"/>
                      <a:pt x="2123" y="1025"/>
                    </a:cubicBezTo>
                    <a:cubicBezTo>
                      <a:pt x="2127" y="1077"/>
                      <a:pt x="2127" y="1077"/>
                      <a:pt x="2127" y="1077"/>
                    </a:cubicBezTo>
                    <a:cubicBezTo>
                      <a:pt x="2124" y="1078"/>
                      <a:pt x="2120" y="1080"/>
                      <a:pt x="2118" y="1082"/>
                    </a:cubicBezTo>
                    <a:cubicBezTo>
                      <a:pt x="2117" y="1081"/>
                      <a:pt x="2117" y="1081"/>
                      <a:pt x="2117" y="1081"/>
                    </a:cubicBezTo>
                    <a:cubicBezTo>
                      <a:pt x="1691" y="1251"/>
                      <a:pt x="1691" y="1251"/>
                      <a:pt x="1691" y="1251"/>
                    </a:cubicBezTo>
                    <a:cubicBezTo>
                      <a:pt x="1688" y="1246"/>
                      <a:pt x="1681" y="1243"/>
                      <a:pt x="1674" y="1243"/>
                    </a:cubicBezTo>
                    <a:close/>
                    <a:moveTo>
                      <a:pt x="1920" y="1007"/>
                    </a:moveTo>
                    <a:cubicBezTo>
                      <a:pt x="1920" y="1007"/>
                      <a:pt x="1920" y="1006"/>
                      <a:pt x="1920" y="1006"/>
                    </a:cubicBezTo>
                    <a:cubicBezTo>
                      <a:pt x="2046" y="960"/>
                      <a:pt x="2046" y="960"/>
                      <a:pt x="2046" y="960"/>
                    </a:cubicBezTo>
                    <a:cubicBezTo>
                      <a:pt x="2049" y="967"/>
                      <a:pt x="2056" y="972"/>
                      <a:pt x="2065" y="972"/>
                    </a:cubicBezTo>
                    <a:cubicBezTo>
                      <a:pt x="2070" y="972"/>
                      <a:pt x="2075" y="970"/>
                      <a:pt x="2079" y="967"/>
                    </a:cubicBezTo>
                    <a:cubicBezTo>
                      <a:pt x="2107" y="991"/>
                      <a:pt x="2107" y="991"/>
                      <a:pt x="2107" y="991"/>
                    </a:cubicBezTo>
                    <a:cubicBezTo>
                      <a:pt x="2105" y="994"/>
                      <a:pt x="2104" y="998"/>
                      <a:pt x="2103" y="1001"/>
                    </a:cubicBezTo>
                    <a:lnTo>
                      <a:pt x="1920" y="1007"/>
                    </a:lnTo>
                    <a:close/>
                    <a:moveTo>
                      <a:pt x="2163" y="451"/>
                    </a:moveTo>
                    <a:cubicBezTo>
                      <a:pt x="2163" y="455"/>
                      <a:pt x="2164" y="459"/>
                      <a:pt x="2166" y="463"/>
                    </a:cubicBezTo>
                    <a:cubicBezTo>
                      <a:pt x="2126" y="496"/>
                      <a:pt x="2126" y="496"/>
                      <a:pt x="2126" y="496"/>
                    </a:cubicBezTo>
                    <a:cubicBezTo>
                      <a:pt x="2123" y="493"/>
                      <a:pt x="2120" y="491"/>
                      <a:pt x="2117" y="490"/>
                    </a:cubicBezTo>
                    <a:cubicBezTo>
                      <a:pt x="2131" y="133"/>
                      <a:pt x="2131" y="133"/>
                      <a:pt x="2131" y="133"/>
                    </a:cubicBezTo>
                    <a:cubicBezTo>
                      <a:pt x="2176" y="431"/>
                      <a:pt x="2176" y="431"/>
                      <a:pt x="2176" y="431"/>
                    </a:cubicBezTo>
                    <a:cubicBezTo>
                      <a:pt x="2168" y="435"/>
                      <a:pt x="2163" y="442"/>
                      <a:pt x="2163" y="451"/>
                    </a:cubicBezTo>
                    <a:close/>
                    <a:moveTo>
                      <a:pt x="2129" y="500"/>
                    </a:moveTo>
                    <a:cubicBezTo>
                      <a:pt x="2170" y="467"/>
                      <a:pt x="2170" y="467"/>
                      <a:pt x="2170" y="467"/>
                    </a:cubicBezTo>
                    <a:cubicBezTo>
                      <a:pt x="2174" y="470"/>
                      <a:pt x="2179" y="472"/>
                      <a:pt x="2184" y="472"/>
                    </a:cubicBezTo>
                    <a:cubicBezTo>
                      <a:pt x="2188" y="472"/>
                      <a:pt x="2191" y="472"/>
                      <a:pt x="2193" y="470"/>
                    </a:cubicBezTo>
                    <a:cubicBezTo>
                      <a:pt x="2305" y="645"/>
                      <a:pt x="2305" y="645"/>
                      <a:pt x="2305" y="645"/>
                    </a:cubicBezTo>
                    <a:cubicBezTo>
                      <a:pt x="2305" y="645"/>
                      <a:pt x="2305" y="646"/>
                      <a:pt x="2304" y="646"/>
                    </a:cubicBezTo>
                    <a:cubicBezTo>
                      <a:pt x="2130" y="519"/>
                      <a:pt x="2130" y="519"/>
                      <a:pt x="2130" y="519"/>
                    </a:cubicBezTo>
                    <a:cubicBezTo>
                      <a:pt x="2131" y="516"/>
                      <a:pt x="2132" y="514"/>
                      <a:pt x="2132" y="511"/>
                    </a:cubicBezTo>
                    <a:cubicBezTo>
                      <a:pt x="2132" y="507"/>
                      <a:pt x="2131" y="504"/>
                      <a:pt x="2129" y="500"/>
                    </a:cubicBezTo>
                    <a:close/>
                    <a:moveTo>
                      <a:pt x="2133" y="1077"/>
                    </a:moveTo>
                    <a:cubicBezTo>
                      <a:pt x="2129" y="1024"/>
                      <a:pt x="2129" y="1024"/>
                      <a:pt x="2129" y="1024"/>
                    </a:cubicBezTo>
                    <a:cubicBezTo>
                      <a:pt x="2139" y="1022"/>
                      <a:pt x="2146" y="1014"/>
                      <a:pt x="2146" y="1003"/>
                    </a:cubicBezTo>
                    <a:cubicBezTo>
                      <a:pt x="2146" y="997"/>
                      <a:pt x="2144" y="992"/>
                      <a:pt x="2140" y="988"/>
                    </a:cubicBezTo>
                    <a:cubicBezTo>
                      <a:pt x="2395" y="663"/>
                      <a:pt x="2395" y="663"/>
                      <a:pt x="2395" y="663"/>
                    </a:cubicBezTo>
                    <a:cubicBezTo>
                      <a:pt x="2398" y="665"/>
                      <a:pt x="2402" y="666"/>
                      <a:pt x="2406" y="666"/>
                    </a:cubicBezTo>
                    <a:cubicBezTo>
                      <a:pt x="2417" y="666"/>
                      <a:pt x="2425" y="658"/>
                      <a:pt x="2427" y="648"/>
                    </a:cubicBezTo>
                    <a:cubicBezTo>
                      <a:pt x="2466" y="645"/>
                      <a:pt x="2466" y="645"/>
                      <a:pt x="2466" y="645"/>
                    </a:cubicBezTo>
                    <a:cubicBezTo>
                      <a:pt x="2466" y="648"/>
                      <a:pt x="2468" y="651"/>
                      <a:pt x="2470" y="654"/>
                    </a:cubicBezTo>
                    <a:cubicBezTo>
                      <a:pt x="2140" y="1079"/>
                      <a:pt x="2140" y="1079"/>
                      <a:pt x="2140" y="1079"/>
                    </a:cubicBezTo>
                    <a:cubicBezTo>
                      <a:pt x="2138" y="1078"/>
                      <a:pt x="2135" y="1077"/>
                      <a:pt x="2133" y="1077"/>
                    </a:cubicBezTo>
                    <a:close/>
                    <a:moveTo>
                      <a:pt x="2416" y="626"/>
                    </a:moveTo>
                    <a:cubicBezTo>
                      <a:pt x="2409" y="584"/>
                      <a:pt x="2409" y="584"/>
                      <a:pt x="2409" y="584"/>
                    </a:cubicBezTo>
                    <a:cubicBezTo>
                      <a:pt x="2412" y="583"/>
                      <a:pt x="2414" y="582"/>
                      <a:pt x="2416" y="580"/>
                    </a:cubicBezTo>
                    <a:cubicBezTo>
                      <a:pt x="2469" y="629"/>
                      <a:pt x="2469" y="629"/>
                      <a:pt x="2469" y="629"/>
                    </a:cubicBezTo>
                    <a:cubicBezTo>
                      <a:pt x="2467" y="632"/>
                      <a:pt x="2466" y="635"/>
                      <a:pt x="2466" y="639"/>
                    </a:cubicBezTo>
                    <a:cubicBezTo>
                      <a:pt x="2427" y="643"/>
                      <a:pt x="2427" y="643"/>
                      <a:pt x="2427" y="643"/>
                    </a:cubicBezTo>
                    <a:cubicBezTo>
                      <a:pt x="2427" y="635"/>
                      <a:pt x="2422" y="629"/>
                      <a:pt x="2416" y="626"/>
                    </a:cubicBezTo>
                    <a:close/>
                    <a:moveTo>
                      <a:pt x="2473" y="625"/>
                    </a:moveTo>
                    <a:cubicBezTo>
                      <a:pt x="2420" y="576"/>
                      <a:pt x="2420" y="576"/>
                      <a:pt x="2420" y="576"/>
                    </a:cubicBezTo>
                    <a:cubicBezTo>
                      <a:pt x="2422" y="573"/>
                      <a:pt x="2424" y="568"/>
                      <a:pt x="2424" y="564"/>
                    </a:cubicBezTo>
                    <a:cubicBezTo>
                      <a:pt x="2424" y="554"/>
                      <a:pt x="2417" y="545"/>
                      <a:pt x="2408" y="543"/>
                    </a:cubicBezTo>
                    <a:cubicBezTo>
                      <a:pt x="2405" y="162"/>
                      <a:pt x="2405" y="162"/>
                      <a:pt x="2405" y="162"/>
                    </a:cubicBezTo>
                    <a:cubicBezTo>
                      <a:pt x="2478" y="621"/>
                      <a:pt x="2478" y="621"/>
                      <a:pt x="2478" y="621"/>
                    </a:cubicBezTo>
                    <a:cubicBezTo>
                      <a:pt x="2476" y="622"/>
                      <a:pt x="2475" y="623"/>
                      <a:pt x="2473" y="625"/>
                    </a:cubicBezTo>
                    <a:close/>
                    <a:moveTo>
                      <a:pt x="2391" y="581"/>
                    </a:moveTo>
                    <a:cubicBezTo>
                      <a:pt x="2394" y="584"/>
                      <a:pt x="2398" y="585"/>
                      <a:pt x="2402" y="585"/>
                    </a:cubicBezTo>
                    <a:cubicBezTo>
                      <a:pt x="2403" y="585"/>
                      <a:pt x="2403" y="585"/>
                      <a:pt x="2404" y="585"/>
                    </a:cubicBezTo>
                    <a:cubicBezTo>
                      <a:pt x="2411" y="624"/>
                      <a:pt x="2411" y="624"/>
                      <a:pt x="2411" y="624"/>
                    </a:cubicBezTo>
                    <a:cubicBezTo>
                      <a:pt x="2409" y="623"/>
                      <a:pt x="2408" y="623"/>
                      <a:pt x="2406" y="623"/>
                    </a:cubicBezTo>
                    <a:cubicBezTo>
                      <a:pt x="2394" y="623"/>
                      <a:pt x="2384" y="633"/>
                      <a:pt x="2384" y="645"/>
                    </a:cubicBezTo>
                    <a:cubicBezTo>
                      <a:pt x="2384" y="645"/>
                      <a:pt x="2385" y="646"/>
                      <a:pt x="2385" y="646"/>
                    </a:cubicBezTo>
                    <a:cubicBezTo>
                      <a:pt x="2338" y="655"/>
                      <a:pt x="2338" y="655"/>
                      <a:pt x="2338" y="655"/>
                    </a:cubicBezTo>
                    <a:cubicBezTo>
                      <a:pt x="2337" y="653"/>
                      <a:pt x="2336" y="650"/>
                      <a:pt x="2334" y="648"/>
                    </a:cubicBezTo>
                    <a:lnTo>
                      <a:pt x="2391" y="581"/>
                    </a:lnTo>
                    <a:close/>
                    <a:moveTo>
                      <a:pt x="2318" y="684"/>
                    </a:moveTo>
                    <a:cubicBezTo>
                      <a:pt x="2330" y="684"/>
                      <a:pt x="2339" y="674"/>
                      <a:pt x="2339" y="662"/>
                    </a:cubicBezTo>
                    <a:cubicBezTo>
                      <a:pt x="2339" y="662"/>
                      <a:pt x="2339" y="661"/>
                      <a:pt x="2339" y="661"/>
                    </a:cubicBezTo>
                    <a:cubicBezTo>
                      <a:pt x="2386" y="651"/>
                      <a:pt x="2386" y="651"/>
                      <a:pt x="2386" y="651"/>
                    </a:cubicBezTo>
                    <a:cubicBezTo>
                      <a:pt x="2387" y="654"/>
                      <a:pt x="2388" y="657"/>
                      <a:pt x="2391" y="660"/>
                    </a:cubicBezTo>
                    <a:cubicBezTo>
                      <a:pt x="2136" y="985"/>
                      <a:pt x="2136" y="985"/>
                      <a:pt x="2136" y="985"/>
                    </a:cubicBezTo>
                    <a:cubicBezTo>
                      <a:pt x="2132" y="983"/>
                      <a:pt x="2129" y="982"/>
                      <a:pt x="2125" y="982"/>
                    </a:cubicBezTo>
                    <a:cubicBezTo>
                      <a:pt x="2119" y="982"/>
                      <a:pt x="2114" y="984"/>
                      <a:pt x="2110" y="987"/>
                    </a:cubicBezTo>
                    <a:cubicBezTo>
                      <a:pt x="2082" y="963"/>
                      <a:pt x="2082" y="963"/>
                      <a:pt x="2082" y="963"/>
                    </a:cubicBezTo>
                    <a:cubicBezTo>
                      <a:pt x="2085" y="959"/>
                      <a:pt x="2086" y="955"/>
                      <a:pt x="2086" y="951"/>
                    </a:cubicBezTo>
                    <a:cubicBezTo>
                      <a:pt x="2086" y="946"/>
                      <a:pt x="2085" y="942"/>
                      <a:pt x="2082" y="938"/>
                    </a:cubicBezTo>
                    <a:cubicBezTo>
                      <a:pt x="2308" y="681"/>
                      <a:pt x="2308" y="681"/>
                      <a:pt x="2308" y="681"/>
                    </a:cubicBezTo>
                    <a:cubicBezTo>
                      <a:pt x="2311" y="683"/>
                      <a:pt x="2314" y="684"/>
                      <a:pt x="2318" y="684"/>
                    </a:cubicBezTo>
                    <a:close/>
                    <a:moveTo>
                      <a:pt x="2382" y="559"/>
                    </a:moveTo>
                    <a:cubicBezTo>
                      <a:pt x="2381" y="560"/>
                      <a:pt x="2381" y="562"/>
                      <a:pt x="2381" y="564"/>
                    </a:cubicBezTo>
                    <a:cubicBezTo>
                      <a:pt x="2381" y="569"/>
                      <a:pt x="2383" y="574"/>
                      <a:pt x="2387" y="578"/>
                    </a:cubicBezTo>
                    <a:cubicBezTo>
                      <a:pt x="2330" y="644"/>
                      <a:pt x="2330" y="644"/>
                      <a:pt x="2330" y="644"/>
                    </a:cubicBezTo>
                    <a:cubicBezTo>
                      <a:pt x="2326" y="642"/>
                      <a:pt x="2322" y="641"/>
                      <a:pt x="2318" y="641"/>
                    </a:cubicBezTo>
                    <a:cubicBezTo>
                      <a:pt x="2315" y="641"/>
                      <a:pt x="2312" y="641"/>
                      <a:pt x="2310" y="642"/>
                    </a:cubicBezTo>
                    <a:cubicBezTo>
                      <a:pt x="2198" y="467"/>
                      <a:pt x="2198" y="467"/>
                      <a:pt x="2198" y="467"/>
                    </a:cubicBezTo>
                    <a:cubicBezTo>
                      <a:pt x="2199" y="467"/>
                      <a:pt x="2200" y="466"/>
                      <a:pt x="2200" y="465"/>
                    </a:cubicBezTo>
                    <a:lnTo>
                      <a:pt x="2382" y="559"/>
                    </a:lnTo>
                    <a:close/>
                    <a:moveTo>
                      <a:pt x="2044" y="955"/>
                    </a:moveTo>
                    <a:cubicBezTo>
                      <a:pt x="1918" y="1001"/>
                      <a:pt x="1918" y="1001"/>
                      <a:pt x="1918" y="1001"/>
                    </a:cubicBezTo>
                    <a:cubicBezTo>
                      <a:pt x="1915" y="994"/>
                      <a:pt x="1908" y="989"/>
                      <a:pt x="1899" y="989"/>
                    </a:cubicBezTo>
                    <a:cubicBezTo>
                      <a:pt x="1896" y="989"/>
                      <a:pt x="1893" y="990"/>
                      <a:pt x="1891" y="991"/>
                    </a:cubicBezTo>
                    <a:cubicBezTo>
                      <a:pt x="1656" y="692"/>
                      <a:pt x="1656" y="692"/>
                      <a:pt x="1656" y="692"/>
                    </a:cubicBezTo>
                    <a:cubicBezTo>
                      <a:pt x="2043" y="949"/>
                      <a:pt x="2043" y="949"/>
                      <a:pt x="2043" y="949"/>
                    </a:cubicBezTo>
                    <a:cubicBezTo>
                      <a:pt x="2043" y="949"/>
                      <a:pt x="2043" y="950"/>
                      <a:pt x="2043" y="951"/>
                    </a:cubicBezTo>
                    <a:cubicBezTo>
                      <a:pt x="2043" y="952"/>
                      <a:pt x="2043" y="954"/>
                      <a:pt x="2044" y="955"/>
                    </a:cubicBezTo>
                    <a:close/>
                    <a:moveTo>
                      <a:pt x="1881" y="1022"/>
                    </a:moveTo>
                    <a:cubicBezTo>
                      <a:pt x="1885" y="1028"/>
                      <a:pt x="1892" y="1032"/>
                      <a:pt x="1899" y="1032"/>
                    </a:cubicBezTo>
                    <a:cubicBezTo>
                      <a:pt x="1911" y="1032"/>
                      <a:pt x="1920" y="1023"/>
                      <a:pt x="1921" y="1012"/>
                    </a:cubicBezTo>
                    <a:cubicBezTo>
                      <a:pt x="2103" y="1007"/>
                      <a:pt x="2103" y="1007"/>
                      <a:pt x="2103" y="1007"/>
                    </a:cubicBezTo>
                    <a:cubicBezTo>
                      <a:pt x="2103" y="1007"/>
                      <a:pt x="2104" y="1008"/>
                      <a:pt x="2104" y="1008"/>
                    </a:cubicBezTo>
                    <a:cubicBezTo>
                      <a:pt x="1640" y="1177"/>
                      <a:pt x="1640" y="1177"/>
                      <a:pt x="1640" y="1177"/>
                    </a:cubicBezTo>
                    <a:cubicBezTo>
                      <a:pt x="1637" y="1170"/>
                      <a:pt x="1630" y="1165"/>
                      <a:pt x="1621" y="1165"/>
                    </a:cubicBezTo>
                    <a:cubicBezTo>
                      <a:pt x="1616" y="1165"/>
                      <a:pt x="1611" y="1167"/>
                      <a:pt x="1607" y="1170"/>
                    </a:cubicBezTo>
                    <a:cubicBezTo>
                      <a:pt x="1562" y="1131"/>
                      <a:pt x="1562" y="1131"/>
                      <a:pt x="1562" y="1131"/>
                    </a:cubicBezTo>
                    <a:cubicBezTo>
                      <a:pt x="1564" y="1128"/>
                      <a:pt x="1565" y="1124"/>
                      <a:pt x="1565" y="1119"/>
                    </a:cubicBezTo>
                    <a:cubicBezTo>
                      <a:pt x="1565" y="1119"/>
                      <a:pt x="1565" y="1119"/>
                      <a:pt x="1565" y="1118"/>
                    </a:cubicBezTo>
                    <a:lnTo>
                      <a:pt x="1881" y="1022"/>
                    </a:lnTo>
                    <a:close/>
                    <a:moveTo>
                      <a:pt x="1228" y="1581"/>
                    </a:moveTo>
                    <a:cubicBezTo>
                      <a:pt x="1069" y="1212"/>
                      <a:pt x="1069" y="1212"/>
                      <a:pt x="1069" y="1212"/>
                    </a:cubicBezTo>
                    <a:cubicBezTo>
                      <a:pt x="1076" y="1208"/>
                      <a:pt x="1080" y="1201"/>
                      <a:pt x="1080" y="1193"/>
                    </a:cubicBezTo>
                    <a:cubicBezTo>
                      <a:pt x="1080" y="1189"/>
                      <a:pt x="1079" y="1185"/>
                      <a:pt x="1077" y="1182"/>
                    </a:cubicBezTo>
                    <a:cubicBezTo>
                      <a:pt x="1121" y="1145"/>
                      <a:pt x="1121" y="1145"/>
                      <a:pt x="1121" y="1145"/>
                    </a:cubicBezTo>
                    <a:cubicBezTo>
                      <a:pt x="1125" y="1149"/>
                      <a:pt x="1130" y="1151"/>
                      <a:pt x="1136" y="1151"/>
                    </a:cubicBezTo>
                    <a:cubicBezTo>
                      <a:pt x="1137" y="1151"/>
                      <a:pt x="1139" y="1151"/>
                      <a:pt x="1140" y="1151"/>
                    </a:cubicBezTo>
                    <a:lnTo>
                      <a:pt x="1228" y="1581"/>
                    </a:lnTo>
                    <a:close/>
                    <a:moveTo>
                      <a:pt x="1115" y="1127"/>
                    </a:moveTo>
                    <a:cubicBezTo>
                      <a:pt x="1115" y="1128"/>
                      <a:pt x="1115" y="1129"/>
                      <a:pt x="1115" y="1130"/>
                    </a:cubicBezTo>
                    <a:cubicBezTo>
                      <a:pt x="1115" y="1134"/>
                      <a:pt x="1116" y="1138"/>
                      <a:pt x="1118" y="1141"/>
                    </a:cubicBezTo>
                    <a:cubicBezTo>
                      <a:pt x="1073" y="1178"/>
                      <a:pt x="1073" y="1178"/>
                      <a:pt x="1073" y="1178"/>
                    </a:cubicBezTo>
                    <a:cubicBezTo>
                      <a:pt x="1070" y="1174"/>
                      <a:pt x="1064" y="1172"/>
                      <a:pt x="1059" y="1172"/>
                    </a:cubicBezTo>
                    <a:cubicBezTo>
                      <a:pt x="1050" y="1172"/>
                      <a:pt x="1042" y="1177"/>
                      <a:pt x="1039" y="1185"/>
                    </a:cubicBezTo>
                    <a:cubicBezTo>
                      <a:pt x="629" y="1070"/>
                      <a:pt x="629" y="1070"/>
                      <a:pt x="629" y="1070"/>
                    </a:cubicBezTo>
                    <a:cubicBezTo>
                      <a:pt x="630" y="1069"/>
                      <a:pt x="630" y="1068"/>
                      <a:pt x="630" y="1067"/>
                    </a:cubicBezTo>
                    <a:cubicBezTo>
                      <a:pt x="630" y="1065"/>
                      <a:pt x="629" y="1063"/>
                      <a:pt x="629" y="1062"/>
                    </a:cubicBezTo>
                    <a:cubicBezTo>
                      <a:pt x="720" y="1027"/>
                      <a:pt x="720" y="1027"/>
                      <a:pt x="720" y="1027"/>
                    </a:cubicBezTo>
                    <a:cubicBezTo>
                      <a:pt x="723" y="1034"/>
                      <a:pt x="730" y="1039"/>
                      <a:pt x="738" y="1039"/>
                    </a:cubicBezTo>
                    <a:cubicBezTo>
                      <a:pt x="746" y="1039"/>
                      <a:pt x="753" y="1034"/>
                      <a:pt x="757" y="1028"/>
                    </a:cubicBezTo>
                    <a:lnTo>
                      <a:pt x="1115" y="1127"/>
                    </a:lnTo>
                    <a:close/>
                    <a:moveTo>
                      <a:pt x="614" y="1004"/>
                    </a:moveTo>
                    <a:cubicBezTo>
                      <a:pt x="624" y="1003"/>
                      <a:pt x="632" y="994"/>
                      <a:pt x="633" y="984"/>
                    </a:cubicBezTo>
                    <a:cubicBezTo>
                      <a:pt x="717" y="1013"/>
                      <a:pt x="717" y="1013"/>
                      <a:pt x="717" y="1013"/>
                    </a:cubicBezTo>
                    <a:cubicBezTo>
                      <a:pt x="717" y="1014"/>
                      <a:pt x="717" y="1016"/>
                      <a:pt x="717" y="1017"/>
                    </a:cubicBezTo>
                    <a:cubicBezTo>
                      <a:pt x="717" y="1019"/>
                      <a:pt x="717" y="1021"/>
                      <a:pt x="718" y="1022"/>
                    </a:cubicBezTo>
                    <a:cubicBezTo>
                      <a:pt x="627" y="1057"/>
                      <a:pt x="627" y="1057"/>
                      <a:pt x="627" y="1057"/>
                    </a:cubicBezTo>
                    <a:cubicBezTo>
                      <a:pt x="624" y="1051"/>
                      <a:pt x="619" y="1047"/>
                      <a:pt x="612" y="1046"/>
                    </a:cubicBezTo>
                    <a:lnTo>
                      <a:pt x="614" y="1004"/>
                    </a:lnTo>
                    <a:close/>
                    <a:moveTo>
                      <a:pt x="698" y="760"/>
                    </a:moveTo>
                    <a:cubicBezTo>
                      <a:pt x="1021" y="521"/>
                      <a:pt x="1021" y="521"/>
                      <a:pt x="1021" y="521"/>
                    </a:cubicBezTo>
                    <a:cubicBezTo>
                      <a:pt x="794" y="787"/>
                      <a:pt x="794" y="787"/>
                      <a:pt x="794" y="787"/>
                    </a:cubicBezTo>
                    <a:cubicBezTo>
                      <a:pt x="791" y="786"/>
                      <a:pt x="788" y="785"/>
                      <a:pt x="784" y="785"/>
                    </a:cubicBezTo>
                    <a:cubicBezTo>
                      <a:pt x="776" y="785"/>
                      <a:pt x="769" y="790"/>
                      <a:pt x="765" y="797"/>
                    </a:cubicBezTo>
                    <a:cubicBezTo>
                      <a:pt x="700" y="772"/>
                      <a:pt x="700" y="772"/>
                      <a:pt x="700" y="772"/>
                    </a:cubicBezTo>
                    <a:cubicBezTo>
                      <a:pt x="700" y="771"/>
                      <a:pt x="700" y="769"/>
                      <a:pt x="700" y="768"/>
                    </a:cubicBezTo>
                    <a:cubicBezTo>
                      <a:pt x="700" y="765"/>
                      <a:pt x="700" y="762"/>
                      <a:pt x="698" y="760"/>
                    </a:cubicBezTo>
                    <a:close/>
                    <a:moveTo>
                      <a:pt x="678" y="789"/>
                    </a:moveTo>
                    <a:cubicBezTo>
                      <a:pt x="678" y="789"/>
                      <a:pt x="678" y="789"/>
                      <a:pt x="679" y="789"/>
                    </a:cubicBezTo>
                    <a:cubicBezTo>
                      <a:pt x="687" y="789"/>
                      <a:pt x="694" y="784"/>
                      <a:pt x="698" y="777"/>
                    </a:cubicBezTo>
                    <a:cubicBezTo>
                      <a:pt x="763" y="802"/>
                      <a:pt x="763" y="802"/>
                      <a:pt x="763" y="802"/>
                    </a:cubicBezTo>
                    <a:cubicBezTo>
                      <a:pt x="763" y="803"/>
                      <a:pt x="763" y="805"/>
                      <a:pt x="763" y="806"/>
                    </a:cubicBezTo>
                    <a:cubicBezTo>
                      <a:pt x="763" y="815"/>
                      <a:pt x="768" y="822"/>
                      <a:pt x="775" y="825"/>
                    </a:cubicBezTo>
                    <a:cubicBezTo>
                      <a:pt x="738" y="996"/>
                      <a:pt x="738" y="996"/>
                      <a:pt x="738" y="996"/>
                    </a:cubicBezTo>
                    <a:cubicBezTo>
                      <a:pt x="730" y="996"/>
                      <a:pt x="723" y="1001"/>
                      <a:pt x="719" y="1008"/>
                    </a:cubicBezTo>
                    <a:cubicBezTo>
                      <a:pt x="633" y="978"/>
                      <a:pt x="633" y="978"/>
                      <a:pt x="633" y="978"/>
                    </a:cubicBezTo>
                    <a:cubicBezTo>
                      <a:pt x="632" y="972"/>
                      <a:pt x="628" y="967"/>
                      <a:pt x="623" y="964"/>
                    </a:cubicBezTo>
                    <a:lnTo>
                      <a:pt x="678" y="789"/>
                    </a:lnTo>
                    <a:close/>
                    <a:moveTo>
                      <a:pt x="591" y="980"/>
                    </a:moveTo>
                    <a:cubicBezTo>
                      <a:pt x="591" y="981"/>
                      <a:pt x="590" y="982"/>
                      <a:pt x="590" y="982"/>
                    </a:cubicBezTo>
                    <a:cubicBezTo>
                      <a:pt x="590" y="993"/>
                      <a:pt x="598" y="1002"/>
                      <a:pt x="608" y="1003"/>
                    </a:cubicBezTo>
                    <a:cubicBezTo>
                      <a:pt x="607" y="1045"/>
                      <a:pt x="607" y="1045"/>
                      <a:pt x="607" y="1045"/>
                    </a:cubicBezTo>
                    <a:cubicBezTo>
                      <a:pt x="602" y="1046"/>
                      <a:pt x="598" y="1048"/>
                      <a:pt x="594" y="1051"/>
                    </a:cubicBezTo>
                    <a:cubicBezTo>
                      <a:pt x="239" y="734"/>
                      <a:pt x="239" y="734"/>
                      <a:pt x="239" y="734"/>
                    </a:cubicBezTo>
                    <a:cubicBezTo>
                      <a:pt x="241" y="731"/>
                      <a:pt x="243" y="726"/>
                      <a:pt x="243" y="722"/>
                    </a:cubicBezTo>
                    <a:cubicBezTo>
                      <a:pt x="243" y="722"/>
                      <a:pt x="243" y="721"/>
                      <a:pt x="243" y="721"/>
                    </a:cubicBezTo>
                    <a:cubicBezTo>
                      <a:pt x="316" y="729"/>
                      <a:pt x="316" y="729"/>
                      <a:pt x="316" y="729"/>
                    </a:cubicBezTo>
                    <a:cubicBezTo>
                      <a:pt x="316" y="741"/>
                      <a:pt x="326" y="750"/>
                      <a:pt x="337" y="750"/>
                    </a:cubicBezTo>
                    <a:cubicBezTo>
                      <a:pt x="339" y="750"/>
                      <a:pt x="340" y="750"/>
                      <a:pt x="342" y="750"/>
                    </a:cubicBezTo>
                    <a:lnTo>
                      <a:pt x="591" y="980"/>
                    </a:lnTo>
                    <a:close/>
                    <a:moveTo>
                      <a:pt x="162" y="735"/>
                    </a:moveTo>
                    <a:cubicBezTo>
                      <a:pt x="159" y="730"/>
                      <a:pt x="154" y="727"/>
                      <a:pt x="148" y="725"/>
                    </a:cubicBezTo>
                    <a:cubicBezTo>
                      <a:pt x="114" y="285"/>
                      <a:pt x="114" y="285"/>
                      <a:pt x="114" y="285"/>
                    </a:cubicBezTo>
                    <a:cubicBezTo>
                      <a:pt x="114" y="285"/>
                      <a:pt x="114" y="285"/>
                      <a:pt x="115" y="285"/>
                    </a:cubicBezTo>
                    <a:cubicBezTo>
                      <a:pt x="121" y="302"/>
                      <a:pt x="121" y="302"/>
                      <a:pt x="121" y="302"/>
                    </a:cubicBezTo>
                    <a:cubicBezTo>
                      <a:pt x="209" y="704"/>
                      <a:pt x="209" y="704"/>
                      <a:pt x="209" y="704"/>
                    </a:cubicBezTo>
                    <a:cubicBezTo>
                      <a:pt x="205" y="707"/>
                      <a:pt x="201" y="712"/>
                      <a:pt x="200" y="718"/>
                    </a:cubicBezTo>
                    <a:lnTo>
                      <a:pt x="162" y="735"/>
                    </a:lnTo>
                    <a:close/>
                    <a:moveTo>
                      <a:pt x="533" y="463"/>
                    </a:moveTo>
                    <a:cubicBezTo>
                      <a:pt x="450" y="437"/>
                      <a:pt x="450" y="437"/>
                      <a:pt x="450" y="437"/>
                    </a:cubicBezTo>
                    <a:cubicBezTo>
                      <a:pt x="450" y="436"/>
                      <a:pt x="450" y="435"/>
                      <a:pt x="450" y="433"/>
                    </a:cubicBezTo>
                    <a:cubicBezTo>
                      <a:pt x="450" y="423"/>
                      <a:pt x="443" y="414"/>
                      <a:pt x="433" y="412"/>
                    </a:cubicBezTo>
                    <a:cubicBezTo>
                      <a:pt x="409" y="61"/>
                      <a:pt x="409" y="61"/>
                      <a:pt x="409" y="61"/>
                    </a:cubicBezTo>
                    <a:cubicBezTo>
                      <a:pt x="543" y="453"/>
                      <a:pt x="543" y="453"/>
                      <a:pt x="543" y="453"/>
                    </a:cubicBezTo>
                    <a:cubicBezTo>
                      <a:pt x="538" y="455"/>
                      <a:pt x="535" y="459"/>
                      <a:pt x="533" y="463"/>
                    </a:cubicBezTo>
                    <a:close/>
                    <a:moveTo>
                      <a:pt x="429" y="455"/>
                    </a:moveTo>
                    <a:cubicBezTo>
                      <a:pt x="438" y="455"/>
                      <a:pt x="445" y="450"/>
                      <a:pt x="448" y="442"/>
                    </a:cubicBezTo>
                    <a:cubicBezTo>
                      <a:pt x="531" y="468"/>
                      <a:pt x="531" y="468"/>
                      <a:pt x="531" y="468"/>
                    </a:cubicBezTo>
                    <a:cubicBezTo>
                      <a:pt x="531" y="470"/>
                      <a:pt x="531" y="471"/>
                      <a:pt x="531" y="472"/>
                    </a:cubicBezTo>
                    <a:cubicBezTo>
                      <a:pt x="531" y="475"/>
                      <a:pt x="531" y="477"/>
                      <a:pt x="532" y="480"/>
                    </a:cubicBezTo>
                    <a:cubicBezTo>
                      <a:pt x="265" y="618"/>
                      <a:pt x="265" y="618"/>
                      <a:pt x="265" y="618"/>
                    </a:cubicBezTo>
                    <a:cubicBezTo>
                      <a:pt x="419" y="452"/>
                      <a:pt x="419" y="452"/>
                      <a:pt x="419" y="452"/>
                    </a:cubicBezTo>
                    <a:cubicBezTo>
                      <a:pt x="422" y="454"/>
                      <a:pt x="425" y="455"/>
                      <a:pt x="429" y="455"/>
                    </a:cubicBezTo>
                    <a:close/>
                    <a:moveTo>
                      <a:pt x="246" y="652"/>
                    </a:moveTo>
                    <a:cubicBezTo>
                      <a:pt x="258" y="652"/>
                      <a:pt x="267" y="642"/>
                      <a:pt x="267" y="630"/>
                    </a:cubicBezTo>
                    <a:cubicBezTo>
                      <a:pt x="267" y="628"/>
                      <a:pt x="267" y="625"/>
                      <a:pt x="266" y="623"/>
                    </a:cubicBezTo>
                    <a:cubicBezTo>
                      <a:pt x="534" y="484"/>
                      <a:pt x="534" y="484"/>
                      <a:pt x="534" y="484"/>
                    </a:cubicBezTo>
                    <a:cubicBezTo>
                      <a:pt x="534" y="484"/>
                      <a:pt x="534" y="484"/>
                      <a:pt x="535" y="485"/>
                    </a:cubicBezTo>
                    <a:cubicBezTo>
                      <a:pt x="344" y="709"/>
                      <a:pt x="344" y="709"/>
                      <a:pt x="344" y="709"/>
                    </a:cubicBezTo>
                    <a:cubicBezTo>
                      <a:pt x="342" y="708"/>
                      <a:pt x="340" y="708"/>
                      <a:pt x="337" y="708"/>
                    </a:cubicBezTo>
                    <a:cubicBezTo>
                      <a:pt x="327" y="708"/>
                      <a:pt x="319" y="715"/>
                      <a:pt x="317" y="724"/>
                    </a:cubicBezTo>
                    <a:cubicBezTo>
                      <a:pt x="242" y="715"/>
                      <a:pt x="242" y="715"/>
                      <a:pt x="242" y="715"/>
                    </a:cubicBezTo>
                    <a:cubicBezTo>
                      <a:pt x="240" y="709"/>
                      <a:pt x="235" y="704"/>
                      <a:pt x="229" y="702"/>
                    </a:cubicBezTo>
                    <a:cubicBezTo>
                      <a:pt x="243" y="652"/>
                      <a:pt x="243" y="652"/>
                      <a:pt x="243" y="652"/>
                    </a:cubicBezTo>
                    <a:cubicBezTo>
                      <a:pt x="244" y="652"/>
                      <a:pt x="245" y="652"/>
                      <a:pt x="246" y="652"/>
                    </a:cubicBezTo>
                    <a:close/>
                    <a:moveTo>
                      <a:pt x="238" y="650"/>
                    </a:moveTo>
                    <a:cubicBezTo>
                      <a:pt x="224" y="701"/>
                      <a:pt x="224" y="701"/>
                      <a:pt x="224" y="701"/>
                    </a:cubicBezTo>
                    <a:cubicBezTo>
                      <a:pt x="223" y="701"/>
                      <a:pt x="222" y="700"/>
                      <a:pt x="221" y="700"/>
                    </a:cubicBezTo>
                    <a:cubicBezTo>
                      <a:pt x="219" y="700"/>
                      <a:pt x="216" y="701"/>
                      <a:pt x="214" y="702"/>
                    </a:cubicBezTo>
                    <a:cubicBezTo>
                      <a:pt x="134" y="339"/>
                      <a:pt x="134" y="339"/>
                      <a:pt x="134" y="339"/>
                    </a:cubicBezTo>
                    <a:cubicBezTo>
                      <a:pt x="234" y="613"/>
                      <a:pt x="234" y="613"/>
                      <a:pt x="234" y="613"/>
                    </a:cubicBezTo>
                    <a:cubicBezTo>
                      <a:pt x="228" y="617"/>
                      <a:pt x="225" y="623"/>
                      <a:pt x="225" y="630"/>
                    </a:cubicBezTo>
                    <a:cubicBezTo>
                      <a:pt x="225" y="639"/>
                      <a:pt x="230" y="647"/>
                      <a:pt x="238" y="650"/>
                    </a:cubicBezTo>
                    <a:close/>
                    <a:moveTo>
                      <a:pt x="165" y="747"/>
                    </a:moveTo>
                    <a:cubicBezTo>
                      <a:pt x="165" y="744"/>
                      <a:pt x="165" y="742"/>
                      <a:pt x="164" y="740"/>
                    </a:cubicBezTo>
                    <a:cubicBezTo>
                      <a:pt x="200" y="724"/>
                      <a:pt x="200" y="724"/>
                      <a:pt x="200" y="724"/>
                    </a:cubicBezTo>
                    <a:cubicBezTo>
                      <a:pt x="201" y="735"/>
                      <a:pt x="210" y="743"/>
                      <a:pt x="221" y="743"/>
                    </a:cubicBezTo>
                    <a:cubicBezTo>
                      <a:pt x="227" y="743"/>
                      <a:pt x="232" y="741"/>
                      <a:pt x="235" y="738"/>
                    </a:cubicBezTo>
                    <a:cubicBezTo>
                      <a:pt x="591" y="1055"/>
                      <a:pt x="591" y="1055"/>
                      <a:pt x="591" y="1055"/>
                    </a:cubicBezTo>
                    <a:cubicBezTo>
                      <a:pt x="588" y="1058"/>
                      <a:pt x="587" y="1062"/>
                      <a:pt x="587" y="1067"/>
                    </a:cubicBezTo>
                    <a:cubicBezTo>
                      <a:pt x="587" y="1074"/>
                      <a:pt x="591" y="1081"/>
                      <a:pt x="597" y="1085"/>
                    </a:cubicBezTo>
                    <a:cubicBezTo>
                      <a:pt x="583" y="1117"/>
                      <a:pt x="583" y="1117"/>
                      <a:pt x="583" y="1117"/>
                    </a:cubicBezTo>
                    <a:cubicBezTo>
                      <a:pt x="581" y="1116"/>
                      <a:pt x="579" y="1116"/>
                      <a:pt x="577" y="1116"/>
                    </a:cubicBezTo>
                    <a:cubicBezTo>
                      <a:pt x="572" y="1116"/>
                      <a:pt x="568" y="1117"/>
                      <a:pt x="565" y="1119"/>
                    </a:cubicBezTo>
                    <a:cubicBezTo>
                      <a:pt x="158" y="763"/>
                      <a:pt x="158" y="763"/>
                      <a:pt x="158" y="763"/>
                    </a:cubicBezTo>
                    <a:cubicBezTo>
                      <a:pt x="163" y="759"/>
                      <a:pt x="165" y="753"/>
                      <a:pt x="165" y="747"/>
                    </a:cubicBezTo>
                    <a:close/>
                    <a:moveTo>
                      <a:pt x="598" y="1138"/>
                    </a:moveTo>
                    <a:cubicBezTo>
                      <a:pt x="598" y="1138"/>
                      <a:pt x="598" y="1138"/>
                      <a:pt x="598" y="1137"/>
                    </a:cubicBezTo>
                    <a:cubicBezTo>
                      <a:pt x="598" y="1129"/>
                      <a:pt x="594" y="1123"/>
                      <a:pt x="588" y="1119"/>
                    </a:cubicBezTo>
                    <a:cubicBezTo>
                      <a:pt x="602" y="1087"/>
                      <a:pt x="602" y="1087"/>
                      <a:pt x="602" y="1087"/>
                    </a:cubicBezTo>
                    <a:cubicBezTo>
                      <a:pt x="604" y="1088"/>
                      <a:pt x="606" y="1088"/>
                      <a:pt x="608" y="1088"/>
                    </a:cubicBezTo>
                    <a:cubicBezTo>
                      <a:pt x="617" y="1088"/>
                      <a:pt x="625" y="1083"/>
                      <a:pt x="628" y="1075"/>
                    </a:cubicBezTo>
                    <a:cubicBezTo>
                      <a:pt x="1037" y="1190"/>
                      <a:pt x="1037" y="1190"/>
                      <a:pt x="1037" y="1190"/>
                    </a:cubicBezTo>
                    <a:cubicBezTo>
                      <a:pt x="1037" y="1191"/>
                      <a:pt x="1037" y="1192"/>
                      <a:pt x="1037" y="1193"/>
                    </a:cubicBezTo>
                    <a:cubicBezTo>
                      <a:pt x="1037" y="1198"/>
                      <a:pt x="1039" y="1203"/>
                      <a:pt x="1042" y="1206"/>
                    </a:cubicBezTo>
                    <a:cubicBezTo>
                      <a:pt x="1009" y="1255"/>
                      <a:pt x="1009" y="1255"/>
                      <a:pt x="1009" y="1255"/>
                    </a:cubicBezTo>
                    <a:cubicBezTo>
                      <a:pt x="1006" y="1254"/>
                      <a:pt x="1002" y="1253"/>
                      <a:pt x="999" y="1253"/>
                    </a:cubicBezTo>
                    <a:cubicBezTo>
                      <a:pt x="991" y="1253"/>
                      <a:pt x="985" y="1257"/>
                      <a:pt x="981" y="1263"/>
                    </a:cubicBezTo>
                    <a:lnTo>
                      <a:pt x="598" y="1138"/>
                    </a:lnTo>
                    <a:close/>
                    <a:moveTo>
                      <a:pt x="998" y="1683"/>
                    </a:moveTo>
                    <a:cubicBezTo>
                      <a:pt x="998" y="1685"/>
                      <a:pt x="998" y="1686"/>
                      <a:pt x="998" y="1688"/>
                    </a:cubicBezTo>
                    <a:cubicBezTo>
                      <a:pt x="998" y="1697"/>
                      <a:pt x="1004" y="1706"/>
                      <a:pt x="1013" y="1708"/>
                    </a:cubicBezTo>
                    <a:cubicBezTo>
                      <a:pt x="830" y="2063"/>
                      <a:pt x="830" y="2063"/>
                      <a:pt x="830" y="2063"/>
                    </a:cubicBezTo>
                    <a:cubicBezTo>
                      <a:pt x="864" y="1935"/>
                      <a:pt x="864" y="1935"/>
                      <a:pt x="864" y="1935"/>
                    </a:cubicBezTo>
                    <a:cubicBezTo>
                      <a:pt x="865" y="1936"/>
                      <a:pt x="867" y="1936"/>
                      <a:pt x="869" y="1936"/>
                    </a:cubicBezTo>
                    <a:cubicBezTo>
                      <a:pt x="880" y="1936"/>
                      <a:pt x="890" y="1926"/>
                      <a:pt x="890" y="1914"/>
                    </a:cubicBezTo>
                    <a:cubicBezTo>
                      <a:pt x="890" y="1905"/>
                      <a:pt x="884" y="1897"/>
                      <a:pt x="875" y="1894"/>
                    </a:cubicBezTo>
                    <a:cubicBezTo>
                      <a:pt x="934" y="1669"/>
                      <a:pt x="934" y="1669"/>
                      <a:pt x="934" y="1669"/>
                    </a:cubicBezTo>
                    <a:cubicBezTo>
                      <a:pt x="935" y="1669"/>
                      <a:pt x="936" y="1669"/>
                      <a:pt x="937" y="1669"/>
                    </a:cubicBezTo>
                    <a:cubicBezTo>
                      <a:pt x="944" y="1669"/>
                      <a:pt x="949" y="1667"/>
                      <a:pt x="953" y="1662"/>
                    </a:cubicBezTo>
                    <a:lnTo>
                      <a:pt x="998" y="1683"/>
                    </a:lnTo>
                    <a:close/>
                    <a:moveTo>
                      <a:pt x="635" y="1290"/>
                    </a:moveTo>
                    <a:cubicBezTo>
                      <a:pt x="634" y="1291"/>
                      <a:pt x="634" y="1292"/>
                      <a:pt x="634" y="1293"/>
                    </a:cubicBezTo>
                    <a:cubicBezTo>
                      <a:pt x="375" y="1280"/>
                      <a:pt x="375" y="1280"/>
                      <a:pt x="375" y="1280"/>
                    </a:cubicBezTo>
                    <a:cubicBezTo>
                      <a:pt x="375" y="1275"/>
                      <a:pt x="373" y="1271"/>
                      <a:pt x="371" y="1268"/>
                    </a:cubicBezTo>
                    <a:cubicBezTo>
                      <a:pt x="421" y="1167"/>
                      <a:pt x="421" y="1167"/>
                      <a:pt x="421" y="1167"/>
                    </a:cubicBezTo>
                    <a:cubicBezTo>
                      <a:pt x="423" y="1168"/>
                      <a:pt x="426" y="1168"/>
                      <a:pt x="428" y="1168"/>
                    </a:cubicBezTo>
                    <a:cubicBezTo>
                      <a:pt x="435" y="1168"/>
                      <a:pt x="442" y="1164"/>
                      <a:pt x="446" y="1159"/>
                    </a:cubicBezTo>
                    <a:lnTo>
                      <a:pt x="635" y="1290"/>
                    </a:lnTo>
                    <a:close/>
                    <a:moveTo>
                      <a:pt x="42" y="1505"/>
                    </a:moveTo>
                    <a:cubicBezTo>
                      <a:pt x="44" y="1503"/>
                      <a:pt x="45" y="1501"/>
                      <a:pt x="46" y="1499"/>
                    </a:cubicBezTo>
                    <a:cubicBezTo>
                      <a:pt x="218" y="1448"/>
                      <a:pt x="218" y="1448"/>
                      <a:pt x="218" y="1448"/>
                    </a:cubicBezTo>
                    <a:cubicBezTo>
                      <a:pt x="219" y="1450"/>
                      <a:pt x="220" y="1451"/>
                      <a:pt x="221" y="1453"/>
                    </a:cubicBezTo>
                    <a:cubicBezTo>
                      <a:pt x="90" y="1581"/>
                      <a:pt x="90" y="1581"/>
                      <a:pt x="90" y="1581"/>
                    </a:cubicBezTo>
                    <a:cubicBezTo>
                      <a:pt x="87" y="1578"/>
                      <a:pt x="82" y="1576"/>
                      <a:pt x="77" y="1576"/>
                    </a:cubicBezTo>
                    <a:cubicBezTo>
                      <a:pt x="77" y="1576"/>
                      <a:pt x="77" y="1576"/>
                      <a:pt x="76" y="1576"/>
                    </a:cubicBezTo>
                    <a:lnTo>
                      <a:pt x="42" y="1505"/>
                    </a:lnTo>
                    <a:close/>
                    <a:moveTo>
                      <a:pt x="299" y="1828"/>
                    </a:moveTo>
                    <a:cubicBezTo>
                      <a:pt x="299" y="1827"/>
                      <a:pt x="299" y="1826"/>
                      <a:pt x="299" y="1825"/>
                    </a:cubicBezTo>
                    <a:cubicBezTo>
                      <a:pt x="299" y="1817"/>
                      <a:pt x="295" y="1810"/>
                      <a:pt x="289" y="1807"/>
                    </a:cubicBezTo>
                    <a:cubicBezTo>
                      <a:pt x="377" y="1613"/>
                      <a:pt x="377" y="1613"/>
                      <a:pt x="377" y="1613"/>
                    </a:cubicBezTo>
                    <a:cubicBezTo>
                      <a:pt x="379" y="1614"/>
                      <a:pt x="381" y="1614"/>
                      <a:pt x="383" y="1614"/>
                    </a:cubicBezTo>
                    <a:cubicBezTo>
                      <a:pt x="417" y="1895"/>
                      <a:pt x="417" y="1895"/>
                      <a:pt x="417" y="1895"/>
                    </a:cubicBezTo>
                    <a:cubicBezTo>
                      <a:pt x="413" y="1896"/>
                      <a:pt x="410" y="1899"/>
                      <a:pt x="408" y="1902"/>
                    </a:cubicBezTo>
                    <a:lnTo>
                      <a:pt x="299" y="1828"/>
                    </a:lnTo>
                    <a:close/>
                    <a:moveTo>
                      <a:pt x="831" y="2106"/>
                    </a:moveTo>
                    <a:cubicBezTo>
                      <a:pt x="833" y="2102"/>
                      <a:pt x="835" y="2098"/>
                      <a:pt x="835" y="2094"/>
                    </a:cubicBezTo>
                    <a:cubicBezTo>
                      <a:pt x="835" y="2090"/>
                      <a:pt x="833" y="2086"/>
                      <a:pt x="831" y="2083"/>
                    </a:cubicBezTo>
                    <a:cubicBezTo>
                      <a:pt x="920" y="2011"/>
                      <a:pt x="920" y="2011"/>
                      <a:pt x="920" y="2011"/>
                    </a:cubicBezTo>
                    <a:cubicBezTo>
                      <a:pt x="923" y="2012"/>
                      <a:pt x="926" y="2013"/>
                      <a:pt x="929" y="2013"/>
                    </a:cubicBezTo>
                    <a:cubicBezTo>
                      <a:pt x="941" y="2013"/>
                      <a:pt x="950" y="2004"/>
                      <a:pt x="951" y="1993"/>
                    </a:cubicBezTo>
                    <a:cubicBezTo>
                      <a:pt x="1056" y="1984"/>
                      <a:pt x="1056" y="1984"/>
                      <a:pt x="1056" y="1984"/>
                    </a:cubicBezTo>
                    <a:cubicBezTo>
                      <a:pt x="1060" y="1990"/>
                      <a:pt x="1067" y="1994"/>
                      <a:pt x="1074" y="1994"/>
                    </a:cubicBezTo>
                    <a:cubicBezTo>
                      <a:pt x="1077" y="1994"/>
                      <a:pt x="1079" y="1994"/>
                      <a:pt x="1082" y="1993"/>
                    </a:cubicBezTo>
                    <a:cubicBezTo>
                      <a:pt x="1204" y="2132"/>
                      <a:pt x="1204" y="2132"/>
                      <a:pt x="1204" y="2132"/>
                    </a:cubicBezTo>
                    <a:cubicBezTo>
                      <a:pt x="1202" y="2134"/>
                      <a:pt x="1201" y="2136"/>
                      <a:pt x="1200" y="2139"/>
                    </a:cubicBezTo>
                    <a:cubicBezTo>
                      <a:pt x="1031" y="2080"/>
                      <a:pt x="1031" y="2080"/>
                      <a:pt x="1031" y="2080"/>
                    </a:cubicBezTo>
                    <a:cubicBezTo>
                      <a:pt x="1031" y="2079"/>
                      <a:pt x="1032" y="2078"/>
                      <a:pt x="1032" y="2077"/>
                    </a:cubicBezTo>
                    <a:cubicBezTo>
                      <a:pt x="1032" y="2065"/>
                      <a:pt x="1022" y="2056"/>
                      <a:pt x="1010" y="2056"/>
                    </a:cubicBezTo>
                    <a:cubicBezTo>
                      <a:pt x="999" y="2056"/>
                      <a:pt x="990" y="2064"/>
                      <a:pt x="989" y="2075"/>
                    </a:cubicBezTo>
                    <a:cubicBezTo>
                      <a:pt x="940" y="2076"/>
                      <a:pt x="940" y="2076"/>
                      <a:pt x="940" y="2076"/>
                    </a:cubicBezTo>
                    <a:cubicBezTo>
                      <a:pt x="939" y="2066"/>
                      <a:pt x="930" y="2058"/>
                      <a:pt x="919" y="2058"/>
                    </a:cubicBezTo>
                    <a:cubicBezTo>
                      <a:pt x="907" y="2058"/>
                      <a:pt x="897" y="2067"/>
                      <a:pt x="897" y="2079"/>
                    </a:cubicBezTo>
                    <a:cubicBezTo>
                      <a:pt x="897" y="2086"/>
                      <a:pt x="901" y="2092"/>
                      <a:pt x="906" y="2096"/>
                    </a:cubicBezTo>
                    <a:cubicBezTo>
                      <a:pt x="889" y="2149"/>
                      <a:pt x="889" y="2149"/>
                      <a:pt x="889" y="2149"/>
                    </a:cubicBezTo>
                    <a:cubicBezTo>
                      <a:pt x="882" y="2149"/>
                      <a:pt x="877" y="2152"/>
                      <a:pt x="873" y="2157"/>
                    </a:cubicBezTo>
                    <a:lnTo>
                      <a:pt x="831" y="2106"/>
                    </a:lnTo>
                    <a:close/>
                    <a:moveTo>
                      <a:pt x="1497" y="2893"/>
                    </a:moveTo>
                    <a:cubicBezTo>
                      <a:pt x="1489" y="2893"/>
                      <a:pt x="1483" y="2897"/>
                      <a:pt x="1479" y="2902"/>
                    </a:cubicBezTo>
                    <a:cubicBezTo>
                      <a:pt x="1456" y="2890"/>
                      <a:pt x="1456" y="2890"/>
                      <a:pt x="1456" y="2890"/>
                    </a:cubicBezTo>
                    <a:cubicBezTo>
                      <a:pt x="1457" y="2888"/>
                      <a:pt x="1457" y="2885"/>
                      <a:pt x="1457" y="2883"/>
                    </a:cubicBezTo>
                    <a:cubicBezTo>
                      <a:pt x="1457" y="2877"/>
                      <a:pt x="1455" y="2872"/>
                      <a:pt x="1452" y="2868"/>
                    </a:cubicBezTo>
                    <a:cubicBezTo>
                      <a:pt x="1514" y="2795"/>
                      <a:pt x="1514" y="2795"/>
                      <a:pt x="1514" y="2795"/>
                    </a:cubicBezTo>
                    <a:cubicBezTo>
                      <a:pt x="1517" y="2797"/>
                      <a:pt x="1521" y="2799"/>
                      <a:pt x="1526" y="2799"/>
                    </a:cubicBezTo>
                    <a:cubicBezTo>
                      <a:pt x="1534" y="2799"/>
                      <a:pt x="1541" y="2794"/>
                      <a:pt x="1544" y="2787"/>
                    </a:cubicBezTo>
                    <a:cubicBezTo>
                      <a:pt x="1608" y="2812"/>
                      <a:pt x="1608" y="2812"/>
                      <a:pt x="1608" y="2812"/>
                    </a:cubicBezTo>
                    <a:cubicBezTo>
                      <a:pt x="1607" y="2813"/>
                      <a:pt x="1607" y="2815"/>
                      <a:pt x="1607" y="2817"/>
                    </a:cubicBezTo>
                    <a:cubicBezTo>
                      <a:pt x="1607" y="2820"/>
                      <a:pt x="1608" y="2823"/>
                      <a:pt x="1609" y="2826"/>
                    </a:cubicBezTo>
                    <a:cubicBezTo>
                      <a:pt x="1512" y="2899"/>
                      <a:pt x="1512" y="2899"/>
                      <a:pt x="1512" y="2899"/>
                    </a:cubicBezTo>
                    <a:cubicBezTo>
                      <a:pt x="1508" y="2895"/>
                      <a:pt x="1503" y="2893"/>
                      <a:pt x="1497" y="2893"/>
                    </a:cubicBezTo>
                    <a:close/>
                    <a:moveTo>
                      <a:pt x="1628" y="2795"/>
                    </a:moveTo>
                    <a:cubicBezTo>
                      <a:pt x="1620" y="2795"/>
                      <a:pt x="1613" y="2800"/>
                      <a:pt x="1610" y="2807"/>
                    </a:cubicBezTo>
                    <a:cubicBezTo>
                      <a:pt x="1546" y="2782"/>
                      <a:pt x="1546" y="2782"/>
                      <a:pt x="1546" y="2782"/>
                    </a:cubicBezTo>
                    <a:cubicBezTo>
                      <a:pt x="1547" y="2781"/>
                      <a:pt x="1547" y="2779"/>
                      <a:pt x="1547" y="2777"/>
                    </a:cubicBezTo>
                    <a:cubicBezTo>
                      <a:pt x="1547" y="2767"/>
                      <a:pt x="1540" y="2758"/>
                      <a:pt x="1530" y="2756"/>
                    </a:cubicBezTo>
                    <a:cubicBezTo>
                      <a:pt x="1540" y="2648"/>
                      <a:pt x="1540" y="2648"/>
                      <a:pt x="1540" y="2648"/>
                    </a:cubicBezTo>
                    <a:cubicBezTo>
                      <a:pt x="1551" y="2648"/>
                      <a:pt x="1560" y="2638"/>
                      <a:pt x="1560" y="2627"/>
                    </a:cubicBezTo>
                    <a:cubicBezTo>
                      <a:pt x="1647" y="2616"/>
                      <a:pt x="1647" y="2616"/>
                      <a:pt x="1647" y="2616"/>
                    </a:cubicBezTo>
                    <a:cubicBezTo>
                      <a:pt x="1649" y="2623"/>
                      <a:pt x="1654" y="2629"/>
                      <a:pt x="1661" y="2631"/>
                    </a:cubicBezTo>
                    <a:cubicBezTo>
                      <a:pt x="1630" y="2796"/>
                      <a:pt x="1630" y="2796"/>
                      <a:pt x="1630" y="2796"/>
                    </a:cubicBezTo>
                    <a:cubicBezTo>
                      <a:pt x="1630" y="2796"/>
                      <a:pt x="1629" y="2795"/>
                      <a:pt x="1628" y="2795"/>
                    </a:cubicBezTo>
                    <a:close/>
                    <a:moveTo>
                      <a:pt x="2224" y="1910"/>
                    </a:moveTo>
                    <a:cubicBezTo>
                      <a:pt x="2221" y="1908"/>
                      <a:pt x="2218" y="1906"/>
                      <a:pt x="2215" y="1905"/>
                    </a:cubicBezTo>
                    <a:cubicBezTo>
                      <a:pt x="2233" y="1806"/>
                      <a:pt x="2233" y="1806"/>
                      <a:pt x="2233" y="1806"/>
                    </a:cubicBezTo>
                    <a:cubicBezTo>
                      <a:pt x="2233" y="1806"/>
                      <a:pt x="2233" y="1806"/>
                      <a:pt x="2234" y="1806"/>
                    </a:cubicBezTo>
                    <a:cubicBezTo>
                      <a:pt x="2243" y="1806"/>
                      <a:pt x="2251" y="1800"/>
                      <a:pt x="2254" y="1791"/>
                    </a:cubicBezTo>
                    <a:cubicBezTo>
                      <a:pt x="2357" y="1811"/>
                      <a:pt x="2357" y="1811"/>
                      <a:pt x="2357" y="1811"/>
                    </a:cubicBezTo>
                    <a:cubicBezTo>
                      <a:pt x="2355" y="1814"/>
                      <a:pt x="2354" y="1818"/>
                      <a:pt x="2354" y="1822"/>
                    </a:cubicBezTo>
                    <a:cubicBezTo>
                      <a:pt x="2354" y="1824"/>
                      <a:pt x="2354" y="1825"/>
                      <a:pt x="2354" y="1827"/>
                    </a:cubicBezTo>
                    <a:lnTo>
                      <a:pt x="2224" y="1910"/>
                    </a:lnTo>
                    <a:close/>
                    <a:moveTo>
                      <a:pt x="2583" y="1588"/>
                    </a:moveTo>
                    <a:cubicBezTo>
                      <a:pt x="2582" y="1588"/>
                      <a:pt x="2580" y="1587"/>
                      <a:pt x="2578" y="1587"/>
                    </a:cubicBezTo>
                    <a:cubicBezTo>
                      <a:pt x="2575" y="1587"/>
                      <a:pt x="2571" y="1588"/>
                      <a:pt x="2568" y="1590"/>
                    </a:cubicBezTo>
                    <a:cubicBezTo>
                      <a:pt x="2450" y="1454"/>
                      <a:pt x="2450" y="1454"/>
                      <a:pt x="2450" y="1454"/>
                    </a:cubicBezTo>
                    <a:cubicBezTo>
                      <a:pt x="2450" y="1454"/>
                      <a:pt x="2450" y="1453"/>
                      <a:pt x="2451" y="1453"/>
                    </a:cubicBezTo>
                    <a:cubicBezTo>
                      <a:pt x="2619" y="1501"/>
                      <a:pt x="2619" y="1501"/>
                      <a:pt x="2619" y="1501"/>
                    </a:cubicBezTo>
                    <a:cubicBezTo>
                      <a:pt x="2620" y="1505"/>
                      <a:pt x="2622" y="1508"/>
                      <a:pt x="2625" y="1511"/>
                    </a:cubicBezTo>
                    <a:lnTo>
                      <a:pt x="2583" y="1588"/>
                    </a:lnTo>
                    <a:close/>
                  </a:path>
                </a:pathLst>
              </a:custGeom>
              <a:blipFill>
                <a:blip r:embed="rId5"/>
                <a:stretch>
                  <a:fillRect t="-16196" b="-16024"/>
                </a:stretch>
              </a:blipFill>
              <a:ln>
                <a:noFill/>
              </a:ln>
              <a:effectLst/>
            </p:spPr>
            <p:txBody>
              <a:bodyPr vert="horz" wrap="square" lIns="91440" tIns="45720" rIns="91440" bIns="45720" numCol="1" anchor="t" anchorCtr="0" compatLnSpc="1">
                <a:prstTxWarp prst="textNoShape">
                  <a:avLst/>
                </a:prstTxWarp>
                <a:normAutofit/>
              </a:bodyPr>
              <a:lstStyle>
                <a:defPPr>
                  <a:defRPr lang="en-US"/>
                </a:defPPr>
                <a:lvl1pPr marL="0" algn="l" defTabSz="457200" rtl="0" eaLnBrk="1" latinLnBrk="0" hangingPunct="1">
                  <a:defRPr sz="1800" kern="1200">
                    <a:solidFill>
                      <a:schemeClr val="tx1"/>
                    </a:solidFill>
                  </a:defRPr>
                </a:lvl1pPr>
                <a:lvl2pPr marL="457200" algn="l" defTabSz="457200" rtl="0" eaLnBrk="1" latinLnBrk="0" hangingPunct="1">
                  <a:defRPr sz="1800" kern="1200">
                    <a:solidFill>
                      <a:schemeClr val="tx1"/>
                    </a:solidFill>
                  </a:defRPr>
                </a:lvl2pPr>
                <a:lvl3pPr marL="914400" algn="l" defTabSz="457200" rtl="0" eaLnBrk="1" latinLnBrk="0" hangingPunct="1">
                  <a:defRPr sz="1800" kern="1200">
                    <a:solidFill>
                      <a:schemeClr val="tx1"/>
                    </a:solidFill>
                  </a:defRPr>
                </a:lvl3pPr>
                <a:lvl4pPr marL="1371600" algn="l" defTabSz="457200" rtl="0" eaLnBrk="1" latinLnBrk="0" hangingPunct="1">
                  <a:defRPr sz="1800" kern="1200">
                    <a:solidFill>
                      <a:schemeClr val="tx1"/>
                    </a:solidFill>
                  </a:defRPr>
                </a:lvl4pPr>
                <a:lvl5pPr marL="1828800" algn="l" defTabSz="457200" rtl="0" eaLnBrk="1" latinLnBrk="0" hangingPunct="1">
                  <a:defRPr sz="1800" kern="1200">
                    <a:solidFill>
                      <a:schemeClr val="tx1"/>
                    </a:solidFill>
                  </a:defRPr>
                </a:lvl5pPr>
                <a:lvl6pPr marL="2286000" algn="l" defTabSz="457200" rtl="0" eaLnBrk="1" latinLnBrk="0" hangingPunct="1">
                  <a:defRPr sz="1800" kern="1200">
                    <a:solidFill>
                      <a:schemeClr val="tx1"/>
                    </a:solidFill>
                  </a:defRPr>
                </a:lvl6pPr>
                <a:lvl7pPr marL="2743200" algn="l" defTabSz="457200" rtl="0" eaLnBrk="1" latinLnBrk="0" hangingPunct="1">
                  <a:defRPr sz="1800" kern="1200">
                    <a:solidFill>
                      <a:schemeClr val="tx1"/>
                    </a:solidFill>
                  </a:defRPr>
                </a:lvl7pPr>
                <a:lvl8pPr marL="3200400" algn="l" defTabSz="457200" rtl="0" eaLnBrk="1" latinLnBrk="0" hangingPunct="1">
                  <a:defRPr sz="1800" kern="1200">
                    <a:solidFill>
                      <a:schemeClr val="tx1"/>
                    </a:solidFill>
                  </a:defRPr>
                </a:lvl8pPr>
                <a:lvl9pPr marL="3657600" algn="l" defTabSz="457200" rtl="0" eaLnBrk="1" latinLnBrk="0" hangingPunct="1">
                  <a:defRPr sz="1800" kern="1200">
                    <a:solidFill>
                      <a:schemeClr val="tx1"/>
                    </a:solidFill>
                  </a:defRPr>
                </a:lvl9pPr>
              </a:lstStyle>
              <a:p>
                <a:endParaRPr lang="en-US" sz="1350" dirty="0"/>
              </a:p>
            </p:txBody>
          </p:sp>
          <p:sp>
            <p:nvSpPr>
              <p:cNvPr id="30" name="ïšļïḋé">
                <a:extLst>
                  <a:ext uri="{FF2B5EF4-FFF2-40B4-BE49-F238E27FC236}">
                    <a16:creationId xmlns:a16="http://schemas.microsoft.com/office/drawing/2014/main" id="{FB0B0577-D39C-47CC-9E0E-E9AD6632D145}"/>
                  </a:ext>
                </a:extLst>
              </p:cNvPr>
              <p:cNvSpPr/>
              <p:nvPr/>
            </p:nvSpPr>
            <p:spPr bwMode="auto">
              <a:xfrm>
                <a:off x="673100" y="1130300"/>
                <a:ext cx="4665826" cy="4645648"/>
              </a:xfrm>
              <a:custGeom>
                <a:avLst/>
                <a:gdLst>
                  <a:gd name="T0" fmla="*/ 22479 w 24254"/>
                  <a:gd name="T1" fmla="*/ 11199 h 24417"/>
                  <a:gd name="T2" fmla="*/ 22248 w 24254"/>
                  <a:gd name="T3" fmla="*/ 13410 h 24417"/>
                  <a:gd name="T4" fmla="*/ 20412 w 24254"/>
                  <a:gd name="T5" fmla="*/ 17822 h 24417"/>
                  <a:gd name="T6" fmla="*/ 3277 w 24254"/>
                  <a:gd name="T7" fmla="*/ 16815 h 24417"/>
                  <a:gd name="T8" fmla="*/ 7332 w 24254"/>
                  <a:gd name="T9" fmla="*/ 20859 h 24417"/>
                  <a:gd name="T10" fmla="*/ 12987 w 24254"/>
                  <a:gd name="T11" fmla="*/ 22005 h 24417"/>
                  <a:gd name="T12" fmla="*/ 18723 w 24254"/>
                  <a:gd name="T13" fmla="*/ 19554 h 24417"/>
                  <a:gd name="T14" fmla="*/ 20530 w 24254"/>
                  <a:gd name="T15" fmla="*/ 17316 h 24417"/>
                  <a:gd name="T16" fmla="*/ 22099 w 24254"/>
                  <a:gd name="T17" fmla="*/ 12776 h 24417"/>
                  <a:gd name="T18" fmla="*/ 21971 w 24254"/>
                  <a:gd name="T19" fmla="*/ 12717 h 24417"/>
                  <a:gd name="T20" fmla="*/ 21211 w 24254"/>
                  <a:gd name="T21" fmla="*/ 15621 h 24417"/>
                  <a:gd name="T22" fmla="*/ 18477 w 24254"/>
                  <a:gd name="T23" fmla="*/ 19347 h 24417"/>
                  <a:gd name="T24" fmla="*/ 11958 w 24254"/>
                  <a:gd name="T25" fmla="*/ 21719 h 24417"/>
                  <a:gd name="T26" fmla="*/ 4888 w 24254"/>
                  <a:gd name="T27" fmla="*/ 18528 h 24417"/>
                  <a:gd name="T28" fmla="*/ 4201 w 24254"/>
                  <a:gd name="T29" fmla="*/ 6487 h 24417"/>
                  <a:gd name="T30" fmla="*/ 7846 w 24254"/>
                  <a:gd name="T31" fmla="*/ 3227 h 24417"/>
                  <a:gd name="T32" fmla="*/ 11670 w 24254"/>
                  <a:gd name="T33" fmla="*/ 2145 h 24417"/>
                  <a:gd name="T34" fmla="*/ 18052 w 24254"/>
                  <a:gd name="T35" fmla="*/ 3346 h 24417"/>
                  <a:gd name="T36" fmla="*/ 16756 w 24254"/>
                  <a:gd name="T37" fmla="*/ 2202 h 24417"/>
                  <a:gd name="T38" fmla="*/ 18623 w 24254"/>
                  <a:gd name="T39" fmla="*/ 2724 h 24417"/>
                  <a:gd name="T40" fmla="*/ 22021 w 24254"/>
                  <a:gd name="T41" fmla="*/ 5341 h 24417"/>
                  <a:gd name="T42" fmla="*/ 19420 w 24254"/>
                  <a:gd name="T43" fmla="*/ 2486 h 24417"/>
                  <a:gd name="T44" fmla="*/ 16609 w 24254"/>
                  <a:gd name="T45" fmla="*/ 761 h 24417"/>
                  <a:gd name="T46" fmla="*/ 13842 w 24254"/>
                  <a:gd name="T47" fmla="*/ 108 h 24417"/>
                  <a:gd name="T48" fmla="*/ 10646 w 24254"/>
                  <a:gd name="T49" fmla="*/ 168 h 24417"/>
                  <a:gd name="T50" fmla="*/ 5948 w 24254"/>
                  <a:gd name="T51" fmla="*/ 1891 h 24417"/>
                  <a:gd name="T52" fmla="*/ 2976 w 24254"/>
                  <a:gd name="T53" fmla="*/ 4395 h 24417"/>
                  <a:gd name="T54" fmla="*/ 1159 w 24254"/>
                  <a:gd name="T55" fmla="*/ 7300 h 24417"/>
                  <a:gd name="T56" fmla="*/ 142 w 24254"/>
                  <a:gd name="T57" fmla="*/ 10740 h 24417"/>
                  <a:gd name="T58" fmla="*/ 423 w 24254"/>
                  <a:gd name="T59" fmla="*/ 15423 h 24417"/>
                  <a:gd name="T60" fmla="*/ 1516 w 24254"/>
                  <a:gd name="T61" fmla="*/ 17914 h 24417"/>
                  <a:gd name="T62" fmla="*/ 3809 w 24254"/>
                  <a:gd name="T63" fmla="*/ 20919 h 24417"/>
                  <a:gd name="T64" fmla="*/ 4909 w 24254"/>
                  <a:gd name="T65" fmla="*/ 22068 h 24417"/>
                  <a:gd name="T66" fmla="*/ 6859 w 24254"/>
                  <a:gd name="T67" fmla="*/ 23136 h 24417"/>
                  <a:gd name="T68" fmla="*/ 8566 w 24254"/>
                  <a:gd name="T69" fmla="*/ 23767 h 24417"/>
                  <a:gd name="T70" fmla="*/ 12886 w 24254"/>
                  <a:gd name="T71" fmla="*/ 24374 h 24417"/>
                  <a:gd name="T72" fmla="*/ 15497 w 24254"/>
                  <a:gd name="T73" fmla="*/ 23924 h 24417"/>
                  <a:gd name="T74" fmla="*/ 18225 w 24254"/>
                  <a:gd name="T75" fmla="*/ 22717 h 24417"/>
                  <a:gd name="T76" fmla="*/ 21497 w 24254"/>
                  <a:gd name="T77" fmla="*/ 20096 h 24417"/>
                  <a:gd name="T78" fmla="*/ 23030 w 24254"/>
                  <a:gd name="T79" fmla="*/ 17764 h 24417"/>
                  <a:gd name="T80" fmla="*/ 24197 w 24254"/>
                  <a:gd name="T81" fmla="*/ 14631 h 24417"/>
                  <a:gd name="T82" fmla="*/ 22358 w 24254"/>
                  <a:gd name="T83" fmla="*/ 18694 h 24417"/>
                  <a:gd name="T84" fmla="*/ 20495 w 24254"/>
                  <a:gd name="T85" fmla="*/ 20678 h 24417"/>
                  <a:gd name="T86" fmla="*/ 17674 w 24254"/>
                  <a:gd name="T87" fmla="*/ 22584 h 24417"/>
                  <a:gd name="T88" fmla="*/ 19803 w 24254"/>
                  <a:gd name="T89" fmla="*/ 21131 h 24417"/>
                  <a:gd name="T90" fmla="*/ 22682 w 24254"/>
                  <a:gd name="T91" fmla="*/ 17767 h 24417"/>
                  <a:gd name="T92" fmla="*/ 24058 w 24254"/>
                  <a:gd name="T93" fmla="*/ 13832 h 24417"/>
                  <a:gd name="T94" fmla="*/ 24047 w 24254"/>
                  <a:gd name="T95" fmla="*/ 10530 h 24417"/>
                  <a:gd name="T96" fmla="*/ 23864 w 24254"/>
                  <a:gd name="T97" fmla="*/ 11699 h 24417"/>
                  <a:gd name="T98" fmla="*/ 23758 w 24254"/>
                  <a:gd name="T99" fmla="*/ 12139 h 24417"/>
                  <a:gd name="T100" fmla="*/ 23628 w 24254"/>
                  <a:gd name="T101" fmla="*/ 11731 h 24417"/>
                  <a:gd name="T102" fmla="*/ 22050 w 24254"/>
                  <a:gd name="T103" fmla="*/ 17438 h 24417"/>
                  <a:gd name="T104" fmla="*/ 19537 w 24254"/>
                  <a:gd name="T105" fmla="*/ 20524 h 24417"/>
                  <a:gd name="T106" fmla="*/ 15616 w 24254"/>
                  <a:gd name="T107" fmla="*/ 22687 h 24417"/>
                  <a:gd name="T108" fmla="*/ 15462 w 24254"/>
                  <a:gd name="T109" fmla="*/ 22588 h 24417"/>
                  <a:gd name="T110" fmla="*/ 18409 w 24254"/>
                  <a:gd name="T111" fmla="*/ 21221 h 24417"/>
                  <a:gd name="T112" fmla="*/ 20847 w 24254"/>
                  <a:gd name="T113" fmla="*/ 18810 h 24417"/>
                  <a:gd name="T114" fmla="*/ 22820 w 24254"/>
                  <a:gd name="T115" fmla="*/ 14772 h 24417"/>
                  <a:gd name="T116" fmla="*/ 23030 w 24254"/>
                  <a:gd name="T117" fmla="*/ 12564 h 24417"/>
                  <a:gd name="T118" fmla="*/ 22496 w 24254"/>
                  <a:gd name="T119" fmla="*/ 14543 h 24417"/>
                  <a:gd name="T120" fmla="*/ 22720 w 24254"/>
                  <a:gd name="T121" fmla="*/ 11210 h 24417"/>
                  <a:gd name="T122" fmla="*/ 22116 w 24254"/>
                  <a:gd name="T123" fmla="*/ 8533 h 24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254" h="24417">
                    <a:moveTo>
                      <a:pt x="21946" y="8403"/>
                    </a:moveTo>
                    <a:cubicBezTo>
                      <a:pt x="21964" y="8456"/>
                      <a:pt x="21988" y="8474"/>
                      <a:pt x="21979" y="8410"/>
                    </a:cubicBezTo>
                    <a:cubicBezTo>
                      <a:pt x="22004" y="8428"/>
                      <a:pt x="21997" y="8462"/>
                      <a:pt x="22000" y="8483"/>
                    </a:cubicBezTo>
                    <a:cubicBezTo>
                      <a:pt x="22042" y="8554"/>
                      <a:pt x="22051" y="8542"/>
                      <a:pt x="22078" y="8582"/>
                    </a:cubicBezTo>
                    <a:cubicBezTo>
                      <a:pt x="22096" y="8634"/>
                      <a:pt x="22114" y="8686"/>
                      <a:pt x="22144" y="8747"/>
                    </a:cubicBezTo>
                    <a:cubicBezTo>
                      <a:pt x="22152" y="8812"/>
                      <a:pt x="22170" y="8864"/>
                      <a:pt x="22200" y="8925"/>
                    </a:cubicBezTo>
                    <a:cubicBezTo>
                      <a:pt x="22186" y="9069"/>
                      <a:pt x="22292" y="9207"/>
                      <a:pt x="22300" y="9348"/>
                    </a:cubicBezTo>
                    <a:cubicBezTo>
                      <a:pt x="22278" y="9351"/>
                      <a:pt x="22260" y="9299"/>
                      <a:pt x="22243" y="9247"/>
                    </a:cubicBezTo>
                    <a:cubicBezTo>
                      <a:pt x="22213" y="9185"/>
                      <a:pt x="22195" y="9133"/>
                      <a:pt x="22173" y="9136"/>
                    </a:cubicBezTo>
                    <a:cubicBezTo>
                      <a:pt x="22218" y="9228"/>
                      <a:pt x="22230" y="9314"/>
                      <a:pt x="22253" y="9409"/>
                    </a:cubicBezTo>
                    <a:cubicBezTo>
                      <a:pt x="22277" y="9504"/>
                      <a:pt x="22288" y="9589"/>
                      <a:pt x="22348" y="9712"/>
                    </a:cubicBezTo>
                    <a:cubicBezTo>
                      <a:pt x="22335" y="9779"/>
                      <a:pt x="22316" y="9804"/>
                      <a:pt x="22373" y="9905"/>
                    </a:cubicBezTo>
                    <a:cubicBezTo>
                      <a:pt x="22348" y="9963"/>
                      <a:pt x="22324" y="9944"/>
                      <a:pt x="22300" y="9849"/>
                    </a:cubicBezTo>
                    <a:cubicBezTo>
                      <a:pt x="22285" y="9895"/>
                      <a:pt x="22309" y="9914"/>
                      <a:pt x="22302" y="9947"/>
                    </a:cubicBezTo>
                    <a:cubicBezTo>
                      <a:pt x="22318" y="9901"/>
                      <a:pt x="22369" y="10036"/>
                      <a:pt x="22379" y="9948"/>
                    </a:cubicBezTo>
                    <a:cubicBezTo>
                      <a:pt x="22366" y="10015"/>
                      <a:pt x="22387" y="10088"/>
                      <a:pt x="22407" y="10162"/>
                    </a:cubicBezTo>
                    <a:cubicBezTo>
                      <a:pt x="22410" y="10183"/>
                      <a:pt x="22425" y="10214"/>
                      <a:pt x="22431" y="10257"/>
                    </a:cubicBezTo>
                    <a:cubicBezTo>
                      <a:pt x="22446" y="10288"/>
                      <a:pt x="22451" y="10330"/>
                      <a:pt x="22445" y="10364"/>
                    </a:cubicBezTo>
                    <a:cubicBezTo>
                      <a:pt x="22439" y="10321"/>
                      <a:pt x="22433" y="10278"/>
                      <a:pt x="22406" y="10238"/>
                    </a:cubicBezTo>
                    <a:cubicBezTo>
                      <a:pt x="22401" y="10196"/>
                      <a:pt x="22386" y="10165"/>
                      <a:pt x="22383" y="10143"/>
                    </a:cubicBezTo>
                    <a:cubicBezTo>
                      <a:pt x="22353" y="10082"/>
                      <a:pt x="22338" y="10051"/>
                      <a:pt x="22335" y="10030"/>
                    </a:cubicBezTo>
                    <a:cubicBezTo>
                      <a:pt x="22317" y="10054"/>
                      <a:pt x="22337" y="10128"/>
                      <a:pt x="22370" y="10211"/>
                    </a:cubicBezTo>
                    <a:cubicBezTo>
                      <a:pt x="22376" y="10253"/>
                      <a:pt x="22391" y="10284"/>
                      <a:pt x="22408" y="10336"/>
                    </a:cubicBezTo>
                    <a:cubicBezTo>
                      <a:pt x="22423" y="10367"/>
                      <a:pt x="22429" y="10410"/>
                      <a:pt x="22444" y="10440"/>
                    </a:cubicBezTo>
                    <a:cubicBezTo>
                      <a:pt x="22401" y="10446"/>
                      <a:pt x="22430" y="10584"/>
                      <a:pt x="22451" y="10658"/>
                    </a:cubicBezTo>
                    <a:cubicBezTo>
                      <a:pt x="22463" y="10667"/>
                      <a:pt x="22469" y="10633"/>
                      <a:pt x="22472" y="10655"/>
                    </a:cubicBezTo>
                    <a:cubicBezTo>
                      <a:pt x="22487" y="10685"/>
                      <a:pt x="22478" y="10698"/>
                      <a:pt x="22493" y="10728"/>
                    </a:cubicBezTo>
                    <a:cubicBezTo>
                      <a:pt x="22481" y="10719"/>
                      <a:pt x="22466" y="10688"/>
                      <a:pt x="22462" y="10743"/>
                    </a:cubicBezTo>
                    <a:cubicBezTo>
                      <a:pt x="22473" y="10905"/>
                      <a:pt x="22517" y="11074"/>
                      <a:pt x="22549" y="11233"/>
                    </a:cubicBezTo>
                    <a:cubicBezTo>
                      <a:pt x="22539" y="11245"/>
                      <a:pt x="22527" y="11236"/>
                      <a:pt x="22530" y="11257"/>
                    </a:cubicBezTo>
                    <a:cubicBezTo>
                      <a:pt x="22495" y="11077"/>
                      <a:pt x="22465" y="11015"/>
                      <a:pt x="22433" y="10856"/>
                    </a:cubicBezTo>
                    <a:cubicBezTo>
                      <a:pt x="22420" y="11000"/>
                      <a:pt x="22458" y="11125"/>
                      <a:pt x="22457" y="11278"/>
                    </a:cubicBezTo>
                    <a:cubicBezTo>
                      <a:pt x="22484" y="11318"/>
                      <a:pt x="22457" y="11202"/>
                      <a:pt x="22479" y="11199"/>
                    </a:cubicBezTo>
                    <a:cubicBezTo>
                      <a:pt x="22494" y="11230"/>
                      <a:pt x="22497" y="11251"/>
                      <a:pt x="22502" y="11294"/>
                    </a:cubicBezTo>
                    <a:cubicBezTo>
                      <a:pt x="22492" y="11382"/>
                      <a:pt x="22450" y="11312"/>
                      <a:pt x="22452" y="11410"/>
                    </a:cubicBezTo>
                    <a:cubicBezTo>
                      <a:pt x="22467" y="11440"/>
                      <a:pt x="22476" y="11428"/>
                      <a:pt x="22494" y="11480"/>
                    </a:cubicBezTo>
                    <a:cubicBezTo>
                      <a:pt x="22501" y="11447"/>
                      <a:pt x="22489" y="11437"/>
                      <a:pt x="22486" y="11416"/>
                    </a:cubicBezTo>
                    <a:cubicBezTo>
                      <a:pt x="22501" y="11370"/>
                      <a:pt x="22547" y="11386"/>
                      <a:pt x="22508" y="11337"/>
                    </a:cubicBezTo>
                    <a:cubicBezTo>
                      <a:pt x="22537" y="11224"/>
                      <a:pt x="22554" y="11352"/>
                      <a:pt x="22553" y="11429"/>
                    </a:cubicBezTo>
                    <a:cubicBezTo>
                      <a:pt x="22529" y="11334"/>
                      <a:pt x="22536" y="11551"/>
                      <a:pt x="22503" y="11468"/>
                    </a:cubicBezTo>
                    <a:cubicBezTo>
                      <a:pt x="22500" y="11523"/>
                      <a:pt x="22551" y="11582"/>
                      <a:pt x="22535" y="11627"/>
                    </a:cubicBezTo>
                    <a:cubicBezTo>
                      <a:pt x="22522" y="11694"/>
                      <a:pt x="22503" y="11545"/>
                      <a:pt x="22485" y="11492"/>
                    </a:cubicBezTo>
                    <a:cubicBezTo>
                      <a:pt x="22467" y="11440"/>
                      <a:pt x="22457" y="11529"/>
                      <a:pt x="22430" y="11489"/>
                    </a:cubicBezTo>
                    <a:cubicBezTo>
                      <a:pt x="22417" y="11556"/>
                      <a:pt x="22459" y="11627"/>
                      <a:pt x="22437" y="11706"/>
                    </a:cubicBezTo>
                    <a:cubicBezTo>
                      <a:pt x="22413" y="11687"/>
                      <a:pt x="22426" y="11620"/>
                      <a:pt x="22377" y="11583"/>
                    </a:cubicBezTo>
                    <a:cubicBezTo>
                      <a:pt x="22352" y="11641"/>
                      <a:pt x="22406" y="11721"/>
                      <a:pt x="22372" y="11791"/>
                    </a:cubicBezTo>
                    <a:cubicBezTo>
                      <a:pt x="22399" y="11831"/>
                      <a:pt x="22382" y="11702"/>
                      <a:pt x="22400" y="11678"/>
                    </a:cubicBezTo>
                    <a:cubicBezTo>
                      <a:pt x="22409" y="11742"/>
                      <a:pt x="22417" y="11807"/>
                      <a:pt x="22402" y="11852"/>
                    </a:cubicBezTo>
                    <a:cubicBezTo>
                      <a:pt x="22424" y="11773"/>
                      <a:pt x="22451" y="11813"/>
                      <a:pt x="22478" y="11853"/>
                    </a:cubicBezTo>
                    <a:cubicBezTo>
                      <a:pt x="22481" y="11874"/>
                      <a:pt x="22472" y="11887"/>
                      <a:pt x="22474" y="11908"/>
                    </a:cubicBezTo>
                    <a:cubicBezTo>
                      <a:pt x="22464" y="11997"/>
                      <a:pt x="22457" y="11856"/>
                      <a:pt x="22447" y="11945"/>
                    </a:cubicBezTo>
                    <a:cubicBezTo>
                      <a:pt x="22474" y="11984"/>
                      <a:pt x="22469" y="12116"/>
                      <a:pt x="22465" y="12247"/>
                    </a:cubicBezTo>
                    <a:cubicBezTo>
                      <a:pt x="22448" y="12369"/>
                      <a:pt x="22417" y="12461"/>
                      <a:pt x="22392" y="12442"/>
                    </a:cubicBezTo>
                    <a:cubicBezTo>
                      <a:pt x="22422" y="12504"/>
                      <a:pt x="22409" y="12571"/>
                      <a:pt x="22431" y="12568"/>
                    </a:cubicBezTo>
                    <a:cubicBezTo>
                      <a:pt x="22412" y="12669"/>
                      <a:pt x="22391" y="12595"/>
                      <a:pt x="22366" y="12653"/>
                    </a:cubicBezTo>
                    <a:cubicBezTo>
                      <a:pt x="22376" y="12565"/>
                      <a:pt x="22362" y="12457"/>
                      <a:pt x="22372" y="12369"/>
                    </a:cubicBezTo>
                    <a:cubicBezTo>
                      <a:pt x="22347" y="12427"/>
                      <a:pt x="22332" y="12647"/>
                      <a:pt x="22337" y="12766"/>
                    </a:cubicBezTo>
                    <a:cubicBezTo>
                      <a:pt x="22321" y="12812"/>
                      <a:pt x="22322" y="12735"/>
                      <a:pt x="22297" y="12793"/>
                    </a:cubicBezTo>
                    <a:cubicBezTo>
                      <a:pt x="22299" y="12891"/>
                      <a:pt x="22323" y="12986"/>
                      <a:pt x="22273" y="13102"/>
                    </a:cubicBezTo>
                    <a:cubicBezTo>
                      <a:pt x="22306" y="13108"/>
                      <a:pt x="22296" y="13197"/>
                      <a:pt x="22333" y="13148"/>
                    </a:cubicBezTo>
                    <a:cubicBezTo>
                      <a:pt x="22296" y="13197"/>
                      <a:pt x="22341" y="13289"/>
                      <a:pt x="22288" y="13383"/>
                    </a:cubicBezTo>
                    <a:cubicBezTo>
                      <a:pt x="22347" y="13332"/>
                      <a:pt x="22286" y="13536"/>
                      <a:pt x="22320" y="13542"/>
                    </a:cubicBezTo>
                    <a:cubicBezTo>
                      <a:pt x="22285" y="13689"/>
                      <a:pt x="22287" y="13460"/>
                      <a:pt x="22256" y="13551"/>
                    </a:cubicBezTo>
                    <a:cubicBezTo>
                      <a:pt x="22276" y="13625"/>
                      <a:pt x="22273" y="13680"/>
                      <a:pt x="22257" y="13725"/>
                    </a:cubicBezTo>
                    <a:cubicBezTo>
                      <a:pt x="22235" y="13728"/>
                      <a:pt x="22233" y="13707"/>
                      <a:pt x="22221" y="13697"/>
                    </a:cubicBezTo>
                    <a:cubicBezTo>
                      <a:pt x="22218" y="13600"/>
                      <a:pt x="22238" y="13499"/>
                      <a:pt x="22248" y="13410"/>
                    </a:cubicBezTo>
                    <a:cubicBezTo>
                      <a:pt x="22264" y="13365"/>
                      <a:pt x="22258" y="13322"/>
                      <a:pt x="22274" y="13276"/>
                    </a:cubicBezTo>
                    <a:cubicBezTo>
                      <a:pt x="22268" y="13233"/>
                      <a:pt x="22262" y="13190"/>
                      <a:pt x="22257" y="13147"/>
                    </a:cubicBezTo>
                    <a:cubicBezTo>
                      <a:pt x="22241" y="13193"/>
                      <a:pt x="22271" y="13255"/>
                      <a:pt x="22231" y="13282"/>
                    </a:cubicBezTo>
                    <a:cubicBezTo>
                      <a:pt x="22248" y="13410"/>
                      <a:pt x="22222" y="13545"/>
                      <a:pt x="22193" y="13657"/>
                    </a:cubicBezTo>
                    <a:cubicBezTo>
                      <a:pt x="22181" y="13725"/>
                      <a:pt x="22155" y="13783"/>
                      <a:pt x="22143" y="13850"/>
                    </a:cubicBezTo>
                    <a:cubicBezTo>
                      <a:pt x="22139" y="13905"/>
                      <a:pt x="22126" y="13972"/>
                      <a:pt x="22135" y="14036"/>
                    </a:cubicBezTo>
                    <a:cubicBezTo>
                      <a:pt x="22097" y="14085"/>
                      <a:pt x="22075" y="14164"/>
                      <a:pt x="22053" y="14243"/>
                    </a:cubicBezTo>
                    <a:cubicBezTo>
                      <a:pt x="22040" y="14310"/>
                      <a:pt x="22018" y="14390"/>
                      <a:pt x="21996" y="14469"/>
                    </a:cubicBezTo>
                    <a:cubicBezTo>
                      <a:pt x="21973" y="14548"/>
                      <a:pt x="21960" y="14616"/>
                      <a:pt x="21948" y="14683"/>
                    </a:cubicBezTo>
                    <a:cubicBezTo>
                      <a:pt x="21922" y="14741"/>
                      <a:pt x="21907" y="14786"/>
                      <a:pt x="21876" y="14801"/>
                    </a:cubicBezTo>
                    <a:cubicBezTo>
                      <a:pt x="21854" y="14881"/>
                      <a:pt x="21832" y="14960"/>
                      <a:pt x="21797" y="15030"/>
                    </a:cubicBezTo>
                    <a:cubicBezTo>
                      <a:pt x="21836" y="15079"/>
                      <a:pt x="21765" y="15198"/>
                      <a:pt x="21746" y="15299"/>
                    </a:cubicBezTo>
                    <a:cubicBezTo>
                      <a:pt x="21724" y="15301"/>
                      <a:pt x="21731" y="15268"/>
                      <a:pt x="21703" y="15304"/>
                    </a:cubicBezTo>
                    <a:cubicBezTo>
                      <a:pt x="21727" y="15323"/>
                      <a:pt x="21689" y="15448"/>
                      <a:pt x="21665" y="15429"/>
                    </a:cubicBezTo>
                    <a:cubicBezTo>
                      <a:pt x="21629" y="15652"/>
                      <a:pt x="21499" y="15822"/>
                      <a:pt x="21439" y="16027"/>
                    </a:cubicBezTo>
                    <a:cubicBezTo>
                      <a:pt x="21476" y="15978"/>
                      <a:pt x="21456" y="16079"/>
                      <a:pt x="21450" y="16112"/>
                    </a:cubicBezTo>
                    <a:cubicBezTo>
                      <a:pt x="21422" y="16149"/>
                      <a:pt x="21451" y="16036"/>
                      <a:pt x="21429" y="16039"/>
                    </a:cubicBezTo>
                    <a:cubicBezTo>
                      <a:pt x="21420" y="16051"/>
                      <a:pt x="21414" y="16085"/>
                      <a:pt x="21404" y="16097"/>
                    </a:cubicBezTo>
                    <a:cubicBezTo>
                      <a:pt x="21386" y="16121"/>
                      <a:pt x="21376" y="16133"/>
                      <a:pt x="21370" y="16167"/>
                    </a:cubicBezTo>
                    <a:cubicBezTo>
                      <a:pt x="21342" y="16203"/>
                      <a:pt x="21336" y="16237"/>
                      <a:pt x="21320" y="16283"/>
                    </a:cubicBezTo>
                    <a:cubicBezTo>
                      <a:pt x="21288" y="16374"/>
                      <a:pt x="21257" y="16465"/>
                      <a:pt x="21222" y="16535"/>
                    </a:cubicBezTo>
                    <a:cubicBezTo>
                      <a:pt x="21186" y="16508"/>
                      <a:pt x="21080" y="16696"/>
                      <a:pt x="21089" y="16761"/>
                    </a:cubicBezTo>
                    <a:cubicBezTo>
                      <a:pt x="21058" y="16776"/>
                      <a:pt x="21052" y="16809"/>
                      <a:pt x="21012" y="16836"/>
                    </a:cubicBezTo>
                    <a:cubicBezTo>
                      <a:pt x="21027" y="16867"/>
                      <a:pt x="21011" y="16913"/>
                      <a:pt x="20974" y="16961"/>
                    </a:cubicBezTo>
                    <a:cubicBezTo>
                      <a:pt x="20958" y="17007"/>
                      <a:pt x="20921" y="17056"/>
                      <a:pt x="20886" y="17126"/>
                    </a:cubicBezTo>
                    <a:cubicBezTo>
                      <a:pt x="20849" y="17174"/>
                      <a:pt x="20803" y="17235"/>
                      <a:pt x="20768" y="17305"/>
                    </a:cubicBezTo>
                    <a:cubicBezTo>
                      <a:pt x="20750" y="17330"/>
                      <a:pt x="20731" y="17354"/>
                      <a:pt x="20725" y="17387"/>
                    </a:cubicBezTo>
                    <a:cubicBezTo>
                      <a:pt x="20706" y="17412"/>
                      <a:pt x="20700" y="17445"/>
                      <a:pt x="20681" y="17470"/>
                    </a:cubicBezTo>
                    <a:cubicBezTo>
                      <a:pt x="20601" y="17524"/>
                      <a:pt x="20560" y="17628"/>
                      <a:pt x="20498" y="17734"/>
                    </a:cubicBezTo>
                    <a:cubicBezTo>
                      <a:pt x="20480" y="17758"/>
                      <a:pt x="20473" y="17792"/>
                      <a:pt x="20455" y="17816"/>
                    </a:cubicBezTo>
                    <a:cubicBezTo>
                      <a:pt x="20445" y="17828"/>
                      <a:pt x="20427" y="17853"/>
                      <a:pt x="20408" y="17877"/>
                    </a:cubicBezTo>
                    <a:cubicBezTo>
                      <a:pt x="20392" y="17923"/>
                      <a:pt x="20352" y="17950"/>
                      <a:pt x="20322" y="17965"/>
                    </a:cubicBezTo>
                    <a:cubicBezTo>
                      <a:pt x="20359" y="17916"/>
                      <a:pt x="20396" y="17868"/>
                      <a:pt x="20412" y="17822"/>
                    </a:cubicBezTo>
                    <a:cubicBezTo>
                      <a:pt x="20369" y="17828"/>
                      <a:pt x="20297" y="18023"/>
                      <a:pt x="20191" y="18135"/>
                    </a:cubicBezTo>
                    <a:cubicBezTo>
                      <a:pt x="20154" y="18184"/>
                      <a:pt x="19988" y="18326"/>
                      <a:pt x="20024" y="18354"/>
                    </a:cubicBezTo>
                    <a:cubicBezTo>
                      <a:pt x="19996" y="18390"/>
                      <a:pt x="19954" y="18396"/>
                      <a:pt x="19926" y="18433"/>
                    </a:cubicBezTo>
                    <a:cubicBezTo>
                      <a:pt x="19888" y="18481"/>
                      <a:pt x="19842" y="18542"/>
                      <a:pt x="19805" y="18591"/>
                    </a:cubicBezTo>
                    <a:cubicBezTo>
                      <a:pt x="19768" y="18639"/>
                      <a:pt x="19721" y="18700"/>
                      <a:pt x="19684" y="18749"/>
                    </a:cubicBezTo>
                    <a:cubicBezTo>
                      <a:pt x="19656" y="18785"/>
                      <a:pt x="19616" y="18812"/>
                      <a:pt x="19579" y="18861"/>
                    </a:cubicBezTo>
                    <a:cubicBezTo>
                      <a:pt x="19539" y="18888"/>
                      <a:pt x="19493" y="18949"/>
                      <a:pt x="19455" y="18997"/>
                    </a:cubicBezTo>
                    <a:cubicBezTo>
                      <a:pt x="19348" y="19088"/>
                      <a:pt x="19252" y="19188"/>
                      <a:pt x="19165" y="19276"/>
                    </a:cubicBezTo>
                    <a:cubicBezTo>
                      <a:pt x="18585" y="19834"/>
                      <a:pt x="17939" y="20303"/>
                      <a:pt x="17241" y="20713"/>
                    </a:cubicBezTo>
                    <a:cubicBezTo>
                      <a:pt x="17069" y="20812"/>
                      <a:pt x="16894" y="20890"/>
                      <a:pt x="16722" y="20990"/>
                    </a:cubicBezTo>
                    <a:cubicBezTo>
                      <a:pt x="16630" y="21035"/>
                      <a:pt x="16538" y="21080"/>
                      <a:pt x="16445" y="21125"/>
                    </a:cubicBezTo>
                    <a:cubicBezTo>
                      <a:pt x="16178" y="21248"/>
                      <a:pt x="16178" y="21248"/>
                      <a:pt x="16178" y="21248"/>
                    </a:cubicBezTo>
                    <a:cubicBezTo>
                      <a:pt x="15899" y="21362"/>
                      <a:pt x="15899" y="21362"/>
                      <a:pt x="15899" y="21362"/>
                    </a:cubicBezTo>
                    <a:cubicBezTo>
                      <a:pt x="15816" y="21395"/>
                      <a:pt x="15724" y="21440"/>
                      <a:pt x="15629" y="21464"/>
                    </a:cubicBezTo>
                    <a:cubicBezTo>
                      <a:pt x="15442" y="21533"/>
                      <a:pt x="15255" y="21602"/>
                      <a:pt x="15068" y="21671"/>
                    </a:cubicBezTo>
                    <a:cubicBezTo>
                      <a:pt x="14311" y="21881"/>
                      <a:pt x="13537" y="22040"/>
                      <a:pt x="12736" y="22083"/>
                    </a:cubicBezTo>
                    <a:cubicBezTo>
                      <a:pt x="12455" y="22099"/>
                      <a:pt x="12455" y="22099"/>
                      <a:pt x="12455" y="22099"/>
                    </a:cubicBezTo>
                    <a:cubicBezTo>
                      <a:pt x="12390" y="22107"/>
                      <a:pt x="12345" y="22092"/>
                      <a:pt x="12302" y="22098"/>
                    </a:cubicBezTo>
                    <a:cubicBezTo>
                      <a:pt x="12149" y="22096"/>
                      <a:pt x="12149" y="22096"/>
                      <a:pt x="12149" y="22096"/>
                    </a:cubicBezTo>
                    <a:cubicBezTo>
                      <a:pt x="12008" y="22104"/>
                      <a:pt x="12008" y="22104"/>
                      <a:pt x="12008" y="22104"/>
                    </a:cubicBezTo>
                    <a:cubicBezTo>
                      <a:pt x="11932" y="22104"/>
                      <a:pt x="11932" y="22104"/>
                      <a:pt x="11932" y="22104"/>
                    </a:cubicBezTo>
                    <a:cubicBezTo>
                      <a:pt x="11856" y="22103"/>
                      <a:pt x="11856" y="22103"/>
                      <a:pt x="11856" y="22103"/>
                    </a:cubicBezTo>
                    <a:cubicBezTo>
                      <a:pt x="11560" y="22088"/>
                      <a:pt x="11560" y="22088"/>
                      <a:pt x="11560" y="22088"/>
                    </a:cubicBezTo>
                    <a:cubicBezTo>
                      <a:pt x="11462" y="22091"/>
                      <a:pt x="11361" y="22072"/>
                      <a:pt x="11263" y="22074"/>
                    </a:cubicBezTo>
                    <a:cubicBezTo>
                      <a:pt x="10964" y="22038"/>
                      <a:pt x="10964" y="22038"/>
                      <a:pt x="10964" y="22038"/>
                    </a:cubicBezTo>
                    <a:cubicBezTo>
                      <a:pt x="10677" y="22011"/>
                      <a:pt x="10677" y="22011"/>
                      <a:pt x="10677" y="22011"/>
                    </a:cubicBezTo>
                    <a:cubicBezTo>
                      <a:pt x="10522" y="21988"/>
                      <a:pt x="10522" y="21988"/>
                      <a:pt x="10522" y="21988"/>
                    </a:cubicBezTo>
                    <a:cubicBezTo>
                      <a:pt x="10476" y="21973"/>
                      <a:pt x="10421" y="21969"/>
                      <a:pt x="10388" y="21963"/>
                    </a:cubicBezTo>
                    <a:cubicBezTo>
                      <a:pt x="8826" y="21693"/>
                      <a:pt x="7336" y="21055"/>
                      <a:pt x="6078" y="20112"/>
                    </a:cubicBezTo>
                    <a:cubicBezTo>
                      <a:pt x="5438" y="19642"/>
                      <a:pt x="4876" y="19097"/>
                      <a:pt x="4360" y="18490"/>
                    </a:cubicBezTo>
                    <a:cubicBezTo>
                      <a:pt x="3865" y="17881"/>
                      <a:pt x="3438" y="17208"/>
                      <a:pt x="3082" y="16493"/>
                    </a:cubicBezTo>
                    <a:cubicBezTo>
                      <a:pt x="3086" y="16438"/>
                      <a:pt x="3113" y="16478"/>
                      <a:pt x="3137" y="16496"/>
                    </a:cubicBezTo>
                    <a:cubicBezTo>
                      <a:pt x="3185" y="16610"/>
                      <a:pt x="3221" y="16714"/>
                      <a:pt x="3277" y="16815"/>
                    </a:cubicBezTo>
                    <a:cubicBezTo>
                      <a:pt x="3334" y="16917"/>
                      <a:pt x="3404" y="17027"/>
                      <a:pt x="3461" y="17129"/>
                    </a:cubicBezTo>
                    <a:cubicBezTo>
                      <a:pt x="3503" y="17199"/>
                      <a:pt x="3503" y="17199"/>
                      <a:pt x="3503" y="17199"/>
                    </a:cubicBezTo>
                    <a:cubicBezTo>
                      <a:pt x="3530" y="17239"/>
                      <a:pt x="3530" y="17239"/>
                      <a:pt x="3530" y="17239"/>
                    </a:cubicBezTo>
                    <a:cubicBezTo>
                      <a:pt x="3557" y="17279"/>
                      <a:pt x="3557" y="17279"/>
                      <a:pt x="3557" y="17279"/>
                    </a:cubicBezTo>
                    <a:cubicBezTo>
                      <a:pt x="3596" y="17329"/>
                      <a:pt x="3614" y="17381"/>
                      <a:pt x="3653" y="17430"/>
                    </a:cubicBezTo>
                    <a:cubicBezTo>
                      <a:pt x="3692" y="17479"/>
                      <a:pt x="3710" y="17531"/>
                      <a:pt x="3749" y="17580"/>
                    </a:cubicBezTo>
                    <a:cubicBezTo>
                      <a:pt x="3767" y="17633"/>
                      <a:pt x="3806" y="17682"/>
                      <a:pt x="3824" y="17734"/>
                    </a:cubicBezTo>
                    <a:cubicBezTo>
                      <a:pt x="3870" y="17750"/>
                      <a:pt x="3885" y="17780"/>
                      <a:pt x="3924" y="17829"/>
                    </a:cubicBezTo>
                    <a:cubicBezTo>
                      <a:pt x="3927" y="17851"/>
                      <a:pt x="3909" y="17799"/>
                      <a:pt x="3875" y="17792"/>
                    </a:cubicBezTo>
                    <a:cubicBezTo>
                      <a:pt x="3917" y="17863"/>
                      <a:pt x="3999" y="17907"/>
                      <a:pt x="4008" y="17971"/>
                    </a:cubicBezTo>
                    <a:cubicBezTo>
                      <a:pt x="4056" y="18008"/>
                      <a:pt x="4026" y="17946"/>
                      <a:pt x="4075" y="17984"/>
                    </a:cubicBezTo>
                    <a:cubicBezTo>
                      <a:pt x="4098" y="18079"/>
                      <a:pt x="4180" y="18198"/>
                      <a:pt x="4258" y="18297"/>
                    </a:cubicBezTo>
                    <a:cubicBezTo>
                      <a:pt x="4309" y="18355"/>
                      <a:pt x="4348" y="18405"/>
                      <a:pt x="4400" y="18463"/>
                    </a:cubicBezTo>
                    <a:cubicBezTo>
                      <a:pt x="4439" y="18512"/>
                      <a:pt x="4500" y="18559"/>
                      <a:pt x="4548" y="18596"/>
                    </a:cubicBezTo>
                    <a:cubicBezTo>
                      <a:pt x="4614" y="18685"/>
                      <a:pt x="4669" y="18765"/>
                      <a:pt x="4735" y="18854"/>
                    </a:cubicBezTo>
                    <a:cubicBezTo>
                      <a:pt x="4810" y="18931"/>
                      <a:pt x="4886" y="19008"/>
                      <a:pt x="4971" y="19073"/>
                    </a:cubicBezTo>
                    <a:cubicBezTo>
                      <a:pt x="4983" y="19082"/>
                      <a:pt x="4986" y="19104"/>
                      <a:pt x="4974" y="19094"/>
                    </a:cubicBezTo>
                    <a:cubicBezTo>
                      <a:pt x="5010" y="19122"/>
                      <a:pt x="5034" y="19141"/>
                      <a:pt x="5061" y="19181"/>
                    </a:cubicBezTo>
                    <a:cubicBezTo>
                      <a:pt x="5098" y="19209"/>
                      <a:pt x="5134" y="19236"/>
                      <a:pt x="5161" y="19276"/>
                    </a:cubicBezTo>
                    <a:cubicBezTo>
                      <a:pt x="5234" y="19332"/>
                      <a:pt x="5309" y="19409"/>
                      <a:pt x="5373" y="19477"/>
                    </a:cubicBezTo>
                    <a:cubicBezTo>
                      <a:pt x="5446" y="19532"/>
                      <a:pt x="5497" y="19591"/>
                      <a:pt x="5558" y="19637"/>
                    </a:cubicBezTo>
                    <a:cubicBezTo>
                      <a:pt x="5630" y="19693"/>
                      <a:pt x="5679" y="19730"/>
                      <a:pt x="5737" y="19755"/>
                    </a:cubicBezTo>
                    <a:cubicBezTo>
                      <a:pt x="5764" y="19795"/>
                      <a:pt x="5718" y="19779"/>
                      <a:pt x="5767" y="19816"/>
                    </a:cubicBezTo>
                    <a:cubicBezTo>
                      <a:pt x="5791" y="19835"/>
                      <a:pt x="5764" y="19795"/>
                      <a:pt x="5761" y="19773"/>
                    </a:cubicBezTo>
                    <a:cubicBezTo>
                      <a:pt x="5776" y="19804"/>
                      <a:pt x="5800" y="19823"/>
                      <a:pt x="5812" y="19832"/>
                    </a:cubicBezTo>
                    <a:cubicBezTo>
                      <a:pt x="5836" y="19850"/>
                      <a:pt x="5861" y="19869"/>
                      <a:pt x="5873" y="19878"/>
                    </a:cubicBezTo>
                    <a:cubicBezTo>
                      <a:pt x="5900" y="19918"/>
                      <a:pt x="5948" y="19955"/>
                      <a:pt x="5985" y="19983"/>
                    </a:cubicBezTo>
                    <a:cubicBezTo>
                      <a:pt x="6058" y="20039"/>
                      <a:pt x="6130" y="20094"/>
                      <a:pt x="6224" y="20147"/>
                    </a:cubicBezTo>
                    <a:cubicBezTo>
                      <a:pt x="6297" y="20203"/>
                      <a:pt x="6379" y="20246"/>
                      <a:pt x="6464" y="20311"/>
                    </a:cubicBezTo>
                    <a:cubicBezTo>
                      <a:pt x="6500" y="20339"/>
                      <a:pt x="6537" y="20367"/>
                      <a:pt x="6573" y="20394"/>
                    </a:cubicBezTo>
                    <a:cubicBezTo>
                      <a:pt x="6622" y="20431"/>
                      <a:pt x="6658" y="20459"/>
                      <a:pt x="6706" y="20496"/>
                    </a:cubicBezTo>
                    <a:cubicBezTo>
                      <a:pt x="6759" y="20478"/>
                      <a:pt x="6919" y="20620"/>
                      <a:pt x="7004" y="20685"/>
                    </a:cubicBezTo>
                    <a:cubicBezTo>
                      <a:pt x="7156" y="20763"/>
                      <a:pt x="7290" y="20788"/>
                      <a:pt x="7332" y="20859"/>
                    </a:cubicBezTo>
                    <a:cubicBezTo>
                      <a:pt x="7411" y="20881"/>
                      <a:pt x="7481" y="20915"/>
                      <a:pt x="7539" y="20940"/>
                    </a:cubicBezTo>
                    <a:cubicBezTo>
                      <a:pt x="7609" y="20974"/>
                      <a:pt x="7669" y="21021"/>
                      <a:pt x="7730" y="21067"/>
                    </a:cubicBezTo>
                    <a:cubicBezTo>
                      <a:pt x="7809" y="21089"/>
                      <a:pt x="7703" y="21027"/>
                      <a:pt x="7782" y="21049"/>
                    </a:cubicBezTo>
                    <a:cubicBezTo>
                      <a:pt x="7791" y="21037"/>
                      <a:pt x="7816" y="21056"/>
                      <a:pt x="7831" y="21086"/>
                    </a:cubicBezTo>
                    <a:cubicBezTo>
                      <a:pt x="7843" y="21095"/>
                      <a:pt x="7855" y="21105"/>
                      <a:pt x="7834" y="21108"/>
                    </a:cubicBezTo>
                    <a:cubicBezTo>
                      <a:pt x="7943" y="21115"/>
                      <a:pt x="8007" y="21182"/>
                      <a:pt x="8120" y="21211"/>
                    </a:cubicBezTo>
                    <a:cubicBezTo>
                      <a:pt x="8144" y="21229"/>
                      <a:pt x="8122" y="21232"/>
                      <a:pt x="8101" y="21235"/>
                    </a:cubicBezTo>
                    <a:cubicBezTo>
                      <a:pt x="8177" y="21236"/>
                      <a:pt x="8235" y="21261"/>
                      <a:pt x="8293" y="21286"/>
                    </a:cubicBezTo>
                    <a:cubicBezTo>
                      <a:pt x="8351" y="21311"/>
                      <a:pt x="8409" y="21335"/>
                      <a:pt x="8476" y="21348"/>
                    </a:cubicBezTo>
                    <a:cubicBezTo>
                      <a:pt x="8472" y="21403"/>
                      <a:pt x="8488" y="21357"/>
                      <a:pt x="8573" y="21422"/>
                    </a:cubicBezTo>
                    <a:cubicBezTo>
                      <a:pt x="8570" y="21401"/>
                      <a:pt x="8625" y="21404"/>
                      <a:pt x="8670" y="21420"/>
                    </a:cubicBezTo>
                    <a:cubicBezTo>
                      <a:pt x="8661" y="21432"/>
                      <a:pt x="8685" y="21451"/>
                      <a:pt x="8710" y="21469"/>
                    </a:cubicBezTo>
                    <a:cubicBezTo>
                      <a:pt x="8817" y="21455"/>
                      <a:pt x="8953" y="21578"/>
                      <a:pt x="9139" y="21586"/>
                    </a:cubicBezTo>
                    <a:cubicBezTo>
                      <a:pt x="9163" y="21604"/>
                      <a:pt x="9175" y="21614"/>
                      <a:pt x="9154" y="21617"/>
                    </a:cubicBezTo>
                    <a:cubicBezTo>
                      <a:pt x="9255" y="21636"/>
                      <a:pt x="9425" y="21689"/>
                      <a:pt x="9584" y="21733"/>
                    </a:cubicBezTo>
                    <a:cubicBezTo>
                      <a:pt x="9742" y="21777"/>
                      <a:pt x="9885" y="21791"/>
                      <a:pt x="9907" y="21788"/>
                    </a:cubicBezTo>
                    <a:cubicBezTo>
                      <a:pt x="9974" y="21801"/>
                      <a:pt x="10020" y="21816"/>
                      <a:pt x="10077" y="21841"/>
                    </a:cubicBezTo>
                    <a:cubicBezTo>
                      <a:pt x="10132" y="21845"/>
                      <a:pt x="10178" y="21860"/>
                      <a:pt x="10242" y="21852"/>
                    </a:cubicBezTo>
                    <a:cubicBezTo>
                      <a:pt x="10288" y="21867"/>
                      <a:pt x="10358" y="21901"/>
                      <a:pt x="10425" y="21914"/>
                    </a:cubicBezTo>
                    <a:cubicBezTo>
                      <a:pt x="10458" y="21921"/>
                      <a:pt x="10480" y="21918"/>
                      <a:pt x="10513" y="21924"/>
                    </a:cubicBezTo>
                    <a:cubicBezTo>
                      <a:pt x="10526" y="21933"/>
                      <a:pt x="10547" y="21931"/>
                      <a:pt x="10568" y="21928"/>
                    </a:cubicBezTo>
                    <a:cubicBezTo>
                      <a:pt x="10657" y="21938"/>
                      <a:pt x="10745" y="21947"/>
                      <a:pt x="10825" y="21969"/>
                    </a:cubicBezTo>
                    <a:cubicBezTo>
                      <a:pt x="10913" y="21979"/>
                      <a:pt x="10989" y="21980"/>
                      <a:pt x="11078" y="21990"/>
                    </a:cubicBezTo>
                    <a:cubicBezTo>
                      <a:pt x="11166" y="22000"/>
                      <a:pt x="11243" y="22000"/>
                      <a:pt x="11331" y="22010"/>
                    </a:cubicBezTo>
                    <a:cubicBezTo>
                      <a:pt x="11453" y="22026"/>
                      <a:pt x="11453" y="22026"/>
                      <a:pt x="11453" y="22026"/>
                    </a:cubicBezTo>
                    <a:cubicBezTo>
                      <a:pt x="11585" y="22031"/>
                      <a:pt x="11585" y="22031"/>
                      <a:pt x="11585" y="22031"/>
                    </a:cubicBezTo>
                    <a:cubicBezTo>
                      <a:pt x="11749" y="22041"/>
                      <a:pt x="11924" y="22039"/>
                      <a:pt x="12098" y="22038"/>
                    </a:cubicBezTo>
                    <a:cubicBezTo>
                      <a:pt x="12174" y="22038"/>
                      <a:pt x="12272" y="22036"/>
                      <a:pt x="12348" y="22037"/>
                    </a:cubicBezTo>
                    <a:cubicBezTo>
                      <a:pt x="12403" y="22040"/>
                      <a:pt x="12446" y="22035"/>
                      <a:pt x="12489" y="22029"/>
                    </a:cubicBezTo>
                    <a:cubicBezTo>
                      <a:pt x="12535" y="22044"/>
                      <a:pt x="12577" y="22039"/>
                      <a:pt x="12620" y="22033"/>
                    </a:cubicBezTo>
                    <a:cubicBezTo>
                      <a:pt x="12663" y="22027"/>
                      <a:pt x="12639" y="22009"/>
                      <a:pt x="12660" y="22006"/>
                    </a:cubicBezTo>
                    <a:cubicBezTo>
                      <a:pt x="12727" y="22018"/>
                      <a:pt x="12737" y="22006"/>
                      <a:pt x="12828" y="22038"/>
                    </a:cubicBezTo>
                    <a:cubicBezTo>
                      <a:pt x="12880" y="22020"/>
                      <a:pt x="12923" y="22014"/>
                      <a:pt x="12987" y="22005"/>
                    </a:cubicBezTo>
                    <a:cubicBezTo>
                      <a:pt x="13030" y="21999"/>
                      <a:pt x="13094" y="21991"/>
                      <a:pt x="13137" y="21985"/>
                    </a:cubicBezTo>
                    <a:cubicBezTo>
                      <a:pt x="13201" y="21976"/>
                      <a:pt x="13256" y="21980"/>
                      <a:pt x="13320" y="21971"/>
                    </a:cubicBezTo>
                    <a:cubicBezTo>
                      <a:pt x="13363" y="21965"/>
                      <a:pt x="13428" y="21957"/>
                      <a:pt x="13492" y="21948"/>
                    </a:cubicBezTo>
                    <a:cubicBezTo>
                      <a:pt x="13599" y="21934"/>
                      <a:pt x="13727" y="21916"/>
                      <a:pt x="13844" y="21890"/>
                    </a:cubicBezTo>
                    <a:cubicBezTo>
                      <a:pt x="13960" y="21863"/>
                      <a:pt x="14076" y="21837"/>
                      <a:pt x="14181" y="21801"/>
                    </a:cubicBezTo>
                    <a:cubicBezTo>
                      <a:pt x="14224" y="21795"/>
                      <a:pt x="14205" y="21819"/>
                      <a:pt x="14248" y="21814"/>
                    </a:cubicBezTo>
                    <a:cubicBezTo>
                      <a:pt x="14291" y="21808"/>
                      <a:pt x="14333" y="21802"/>
                      <a:pt x="14373" y="21775"/>
                    </a:cubicBezTo>
                    <a:cubicBezTo>
                      <a:pt x="14490" y="21748"/>
                      <a:pt x="14490" y="21748"/>
                      <a:pt x="14490" y="21748"/>
                    </a:cubicBezTo>
                    <a:cubicBezTo>
                      <a:pt x="14585" y="21725"/>
                      <a:pt x="14668" y="21692"/>
                      <a:pt x="14753" y="21680"/>
                    </a:cubicBezTo>
                    <a:cubicBezTo>
                      <a:pt x="14741" y="21671"/>
                      <a:pt x="14693" y="21634"/>
                      <a:pt x="14846" y="21559"/>
                    </a:cubicBezTo>
                    <a:cubicBezTo>
                      <a:pt x="14892" y="21574"/>
                      <a:pt x="14852" y="21602"/>
                      <a:pt x="14959" y="21587"/>
                    </a:cubicBezTo>
                    <a:cubicBezTo>
                      <a:pt x="14992" y="21593"/>
                      <a:pt x="14870" y="21654"/>
                      <a:pt x="14845" y="21635"/>
                    </a:cubicBezTo>
                    <a:cubicBezTo>
                      <a:pt x="14787" y="21687"/>
                      <a:pt x="14967" y="21651"/>
                      <a:pt x="14952" y="21621"/>
                    </a:cubicBezTo>
                    <a:cubicBezTo>
                      <a:pt x="14995" y="21615"/>
                      <a:pt x="15060" y="21606"/>
                      <a:pt x="15121" y="21576"/>
                    </a:cubicBezTo>
                    <a:cubicBezTo>
                      <a:pt x="15185" y="21568"/>
                      <a:pt x="15237" y="21550"/>
                      <a:pt x="15289" y="21532"/>
                    </a:cubicBezTo>
                    <a:cubicBezTo>
                      <a:pt x="15403" y="21484"/>
                      <a:pt x="15504" y="21426"/>
                      <a:pt x="15624" y="21421"/>
                    </a:cubicBezTo>
                    <a:cubicBezTo>
                      <a:pt x="15670" y="21360"/>
                      <a:pt x="15805" y="21310"/>
                      <a:pt x="15924" y="21304"/>
                    </a:cubicBezTo>
                    <a:cubicBezTo>
                      <a:pt x="15955" y="21289"/>
                      <a:pt x="15943" y="21280"/>
                      <a:pt x="15921" y="21283"/>
                    </a:cubicBezTo>
                    <a:cubicBezTo>
                      <a:pt x="15973" y="21265"/>
                      <a:pt x="16013" y="21238"/>
                      <a:pt x="16056" y="21232"/>
                    </a:cubicBezTo>
                    <a:cubicBezTo>
                      <a:pt x="16139" y="21199"/>
                      <a:pt x="16139" y="21199"/>
                      <a:pt x="16139" y="21199"/>
                    </a:cubicBezTo>
                    <a:cubicBezTo>
                      <a:pt x="16161" y="21196"/>
                      <a:pt x="16191" y="21181"/>
                      <a:pt x="16201" y="21169"/>
                    </a:cubicBezTo>
                    <a:cubicBezTo>
                      <a:pt x="16314" y="21121"/>
                      <a:pt x="16406" y="21076"/>
                      <a:pt x="16510" y="21040"/>
                    </a:cubicBezTo>
                    <a:cubicBezTo>
                      <a:pt x="16520" y="21028"/>
                      <a:pt x="16486" y="21022"/>
                      <a:pt x="16517" y="21007"/>
                    </a:cubicBezTo>
                    <a:cubicBezTo>
                      <a:pt x="16578" y="20977"/>
                      <a:pt x="16649" y="20934"/>
                      <a:pt x="16732" y="20901"/>
                    </a:cubicBezTo>
                    <a:cubicBezTo>
                      <a:pt x="16803" y="20859"/>
                      <a:pt x="16883" y="20805"/>
                      <a:pt x="16965" y="20772"/>
                    </a:cubicBezTo>
                    <a:cubicBezTo>
                      <a:pt x="17036" y="20730"/>
                      <a:pt x="17107" y="20687"/>
                      <a:pt x="17168" y="20657"/>
                    </a:cubicBezTo>
                    <a:cubicBezTo>
                      <a:pt x="17239" y="20615"/>
                      <a:pt x="17300" y="20585"/>
                      <a:pt x="17352" y="20567"/>
                    </a:cubicBezTo>
                    <a:cubicBezTo>
                      <a:pt x="17362" y="20555"/>
                      <a:pt x="17340" y="20558"/>
                      <a:pt x="17340" y="20558"/>
                    </a:cubicBezTo>
                    <a:cubicBezTo>
                      <a:pt x="17482" y="20473"/>
                      <a:pt x="17611" y="20380"/>
                      <a:pt x="17762" y="20283"/>
                    </a:cubicBezTo>
                    <a:cubicBezTo>
                      <a:pt x="17903" y="20199"/>
                      <a:pt x="18042" y="20093"/>
                      <a:pt x="18183" y="20008"/>
                    </a:cubicBezTo>
                    <a:cubicBezTo>
                      <a:pt x="18220" y="19960"/>
                      <a:pt x="18282" y="19929"/>
                      <a:pt x="18340" y="19878"/>
                    </a:cubicBezTo>
                    <a:cubicBezTo>
                      <a:pt x="18399" y="19827"/>
                      <a:pt x="18457" y="19775"/>
                      <a:pt x="18525" y="19711"/>
                    </a:cubicBezTo>
                    <a:cubicBezTo>
                      <a:pt x="18584" y="19660"/>
                      <a:pt x="18655" y="19618"/>
                      <a:pt x="18723" y="19554"/>
                    </a:cubicBezTo>
                    <a:cubicBezTo>
                      <a:pt x="18781" y="19502"/>
                      <a:pt x="18840" y="19451"/>
                      <a:pt x="18898" y="19399"/>
                    </a:cubicBezTo>
                    <a:cubicBezTo>
                      <a:pt x="18945" y="19339"/>
                      <a:pt x="18874" y="19381"/>
                      <a:pt x="18920" y="19320"/>
                    </a:cubicBezTo>
                    <a:cubicBezTo>
                      <a:pt x="18930" y="19308"/>
                      <a:pt x="18948" y="19284"/>
                      <a:pt x="18970" y="19281"/>
                    </a:cubicBezTo>
                    <a:cubicBezTo>
                      <a:pt x="18975" y="19324"/>
                      <a:pt x="19015" y="19297"/>
                      <a:pt x="19074" y="19245"/>
                    </a:cubicBezTo>
                    <a:cubicBezTo>
                      <a:pt x="19142" y="19181"/>
                      <a:pt x="19198" y="19108"/>
                      <a:pt x="19247" y="19069"/>
                    </a:cubicBezTo>
                    <a:cubicBezTo>
                      <a:pt x="19241" y="19026"/>
                      <a:pt x="19179" y="19133"/>
                      <a:pt x="19158" y="19136"/>
                    </a:cubicBezTo>
                    <a:cubicBezTo>
                      <a:pt x="19115" y="19141"/>
                      <a:pt x="19192" y="19066"/>
                      <a:pt x="19211" y="19041"/>
                    </a:cubicBezTo>
                    <a:cubicBezTo>
                      <a:pt x="19284" y="19020"/>
                      <a:pt x="19352" y="18957"/>
                      <a:pt x="19429" y="18881"/>
                    </a:cubicBezTo>
                    <a:cubicBezTo>
                      <a:pt x="19497" y="18817"/>
                      <a:pt x="19562" y="18732"/>
                      <a:pt x="19630" y="18669"/>
                    </a:cubicBezTo>
                    <a:cubicBezTo>
                      <a:pt x="19676" y="18608"/>
                      <a:pt x="19606" y="18650"/>
                      <a:pt x="19652" y="18589"/>
                    </a:cubicBezTo>
                    <a:cubicBezTo>
                      <a:pt x="19661" y="18577"/>
                      <a:pt x="19692" y="18562"/>
                      <a:pt x="19689" y="18541"/>
                    </a:cubicBezTo>
                    <a:cubicBezTo>
                      <a:pt x="19720" y="18526"/>
                      <a:pt x="19683" y="18574"/>
                      <a:pt x="19676" y="18608"/>
                    </a:cubicBezTo>
                    <a:cubicBezTo>
                      <a:pt x="19726" y="18569"/>
                      <a:pt x="19775" y="18529"/>
                      <a:pt x="19788" y="18462"/>
                    </a:cubicBezTo>
                    <a:cubicBezTo>
                      <a:pt x="19776" y="18453"/>
                      <a:pt x="19726" y="18492"/>
                      <a:pt x="19764" y="18444"/>
                    </a:cubicBezTo>
                    <a:cubicBezTo>
                      <a:pt x="19733" y="18459"/>
                      <a:pt x="19717" y="18504"/>
                      <a:pt x="19686" y="18519"/>
                    </a:cubicBezTo>
                    <a:cubicBezTo>
                      <a:pt x="19693" y="18486"/>
                      <a:pt x="19712" y="18461"/>
                      <a:pt x="19730" y="18437"/>
                    </a:cubicBezTo>
                    <a:cubicBezTo>
                      <a:pt x="19749" y="18413"/>
                      <a:pt x="19767" y="18389"/>
                      <a:pt x="19774" y="18355"/>
                    </a:cubicBezTo>
                    <a:cubicBezTo>
                      <a:pt x="19847" y="18334"/>
                      <a:pt x="19872" y="18276"/>
                      <a:pt x="19909" y="18228"/>
                    </a:cubicBezTo>
                    <a:cubicBezTo>
                      <a:pt x="19943" y="18234"/>
                      <a:pt x="19835" y="18325"/>
                      <a:pt x="19819" y="18371"/>
                    </a:cubicBezTo>
                    <a:cubicBezTo>
                      <a:pt x="19930" y="18301"/>
                      <a:pt x="19804" y="18416"/>
                      <a:pt x="19788" y="18462"/>
                    </a:cubicBezTo>
                    <a:cubicBezTo>
                      <a:pt x="19926" y="18356"/>
                      <a:pt x="19881" y="18341"/>
                      <a:pt x="20017" y="18213"/>
                    </a:cubicBezTo>
                    <a:cubicBezTo>
                      <a:pt x="20035" y="18189"/>
                      <a:pt x="19967" y="18253"/>
                      <a:pt x="19964" y="18231"/>
                    </a:cubicBezTo>
                    <a:cubicBezTo>
                      <a:pt x="19971" y="18198"/>
                      <a:pt x="19992" y="18195"/>
                      <a:pt x="20002" y="18183"/>
                    </a:cubicBezTo>
                    <a:cubicBezTo>
                      <a:pt x="20008" y="18149"/>
                      <a:pt x="19999" y="18161"/>
                      <a:pt x="19971" y="18198"/>
                    </a:cubicBezTo>
                    <a:cubicBezTo>
                      <a:pt x="20002" y="18106"/>
                      <a:pt x="20058" y="18033"/>
                      <a:pt x="20099" y="17930"/>
                    </a:cubicBezTo>
                    <a:cubicBezTo>
                      <a:pt x="20127" y="17893"/>
                      <a:pt x="20155" y="17857"/>
                      <a:pt x="20160" y="17900"/>
                    </a:cubicBezTo>
                    <a:cubicBezTo>
                      <a:pt x="20216" y="17827"/>
                      <a:pt x="20214" y="17729"/>
                      <a:pt x="20282" y="17665"/>
                    </a:cubicBezTo>
                    <a:cubicBezTo>
                      <a:pt x="20303" y="17662"/>
                      <a:pt x="20294" y="17674"/>
                      <a:pt x="20288" y="17708"/>
                    </a:cubicBezTo>
                    <a:cubicBezTo>
                      <a:pt x="20278" y="17720"/>
                      <a:pt x="20272" y="17754"/>
                      <a:pt x="20263" y="17766"/>
                    </a:cubicBezTo>
                    <a:cubicBezTo>
                      <a:pt x="20312" y="17726"/>
                      <a:pt x="20325" y="17659"/>
                      <a:pt x="20303" y="17662"/>
                    </a:cubicBezTo>
                    <a:cubicBezTo>
                      <a:pt x="20307" y="17607"/>
                      <a:pt x="20381" y="17586"/>
                      <a:pt x="20393" y="17519"/>
                    </a:cubicBezTo>
                    <a:cubicBezTo>
                      <a:pt x="20415" y="17516"/>
                      <a:pt x="20390" y="17574"/>
                      <a:pt x="20448" y="17523"/>
                    </a:cubicBezTo>
                    <a:cubicBezTo>
                      <a:pt x="20452" y="17468"/>
                      <a:pt x="20484" y="17376"/>
                      <a:pt x="20530" y="17316"/>
                    </a:cubicBezTo>
                    <a:cubicBezTo>
                      <a:pt x="20574" y="17233"/>
                      <a:pt x="20620" y="17173"/>
                      <a:pt x="20644" y="17191"/>
                    </a:cubicBezTo>
                    <a:cubicBezTo>
                      <a:pt x="20679" y="17121"/>
                      <a:pt x="20725" y="17060"/>
                      <a:pt x="20745" y="16960"/>
                    </a:cubicBezTo>
                    <a:cubicBezTo>
                      <a:pt x="20837" y="16914"/>
                      <a:pt x="20857" y="16737"/>
                      <a:pt x="20921" y="16729"/>
                    </a:cubicBezTo>
                    <a:cubicBezTo>
                      <a:pt x="20913" y="16664"/>
                      <a:pt x="20956" y="16582"/>
                      <a:pt x="21012" y="16509"/>
                    </a:cubicBezTo>
                    <a:cubicBezTo>
                      <a:pt x="21040" y="16473"/>
                      <a:pt x="21068" y="16436"/>
                      <a:pt x="21083" y="16391"/>
                    </a:cubicBezTo>
                    <a:cubicBezTo>
                      <a:pt x="21099" y="16345"/>
                      <a:pt x="21127" y="16308"/>
                      <a:pt x="21131" y="16253"/>
                    </a:cubicBezTo>
                    <a:cubicBezTo>
                      <a:pt x="21165" y="16183"/>
                      <a:pt x="21199" y="16113"/>
                      <a:pt x="21234" y="16043"/>
                    </a:cubicBezTo>
                    <a:cubicBezTo>
                      <a:pt x="21268" y="15973"/>
                      <a:pt x="21290" y="15894"/>
                      <a:pt x="21337" y="15833"/>
                    </a:cubicBezTo>
                    <a:cubicBezTo>
                      <a:pt x="21365" y="15797"/>
                      <a:pt x="21305" y="15925"/>
                      <a:pt x="21349" y="15843"/>
                    </a:cubicBezTo>
                    <a:cubicBezTo>
                      <a:pt x="21401" y="15574"/>
                      <a:pt x="21549" y="15380"/>
                      <a:pt x="21613" y="15120"/>
                    </a:cubicBezTo>
                    <a:cubicBezTo>
                      <a:pt x="21585" y="15157"/>
                      <a:pt x="21588" y="15178"/>
                      <a:pt x="21560" y="15215"/>
                    </a:cubicBezTo>
                    <a:cubicBezTo>
                      <a:pt x="21539" y="15217"/>
                      <a:pt x="21554" y="15172"/>
                      <a:pt x="21536" y="15196"/>
                    </a:cubicBezTo>
                    <a:cubicBezTo>
                      <a:pt x="21542" y="15162"/>
                      <a:pt x="21561" y="15138"/>
                      <a:pt x="21570" y="15126"/>
                    </a:cubicBezTo>
                    <a:cubicBezTo>
                      <a:pt x="21614" y="15044"/>
                      <a:pt x="21614" y="15044"/>
                      <a:pt x="21614" y="15044"/>
                    </a:cubicBezTo>
                    <a:cubicBezTo>
                      <a:pt x="21630" y="14998"/>
                      <a:pt x="21655" y="14940"/>
                      <a:pt x="21680" y="14882"/>
                    </a:cubicBezTo>
                    <a:cubicBezTo>
                      <a:pt x="21665" y="14852"/>
                      <a:pt x="21652" y="14919"/>
                      <a:pt x="21642" y="14931"/>
                    </a:cubicBezTo>
                    <a:cubicBezTo>
                      <a:pt x="21602" y="14958"/>
                      <a:pt x="21665" y="14852"/>
                      <a:pt x="21638" y="14812"/>
                    </a:cubicBezTo>
                    <a:cubicBezTo>
                      <a:pt x="21659" y="14809"/>
                      <a:pt x="21668" y="14797"/>
                      <a:pt x="21684" y="14751"/>
                    </a:cubicBezTo>
                    <a:cubicBezTo>
                      <a:pt x="21691" y="14717"/>
                      <a:pt x="21676" y="14687"/>
                      <a:pt x="21682" y="14653"/>
                    </a:cubicBezTo>
                    <a:cubicBezTo>
                      <a:pt x="21688" y="14619"/>
                      <a:pt x="21716" y="14583"/>
                      <a:pt x="21723" y="14549"/>
                    </a:cubicBezTo>
                    <a:cubicBezTo>
                      <a:pt x="21754" y="14458"/>
                      <a:pt x="21789" y="14388"/>
                      <a:pt x="21777" y="14302"/>
                    </a:cubicBezTo>
                    <a:cubicBezTo>
                      <a:pt x="21812" y="14232"/>
                      <a:pt x="21824" y="14241"/>
                      <a:pt x="21823" y="14318"/>
                    </a:cubicBezTo>
                    <a:cubicBezTo>
                      <a:pt x="21860" y="14269"/>
                      <a:pt x="21855" y="14226"/>
                      <a:pt x="21880" y="14169"/>
                    </a:cubicBezTo>
                    <a:cubicBezTo>
                      <a:pt x="21877" y="14147"/>
                      <a:pt x="21852" y="14205"/>
                      <a:pt x="21842" y="14217"/>
                    </a:cubicBezTo>
                    <a:cubicBezTo>
                      <a:pt x="21812" y="14156"/>
                      <a:pt x="21828" y="14110"/>
                      <a:pt x="21844" y="14064"/>
                    </a:cubicBezTo>
                    <a:cubicBezTo>
                      <a:pt x="21863" y="14040"/>
                      <a:pt x="21865" y="14061"/>
                      <a:pt x="21871" y="14104"/>
                    </a:cubicBezTo>
                    <a:cubicBezTo>
                      <a:pt x="21875" y="13973"/>
                      <a:pt x="21913" y="13848"/>
                      <a:pt x="21939" y="13714"/>
                    </a:cubicBezTo>
                    <a:cubicBezTo>
                      <a:pt x="21949" y="13701"/>
                      <a:pt x="21957" y="13766"/>
                      <a:pt x="21979" y="13686"/>
                    </a:cubicBezTo>
                    <a:cubicBezTo>
                      <a:pt x="21925" y="13606"/>
                      <a:pt x="22036" y="13210"/>
                      <a:pt x="22007" y="13072"/>
                    </a:cubicBezTo>
                    <a:cubicBezTo>
                      <a:pt x="22047" y="13045"/>
                      <a:pt x="22058" y="12880"/>
                      <a:pt x="22075" y="13008"/>
                    </a:cubicBezTo>
                    <a:cubicBezTo>
                      <a:pt x="22085" y="12920"/>
                      <a:pt x="22064" y="12923"/>
                      <a:pt x="22039" y="12904"/>
                    </a:cubicBezTo>
                    <a:cubicBezTo>
                      <a:pt x="22046" y="12871"/>
                      <a:pt x="22064" y="12846"/>
                      <a:pt x="22083" y="12822"/>
                    </a:cubicBezTo>
                    <a:cubicBezTo>
                      <a:pt x="22080" y="12801"/>
                      <a:pt x="22089" y="12788"/>
                      <a:pt x="22099" y="12776"/>
                    </a:cubicBezTo>
                    <a:cubicBezTo>
                      <a:pt x="22096" y="12755"/>
                      <a:pt x="22093" y="12733"/>
                      <a:pt x="22100" y="12700"/>
                    </a:cubicBezTo>
                    <a:cubicBezTo>
                      <a:pt x="22072" y="12736"/>
                      <a:pt x="22099" y="12776"/>
                      <a:pt x="22071" y="12813"/>
                    </a:cubicBezTo>
                    <a:cubicBezTo>
                      <a:pt x="22068" y="12791"/>
                      <a:pt x="22056" y="12782"/>
                      <a:pt x="22056" y="12782"/>
                    </a:cubicBezTo>
                    <a:cubicBezTo>
                      <a:pt x="22066" y="12693"/>
                      <a:pt x="22076" y="12605"/>
                      <a:pt x="22086" y="12516"/>
                    </a:cubicBezTo>
                    <a:cubicBezTo>
                      <a:pt x="22090" y="12461"/>
                      <a:pt x="22093" y="12406"/>
                      <a:pt x="22088" y="12363"/>
                    </a:cubicBezTo>
                    <a:cubicBezTo>
                      <a:pt x="22085" y="12342"/>
                      <a:pt x="22082" y="12321"/>
                      <a:pt x="22089" y="12287"/>
                    </a:cubicBezTo>
                    <a:cubicBezTo>
                      <a:pt x="22086" y="12266"/>
                      <a:pt x="22083" y="12244"/>
                      <a:pt x="22068" y="12214"/>
                    </a:cubicBezTo>
                    <a:cubicBezTo>
                      <a:pt x="22114" y="12229"/>
                      <a:pt x="22102" y="12220"/>
                      <a:pt x="22136" y="12150"/>
                    </a:cubicBezTo>
                    <a:cubicBezTo>
                      <a:pt x="22118" y="12098"/>
                      <a:pt x="22105" y="12165"/>
                      <a:pt x="22077" y="12201"/>
                    </a:cubicBezTo>
                    <a:cubicBezTo>
                      <a:pt x="22030" y="12088"/>
                      <a:pt x="22116" y="12000"/>
                      <a:pt x="22059" y="11899"/>
                    </a:cubicBezTo>
                    <a:cubicBezTo>
                      <a:pt x="22088" y="11786"/>
                      <a:pt x="22120" y="11945"/>
                      <a:pt x="22133" y="11878"/>
                    </a:cubicBezTo>
                    <a:cubicBezTo>
                      <a:pt x="22112" y="11804"/>
                      <a:pt x="22084" y="11841"/>
                      <a:pt x="22060" y="11822"/>
                    </a:cubicBezTo>
                    <a:cubicBezTo>
                      <a:pt x="22039" y="11749"/>
                      <a:pt x="22082" y="11743"/>
                      <a:pt x="22076" y="11700"/>
                    </a:cubicBezTo>
                    <a:cubicBezTo>
                      <a:pt x="22086" y="11688"/>
                      <a:pt x="22103" y="11740"/>
                      <a:pt x="22106" y="11761"/>
                    </a:cubicBezTo>
                    <a:cubicBezTo>
                      <a:pt x="22119" y="11694"/>
                      <a:pt x="22084" y="11590"/>
                      <a:pt x="22068" y="11636"/>
                    </a:cubicBezTo>
                    <a:cubicBezTo>
                      <a:pt x="22103" y="11489"/>
                      <a:pt x="22072" y="11504"/>
                      <a:pt x="22113" y="11401"/>
                    </a:cubicBezTo>
                    <a:cubicBezTo>
                      <a:pt x="22075" y="11275"/>
                      <a:pt x="22084" y="11263"/>
                      <a:pt x="22088" y="11132"/>
                    </a:cubicBezTo>
                    <a:cubicBezTo>
                      <a:pt x="22076" y="11122"/>
                      <a:pt x="22063" y="11189"/>
                      <a:pt x="22040" y="11094"/>
                    </a:cubicBezTo>
                    <a:cubicBezTo>
                      <a:pt x="22008" y="11186"/>
                      <a:pt x="22008" y="11186"/>
                      <a:pt x="22008" y="11186"/>
                    </a:cubicBezTo>
                    <a:cubicBezTo>
                      <a:pt x="22017" y="11250"/>
                      <a:pt x="22057" y="11223"/>
                      <a:pt x="22023" y="11293"/>
                    </a:cubicBezTo>
                    <a:cubicBezTo>
                      <a:pt x="22040" y="11345"/>
                      <a:pt x="22038" y="11324"/>
                      <a:pt x="22047" y="11312"/>
                    </a:cubicBezTo>
                    <a:cubicBezTo>
                      <a:pt x="22052" y="11431"/>
                      <a:pt x="22088" y="11786"/>
                      <a:pt x="22024" y="11718"/>
                    </a:cubicBezTo>
                    <a:cubicBezTo>
                      <a:pt x="21996" y="11754"/>
                      <a:pt x="22045" y="11791"/>
                      <a:pt x="22051" y="11834"/>
                    </a:cubicBezTo>
                    <a:cubicBezTo>
                      <a:pt x="22026" y="11892"/>
                      <a:pt x="22008" y="11840"/>
                      <a:pt x="21987" y="11767"/>
                    </a:cubicBezTo>
                    <a:cubicBezTo>
                      <a:pt x="21993" y="11809"/>
                      <a:pt x="21985" y="11996"/>
                      <a:pt x="22019" y="11926"/>
                    </a:cubicBezTo>
                    <a:cubicBezTo>
                      <a:pt x="22030" y="12011"/>
                      <a:pt x="21996" y="12082"/>
                      <a:pt x="22041" y="12174"/>
                    </a:cubicBezTo>
                    <a:cubicBezTo>
                      <a:pt x="22013" y="12210"/>
                      <a:pt x="22008" y="12091"/>
                      <a:pt x="21990" y="12115"/>
                    </a:cubicBezTo>
                    <a:cubicBezTo>
                      <a:pt x="21971" y="12139"/>
                      <a:pt x="21979" y="12204"/>
                      <a:pt x="21976" y="12259"/>
                    </a:cubicBezTo>
                    <a:cubicBezTo>
                      <a:pt x="21994" y="12311"/>
                      <a:pt x="21987" y="12344"/>
                      <a:pt x="21951" y="12317"/>
                    </a:cubicBezTo>
                    <a:cubicBezTo>
                      <a:pt x="21935" y="12362"/>
                      <a:pt x="21971" y="12390"/>
                      <a:pt x="21978" y="12356"/>
                    </a:cubicBezTo>
                    <a:cubicBezTo>
                      <a:pt x="21977" y="12433"/>
                      <a:pt x="21973" y="12488"/>
                      <a:pt x="21951" y="12567"/>
                    </a:cubicBezTo>
                    <a:cubicBezTo>
                      <a:pt x="21963" y="12576"/>
                      <a:pt x="21973" y="12564"/>
                      <a:pt x="21976" y="12586"/>
                    </a:cubicBezTo>
                    <a:cubicBezTo>
                      <a:pt x="21981" y="12629"/>
                      <a:pt x="21965" y="12674"/>
                      <a:pt x="21971" y="12717"/>
                    </a:cubicBezTo>
                    <a:cubicBezTo>
                      <a:pt x="21971" y="12717"/>
                      <a:pt x="21959" y="12708"/>
                      <a:pt x="21947" y="12699"/>
                    </a:cubicBezTo>
                    <a:cubicBezTo>
                      <a:pt x="21958" y="12784"/>
                      <a:pt x="21957" y="12861"/>
                      <a:pt x="21947" y="12949"/>
                    </a:cubicBezTo>
                    <a:cubicBezTo>
                      <a:pt x="21946" y="13026"/>
                      <a:pt x="21924" y="13105"/>
                      <a:pt x="21923" y="13181"/>
                    </a:cubicBezTo>
                    <a:cubicBezTo>
                      <a:pt x="21896" y="13218"/>
                      <a:pt x="21927" y="13126"/>
                      <a:pt x="21903" y="13108"/>
                    </a:cubicBezTo>
                    <a:cubicBezTo>
                      <a:pt x="21866" y="13157"/>
                      <a:pt x="21896" y="13218"/>
                      <a:pt x="21858" y="13267"/>
                    </a:cubicBezTo>
                    <a:cubicBezTo>
                      <a:pt x="21859" y="13190"/>
                      <a:pt x="21860" y="13114"/>
                      <a:pt x="21894" y="13044"/>
                    </a:cubicBezTo>
                    <a:cubicBezTo>
                      <a:pt x="21879" y="13013"/>
                      <a:pt x="21892" y="12946"/>
                      <a:pt x="21893" y="12869"/>
                    </a:cubicBezTo>
                    <a:cubicBezTo>
                      <a:pt x="21900" y="12836"/>
                      <a:pt x="21906" y="12802"/>
                      <a:pt x="21912" y="12769"/>
                    </a:cubicBezTo>
                    <a:cubicBezTo>
                      <a:pt x="21919" y="12735"/>
                      <a:pt x="21913" y="12692"/>
                      <a:pt x="21910" y="12671"/>
                    </a:cubicBezTo>
                    <a:cubicBezTo>
                      <a:pt x="21904" y="12704"/>
                      <a:pt x="21907" y="12726"/>
                      <a:pt x="21900" y="12759"/>
                    </a:cubicBezTo>
                    <a:cubicBezTo>
                      <a:pt x="21894" y="12793"/>
                      <a:pt x="21897" y="12814"/>
                      <a:pt x="21890" y="12848"/>
                    </a:cubicBezTo>
                    <a:cubicBezTo>
                      <a:pt x="21887" y="12903"/>
                      <a:pt x="21874" y="12970"/>
                      <a:pt x="21870" y="13025"/>
                    </a:cubicBezTo>
                    <a:cubicBezTo>
                      <a:pt x="21851" y="13126"/>
                      <a:pt x="21843" y="13236"/>
                      <a:pt x="21824" y="13337"/>
                    </a:cubicBezTo>
                    <a:cubicBezTo>
                      <a:pt x="21842" y="13389"/>
                      <a:pt x="21849" y="13279"/>
                      <a:pt x="21858" y="13267"/>
                    </a:cubicBezTo>
                    <a:cubicBezTo>
                      <a:pt x="21875" y="13395"/>
                      <a:pt x="21796" y="13373"/>
                      <a:pt x="21813" y="13502"/>
                    </a:cubicBezTo>
                    <a:cubicBezTo>
                      <a:pt x="21820" y="13468"/>
                      <a:pt x="21826" y="13434"/>
                      <a:pt x="21833" y="13401"/>
                    </a:cubicBezTo>
                    <a:cubicBezTo>
                      <a:pt x="21862" y="13462"/>
                      <a:pt x="21822" y="13489"/>
                      <a:pt x="21840" y="13542"/>
                    </a:cubicBezTo>
                    <a:cubicBezTo>
                      <a:pt x="21815" y="13599"/>
                      <a:pt x="21810" y="13557"/>
                      <a:pt x="21816" y="13523"/>
                    </a:cubicBezTo>
                    <a:cubicBezTo>
                      <a:pt x="21810" y="13557"/>
                      <a:pt x="21803" y="13590"/>
                      <a:pt x="21785" y="13614"/>
                    </a:cubicBezTo>
                    <a:cubicBezTo>
                      <a:pt x="21833" y="13652"/>
                      <a:pt x="21744" y="13969"/>
                      <a:pt x="21709" y="14115"/>
                    </a:cubicBezTo>
                    <a:cubicBezTo>
                      <a:pt x="21669" y="14142"/>
                      <a:pt x="21731" y="14036"/>
                      <a:pt x="21716" y="14005"/>
                    </a:cubicBezTo>
                    <a:cubicBezTo>
                      <a:pt x="21713" y="14060"/>
                      <a:pt x="21700" y="14127"/>
                      <a:pt x="21687" y="14194"/>
                    </a:cubicBezTo>
                    <a:cubicBezTo>
                      <a:pt x="21662" y="14252"/>
                      <a:pt x="21658" y="14307"/>
                      <a:pt x="21645" y="14375"/>
                    </a:cubicBezTo>
                    <a:cubicBezTo>
                      <a:pt x="21607" y="14500"/>
                      <a:pt x="21569" y="14625"/>
                      <a:pt x="21531" y="14750"/>
                    </a:cubicBezTo>
                    <a:cubicBezTo>
                      <a:pt x="21510" y="14752"/>
                      <a:pt x="21514" y="14697"/>
                      <a:pt x="21511" y="14676"/>
                    </a:cubicBezTo>
                    <a:cubicBezTo>
                      <a:pt x="21464" y="14737"/>
                      <a:pt x="21485" y="14810"/>
                      <a:pt x="21506" y="14807"/>
                    </a:cubicBezTo>
                    <a:cubicBezTo>
                      <a:pt x="21478" y="14920"/>
                      <a:pt x="21473" y="14801"/>
                      <a:pt x="21432" y="14905"/>
                    </a:cubicBezTo>
                    <a:cubicBezTo>
                      <a:pt x="21413" y="15005"/>
                      <a:pt x="21478" y="14844"/>
                      <a:pt x="21475" y="14899"/>
                    </a:cubicBezTo>
                    <a:cubicBezTo>
                      <a:pt x="21468" y="14933"/>
                      <a:pt x="21453" y="14978"/>
                      <a:pt x="21446" y="15012"/>
                    </a:cubicBezTo>
                    <a:cubicBezTo>
                      <a:pt x="21440" y="15045"/>
                      <a:pt x="21424" y="15091"/>
                      <a:pt x="21417" y="15125"/>
                    </a:cubicBezTo>
                    <a:cubicBezTo>
                      <a:pt x="21395" y="15204"/>
                      <a:pt x="21373" y="15283"/>
                      <a:pt x="21327" y="15344"/>
                    </a:cubicBezTo>
                    <a:cubicBezTo>
                      <a:pt x="21347" y="15418"/>
                      <a:pt x="21310" y="15466"/>
                      <a:pt x="21291" y="15567"/>
                    </a:cubicBezTo>
                    <a:cubicBezTo>
                      <a:pt x="21244" y="15628"/>
                      <a:pt x="21248" y="15573"/>
                      <a:pt x="21211" y="15621"/>
                    </a:cubicBezTo>
                    <a:cubicBezTo>
                      <a:pt x="21194" y="15743"/>
                      <a:pt x="21153" y="15847"/>
                      <a:pt x="21103" y="15963"/>
                    </a:cubicBezTo>
                    <a:cubicBezTo>
                      <a:pt x="21072" y="15978"/>
                      <a:pt x="21123" y="15862"/>
                      <a:pt x="21129" y="15829"/>
                    </a:cubicBezTo>
                    <a:cubicBezTo>
                      <a:pt x="21110" y="15853"/>
                      <a:pt x="21085" y="15911"/>
                      <a:pt x="21070" y="15956"/>
                    </a:cubicBezTo>
                    <a:cubicBezTo>
                      <a:pt x="21045" y="16014"/>
                      <a:pt x="21041" y="16069"/>
                      <a:pt x="21028" y="16136"/>
                    </a:cubicBezTo>
                    <a:cubicBezTo>
                      <a:pt x="20991" y="16185"/>
                      <a:pt x="21001" y="16097"/>
                      <a:pt x="20976" y="16154"/>
                    </a:cubicBezTo>
                    <a:cubicBezTo>
                      <a:pt x="20967" y="16090"/>
                      <a:pt x="21014" y="16029"/>
                      <a:pt x="21002" y="16020"/>
                    </a:cubicBezTo>
                    <a:cubicBezTo>
                      <a:pt x="20940" y="16127"/>
                      <a:pt x="20908" y="16218"/>
                      <a:pt x="20877" y="16310"/>
                    </a:cubicBezTo>
                    <a:cubicBezTo>
                      <a:pt x="20867" y="16322"/>
                      <a:pt x="20861" y="16355"/>
                      <a:pt x="20852" y="16367"/>
                    </a:cubicBezTo>
                    <a:cubicBezTo>
                      <a:pt x="20845" y="16401"/>
                      <a:pt x="20836" y="16413"/>
                      <a:pt x="20829" y="16447"/>
                    </a:cubicBezTo>
                    <a:cubicBezTo>
                      <a:pt x="20814" y="16492"/>
                      <a:pt x="20798" y="16538"/>
                      <a:pt x="20782" y="16584"/>
                    </a:cubicBezTo>
                    <a:cubicBezTo>
                      <a:pt x="20717" y="16669"/>
                      <a:pt x="20783" y="16507"/>
                      <a:pt x="20724" y="16559"/>
                    </a:cubicBezTo>
                    <a:cubicBezTo>
                      <a:pt x="20656" y="16699"/>
                      <a:pt x="20656" y="16699"/>
                      <a:pt x="20656" y="16699"/>
                    </a:cubicBezTo>
                    <a:cubicBezTo>
                      <a:pt x="20640" y="16745"/>
                      <a:pt x="20612" y="16781"/>
                      <a:pt x="20596" y="16827"/>
                    </a:cubicBezTo>
                    <a:cubicBezTo>
                      <a:pt x="20531" y="16912"/>
                      <a:pt x="20488" y="16994"/>
                      <a:pt x="20410" y="17070"/>
                    </a:cubicBezTo>
                    <a:cubicBezTo>
                      <a:pt x="20407" y="17125"/>
                      <a:pt x="20388" y="17149"/>
                      <a:pt x="20360" y="17186"/>
                    </a:cubicBezTo>
                    <a:cubicBezTo>
                      <a:pt x="20342" y="17210"/>
                      <a:pt x="20323" y="17234"/>
                      <a:pt x="20305" y="17259"/>
                    </a:cubicBezTo>
                    <a:cubicBezTo>
                      <a:pt x="20298" y="17292"/>
                      <a:pt x="20335" y="17244"/>
                      <a:pt x="20310" y="17302"/>
                    </a:cubicBezTo>
                    <a:cubicBezTo>
                      <a:pt x="20252" y="17353"/>
                      <a:pt x="20189" y="17460"/>
                      <a:pt x="20136" y="17554"/>
                    </a:cubicBezTo>
                    <a:cubicBezTo>
                      <a:pt x="20121" y="17600"/>
                      <a:pt x="20093" y="17636"/>
                      <a:pt x="20074" y="17660"/>
                    </a:cubicBezTo>
                    <a:cubicBezTo>
                      <a:pt x="20046" y="17697"/>
                      <a:pt x="20025" y="17700"/>
                      <a:pt x="20004" y="17703"/>
                    </a:cubicBezTo>
                    <a:cubicBezTo>
                      <a:pt x="19976" y="17739"/>
                      <a:pt x="19929" y="17800"/>
                      <a:pt x="19892" y="17848"/>
                    </a:cubicBezTo>
                    <a:cubicBezTo>
                      <a:pt x="19855" y="17897"/>
                      <a:pt x="19830" y="17955"/>
                      <a:pt x="19771" y="18006"/>
                    </a:cubicBezTo>
                    <a:cubicBezTo>
                      <a:pt x="19697" y="18104"/>
                      <a:pt x="19610" y="18192"/>
                      <a:pt x="19579" y="18283"/>
                    </a:cubicBezTo>
                    <a:cubicBezTo>
                      <a:pt x="19558" y="18286"/>
                      <a:pt x="19539" y="18310"/>
                      <a:pt x="19508" y="18325"/>
                    </a:cubicBezTo>
                    <a:cubicBezTo>
                      <a:pt x="19490" y="18350"/>
                      <a:pt x="19471" y="18374"/>
                      <a:pt x="19452" y="18398"/>
                    </a:cubicBezTo>
                    <a:cubicBezTo>
                      <a:pt x="19415" y="18447"/>
                      <a:pt x="19375" y="18474"/>
                      <a:pt x="19314" y="18504"/>
                    </a:cubicBezTo>
                    <a:cubicBezTo>
                      <a:pt x="19292" y="18583"/>
                      <a:pt x="19221" y="18626"/>
                      <a:pt x="19189" y="18717"/>
                    </a:cubicBezTo>
                    <a:cubicBezTo>
                      <a:pt x="19140" y="18756"/>
                      <a:pt x="19156" y="18711"/>
                      <a:pt x="19116" y="18738"/>
                    </a:cubicBezTo>
                    <a:cubicBezTo>
                      <a:pt x="19039" y="18814"/>
                      <a:pt x="18962" y="18889"/>
                      <a:pt x="18884" y="18965"/>
                    </a:cubicBezTo>
                    <a:cubicBezTo>
                      <a:pt x="18857" y="19002"/>
                      <a:pt x="18819" y="19050"/>
                      <a:pt x="18779" y="19078"/>
                    </a:cubicBezTo>
                    <a:cubicBezTo>
                      <a:pt x="18662" y="19181"/>
                      <a:pt x="18662" y="19181"/>
                      <a:pt x="18662" y="19181"/>
                    </a:cubicBezTo>
                    <a:cubicBezTo>
                      <a:pt x="18536" y="19296"/>
                      <a:pt x="18536" y="19296"/>
                      <a:pt x="18536" y="19296"/>
                    </a:cubicBezTo>
                    <a:cubicBezTo>
                      <a:pt x="18526" y="19308"/>
                      <a:pt x="18508" y="19332"/>
                      <a:pt x="18477" y="19347"/>
                    </a:cubicBezTo>
                    <a:cubicBezTo>
                      <a:pt x="18419" y="19399"/>
                      <a:pt x="18419" y="19399"/>
                      <a:pt x="18419" y="19399"/>
                    </a:cubicBezTo>
                    <a:cubicBezTo>
                      <a:pt x="18329" y="19465"/>
                      <a:pt x="18249" y="19520"/>
                      <a:pt x="18160" y="19586"/>
                    </a:cubicBezTo>
                    <a:cubicBezTo>
                      <a:pt x="18163" y="19608"/>
                      <a:pt x="18135" y="19644"/>
                      <a:pt x="18194" y="19593"/>
                    </a:cubicBezTo>
                    <a:cubicBezTo>
                      <a:pt x="18126" y="19656"/>
                      <a:pt x="18055" y="19698"/>
                      <a:pt x="17975" y="19753"/>
                    </a:cubicBezTo>
                    <a:cubicBezTo>
                      <a:pt x="17904" y="19795"/>
                      <a:pt x="17824" y="19849"/>
                      <a:pt x="17766" y="19901"/>
                    </a:cubicBezTo>
                    <a:cubicBezTo>
                      <a:pt x="17704" y="19931"/>
                      <a:pt x="17704" y="19931"/>
                      <a:pt x="17704" y="19931"/>
                    </a:cubicBezTo>
                    <a:cubicBezTo>
                      <a:pt x="17655" y="19970"/>
                      <a:pt x="17655" y="19970"/>
                      <a:pt x="17655" y="19970"/>
                    </a:cubicBezTo>
                    <a:cubicBezTo>
                      <a:pt x="17615" y="19997"/>
                      <a:pt x="17575" y="20025"/>
                      <a:pt x="17544" y="20040"/>
                    </a:cubicBezTo>
                    <a:cubicBezTo>
                      <a:pt x="17476" y="20103"/>
                      <a:pt x="17396" y="20158"/>
                      <a:pt x="17338" y="20209"/>
                    </a:cubicBezTo>
                    <a:cubicBezTo>
                      <a:pt x="17270" y="20273"/>
                      <a:pt x="17172" y="20275"/>
                      <a:pt x="17101" y="20317"/>
                    </a:cubicBezTo>
                    <a:cubicBezTo>
                      <a:pt x="17092" y="20330"/>
                      <a:pt x="17135" y="20324"/>
                      <a:pt x="17104" y="20339"/>
                    </a:cubicBezTo>
                    <a:cubicBezTo>
                      <a:pt x="17064" y="20366"/>
                      <a:pt x="17012" y="20384"/>
                      <a:pt x="16951" y="20414"/>
                    </a:cubicBezTo>
                    <a:cubicBezTo>
                      <a:pt x="16920" y="20429"/>
                      <a:pt x="16892" y="20465"/>
                      <a:pt x="16861" y="20481"/>
                    </a:cubicBezTo>
                    <a:cubicBezTo>
                      <a:pt x="16831" y="20496"/>
                      <a:pt x="16800" y="20511"/>
                      <a:pt x="16760" y="20538"/>
                    </a:cubicBezTo>
                    <a:cubicBezTo>
                      <a:pt x="16729" y="20553"/>
                      <a:pt x="16696" y="20546"/>
                      <a:pt x="16653" y="20552"/>
                    </a:cubicBezTo>
                    <a:cubicBezTo>
                      <a:pt x="16573" y="20607"/>
                      <a:pt x="16493" y="20661"/>
                      <a:pt x="16422" y="20703"/>
                    </a:cubicBezTo>
                    <a:cubicBezTo>
                      <a:pt x="16330" y="20748"/>
                      <a:pt x="16247" y="20781"/>
                      <a:pt x="16177" y="20823"/>
                    </a:cubicBezTo>
                    <a:cubicBezTo>
                      <a:pt x="16002" y="20902"/>
                      <a:pt x="15824" y="20958"/>
                      <a:pt x="15658" y="21024"/>
                    </a:cubicBezTo>
                    <a:cubicBezTo>
                      <a:pt x="15649" y="21036"/>
                      <a:pt x="15658" y="21024"/>
                      <a:pt x="15640" y="21048"/>
                    </a:cubicBezTo>
                    <a:cubicBezTo>
                      <a:pt x="15045" y="21248"/>
                      <a:pt x="14441" y="21461"/>
                      <a:pt x="13811" y="21556"/>
                    </a:cubicBezTo>
                    <a:cubicBezTo>
                      <a:pt x="13789" y="21559"/>
                      <a:pt x="13780" y="21571"/>
                      <a:pt x="13758" y="21574"/>
                    </a:cubicBezTo>
                    <a:cubicBezTo>
                      <a:pt x="13737" y="21577"/>
                      <a:pt x="13716" y="21580"/>
                      <a:pt x="13685" y="21595"/>
                    </a:cubicBezTo>
                    <a:cubicBezTo>
                      <a:pt x="13621" y="21604"/>
                      <a:pt x="13556" y="21612"/>
                      <a:pt x="13471" y="21624"/>
                    </a:cubicBezTo>
                    <a:cubicBezTo>
                      <a:pt x="13437" y="21618"/>
                      <a:pt x="13394" y="21623"/>
                      <a:pt x="13364" y="21638"/>
                    </a:cubicBezTo>
                    <a:cubicBezTo>
                      <a:pt x="13342" y="21641"/>
                      <a:pt x="13321" y="21644"/>
                      <a:pt x="13299" y="21647"/>
                    </a:cubicBezTo>
                    <a:cubicBezTo>
                      <a:pt x="13278" y="21650"/>
                      <a:pt x="13257" y="21653"/>
                      <a:pt x="13244" y="21644"/>
                    </a:cubicBezTo>
                    <a:cubicBezTo>
                      <a:pt x="13159" y="21655"/>
                      <a:pt x="13082" y="21654"/>
                      <a:pt x="13006" y="21654"/>
                    </a:cubicBezTo>
                    <a:cubicBezTo>
                      <a:pt x="12933" y="21675"/>
                      <a:pt x="12868" y="21683"/>
                      <a:pt x="12804" y="21692"/>
                    </a:cubicBezTo>
                    <a:cubicBezTo>
                      <a:pt x="12740" y="21701"/>
                      <a:pt x="12685" y="21697"/>
                      <a:pt x="12639" y="21681"/>
                    </a:cubicBezTo>
                    <a:cubicBezTo>
                      <a:pt x="12608" y="21696"/>
                      <a:pt x="12587" y="21699"/>
                      <a:pt x="12556" y="21714"/>
                    </a:cubicBezTo>
                    <a:cubicBezTo>
                      <a:pt x="12520" y="21687"/>
                      <a:pt x="12468" y="21705"/>
                      <a:pt x="12404" y="21713"/>
                    </a:cubicBezTo>
                    <a:cubicBezTo>
                      <a:pt x="12327" y="21713"/>
                      <a:pt x="12263" y="21721"/>
                      <a:pt x="12205" y="21696"/>
                    </a:cubicBezTo>
                    <a:cubicBezTo>
                      <a:pt x="12120" y="21708"/>
                      <a:pt x="12043" y="21707"/>
                      <a:pt x="11958" y="21719"/>
                    </a:cubicBezTo>
                    <a:cubicBezTo>
                      <a:pt x="11869" y="21709"/>
                      <a:pt x="11771" y="21711"/>
                      <a:pt x="11683" y="21701"/>
                    </a:cubicBezTo>
                    <a:cubicBezTo>
                      <a:pt x="11475" y="21697"/>
                      <a:pt x="11286" y="21667"/>
                      <a:pt x="11112" y="21669"/>
                    </a:cubicBezTo>
                    <a:cubicBezTo>
                      <a:pt x="11078" y="21663"/>
                      <a:pt x="11054" y="21644"/>
                      <a:pt x="11042" y="21635"/>
                    </a:cubicBezTo>
                    <a:cubicBezTo>
                      <a:pt x="10923" y="21640"/>
                      <a:pt x="10801" y="21624"/>
                      <a:pt x="10700" y="21605"/>
                    </a:cubicBezTo>
                    <a:cubicBezTo>
                      <a:pt x="10578" y="21588"/>
                      <a:pt x="10456" y="21572"/>
                      <a:pt x="10355" y="21553"/>
                    </a:cubicBezTo>
                    <a:cubicBezTo>
                      <a:pt x="10121" y="21508"/>
                      <a:pt x="9904" y="21439"/>
                      <a:pt x="9672" y="21416"/>
                    </a:cubicBezTo>
                    <a:cubicBezTo>
                      <a:pt x="9578" y="21363"/>
                      <a:pt x="9478" y="21344"/>
                      <a:pt x="9377" y="21325"/>
                    </a:cubicBezTo>
                    <a:cubicBezTo>
                      <a:pt x="9331" y="21309"/>
                      <a:pt x="9276" y="21306"/>
                      <a:pt x="9231" y="21290"/>
                    </a:cubicBezTo>
                    <a:cubicBezTo>
                      <a:pt x="9185" y="21274"/>
                      <a:pt x="9139" y="21259"/>
                      <a:pt x="9091" y="21222"/>
                    </a:cubicBezTo>
                    <a:cubicBezTo>
                      <a:pt x="9036" y="21218"/>
                      <a:pt x="8969" y="21205"/>
                      <a:pt x="8911" y="21181"/>
                    </a:cubicBezTo>
                    <a:cubicBezTo>
                      <a:pt x="8866" y="21165"/>
                      <a:pt x="8808" y="21140"/>
                      <a:pt x="8741" y="21127"/>
                    </a:cubicBezTo>
                    <a:cubicBezTo>
                      <a:pt x="8449" y="20981"/>
                      <a:pt x="8129" y="20872"/>
                      <a:pt x="7816" y="20728"/>
                    </a:cubicBezTo>
                    <a:cubicBezTo>
                      <a:pt x="7734" y="20685"/>
                      <a:pt x="7652" y="20642"/>
                      <a:pt x="7570" y="20598"/>
                    </a:cubicBezTo>
                    <a:cubicBezTo>
                      <a:pt x="7488" y="20555"/>
                      <a:pt x="7406" y="20511"/>
                      <a:pt x="7333" y="20456"/>
                    </a:cubicBezTo>
                    <a:cubicBezTo>
                      <a:pt x="7206" y="20396"/>
                      <a:pt x="7206" y="20396"/>
                      <a:pt x="7206" y="20396"/>
                    </a:cubicBezTo>
                    <a:cubicBezTo>
                      <a:pt x="7193" y="20387"/>
                      <a:pt x="7169" y="20369"/>
                      <a:pt x="7157" y="20359"/>
                    </a:cubicBezTo>
                    <a:cubicBezTo>
                      <a:pt x="7087" y="20325"/>
                      <a:pt x="7087" y="20325"/>
                      <a:pt x="7087" y="20325"/>
                    </a:cubicBezTo>
                    <a:cubicBezTo>
                      <a:pt x="6850" y="20183"/>
                      <a:pt x="6850" y="20183"/>
                      <a:pt x="6850" y="20183"/>
                    </a:cubicBezTo>
                    <a:cubicBezTo>
                      <a:pt x="6768" y="20139"/>
                      <a:pt x="6696" y="20084"/>
                      <a:pt x="6623" y="20028"/>
                    </a:cubicBezTo>
                    <a:cubicBezTo>
                      <a:pt x="6395" y="19873"/>
                      <a:pt x="6395" y="19873"/>
                      <a:pt x="6395" y="19873"/>
                    </a:cubicBezTo>
                    <a:cubicBezTo>
                      <a:pt x="6323" y="19818"/>
                      <a:pt x="6250" y="19762"/>
                      <a:pt x="6177" y="19706"/>
                    </a:cubicBezTo>
                    <a:cubicBezTo>
                      <a:pt x="6104" y="19651"/>
                      <a:pt x="6019" y="19586"/>
                      <a:pt x="5956" y="19518"/>
                    </a:cubicBezTo>
                    <a:cubicBezTo>
                      <a:pt x="5886" y="19484"/>
                      <a:pt x="5886" y="19484"/>
                      <a:pt x="5886" y="19484"/>
                    </a:cubicBezTo>
                    <a:cubicBezTo>
                      <a:pt x="5853" y="19478"/>
                      <a:pt x="5862" y="19465"/>
                      <a:pt x="5883" y="19462"/>
                    </a:cubicBezTo>
                    <a:cubicBezTo>
                      <a:pt x="5811" y="19407"/>
                      <a:pt x="5738" y="19351"/>
                      <a:pt x="5665" y="19296"/>
                    </a:cubicBezTo>
                    <a:cubicBezTo>
                      <a:pt x="5602" y="19228"/>
                      <a:pt x="5541" y="19182"/>
                      <a:pt x="5478" y="19114"/>
                    </a:cubicBezTo>
                    <a:cubicBezTo>
                      <a:pt x="5417" y="19067"/>
                      <a:pt x="5344" y="19012"/>
                      <a:pt x="5281" y="18944"/>
                    </a:cubicBezTo>
                    <a:cubicBezTo>
                      <a:pt x="5217" y="18876"/>
                      <a:pt x="5154" y="18808"/>
                      <a:pt x="5081" y="18753"/>
                    </a:cubicBezTo>
                    <a:cubicBezTo>
                      <a:pt x="5066" y="18722"/>
                      <a:pt x="5063" y="18701"/>
                      <a:pt x="5060" y="18679"/>
                    </a:cubicBezTo>
                    <a:cubicBezTo>
                      <a:pt x="5024" y="18652"/>
                      <a:pt x="5015" y="18664"/>
                      <a:pt x="5003" y="18654"/>
                    </a:cubicBezTo>
                    <a:cubicBezTo>
                      <a:pt x="4981" y="18657"/>
                      <a:pt x="4957" y="18639"/>
                      <a:pt x="4939" y="18587"/>
                    </a:cubicBezTo>
                    <a:cubicBezTo>
                      <a:pt x="4936" y="18565"/>
                      <a:pt x="4963" y="18605"/>
                      <a:pt x="4988" y="18624"/>
                    </a:cubicBezTo>
                    <a:cubicBezTo>
                      <a:pt x="4961" y="18584"/>
                      <a:pt x="4909" y="18525"/>
                      <a:pt x="4888" y="18528"/>
                    </a:cubicBezTo>
                    <a:cubicBezTo>
                      <a:pt x="4411" y="17971"/>
                      <a:pt x="3996" y="17384"/>
                      <a:pt x="3639" y="16745"/>
                    </a:cubicBezTo>
                    <a:cubicBezTo>
                      <a:pt x="3612" y="16705"/>
                      <a:pt x="3585" y="16665"/>
                      <a:pt x="3570" y="16634"/>
                    </a:cubicBezTo>
                    <a:cubicBezTo>
                      <a:pt x="3510" y="16512"/>
                      <a:pt x="3510" y="16512"/>
                      <a:pt x="3510" y="16512"/>
                    </a:cubicBezTo>
                    <a:cubicBezTo>
                      <a:pt x="3390" y="16266"/>
                      <a:pt x="3390" y="16266"/>
                      <a:pt x="3390" y="16266"/>
                    </a:cubicBezTo>
                    <a:cubicBezTo>
                      <a:pt x="3363" y="16226"/>
                      <a:pt x="3336" y="16186"/>
                      <a:pt x="3330" y="16143"/>
                    </a:cubicBezTo>
                    <a:cubicBezTo>
                      <a:pt x="3271" y="16021"/>
                      <a:pt x="3271" y="16021"/>
                      <a:pt x="3271" y="16021"/>
                    </a:cubicBezTo>
                    <a:cubicBezTo>
                      <a:pt x="3238" y="15938"/>
                      <a:pt x="3184" y="15858"/>
                      <a:pt x="3151" y="15775"/>
                    </a:cubicBezTo>
                    <a:cubicBezTo>
                      <a:pt x="3053" y="15527"/>
                      <a:pt x="3053" y="15527"/>
                      <a:pt x="3053" y="15527"/>
                    </a:cubicBezTo>
                    <a:cubicBezTo>
                      <a:pt x="3029" y="15432"/>
                      <a:pt x="2987" y="15361"/>
                      <a:pt x="2964" y="15266"/>
                    </a:cubicBezTo>
                    <a:cubicBezTo>
                      <a:pt x="2875" y="15005"/>
                      <a:pt x="2875" y="15005"/>
                      <a:pt x="2875" y="15005"/>
                    </a:cubicBezTo>
                    <a:cubicBezTo>
                      <a:pt x="2860" y="14975"/>
                      <a:pt x="2842" y="14923"/>
                      <a:pt x="2836" y="14880"/>
                    </a:cubicBezTo>
                    <a:cubicBezTo>
                      <a:pt x="2798" y="14754"/>
                      <a:pt x="2798" y="14754"/>
                      <a:pt x="2798" y="14754"/>
                    </a:cubicBezTo>
                    <a:cubicBezTo>
                      <a:pt x="2597" y="14062"/>
                      <a:pt x="2458" y="13339"/>
                      <a:pt x="2417" y="12614"/>
                    </a:cubicBezTo>
                    <a:cubicBezTo>
                      <a:pt x="2385" y="11877"/>
                      <a:pt x="2429" y="11141"/>
                      <a:pt x="2550" y="10405"/>
                    </a:cubicBezTo>
                    <a:cubicBezTo>
                      <a:pt x="2547" y="10384"/>
                      <a:pt x="2544" y="10362"/>
                      <a:pt x="2532" y="10353"/>
                    </a:cubicBezTo>
                    <a:cubicBezTo>
                      <a:pt x="2564" y="10261"/>
                      <a:pt x="2593" y="10149"/>
                      <a:pt x="2612" y="10048"/>
                    </a:cubicBezTo>
                    <a:cubicBezTo>
                      <a:pt x="2622" y="9959"/>
                      <a:pt x="2641" y="9859"/>
                      <a:pt x="2673" y="9767"/>
                    </a:cubicBezTo>
                    <a:cubicBezTo>
                      <a:pt x="2692" y="9666"/>
                      <a:pt x="2721" y="9554"/>
                      <a:pt x="2752" y="9462"/>
                    </a:cubicBezTo>
                    <a:cubicBezTo>
                      <a:pt x="2756" y="9407"/>
                      <a:pt x="2772" y="9361"/>
                      <a:pt x="2788" y="9316"/>
                    </a:cubicBezTo>
                    <a:cubicBezTo>
                      <a:pt x="2803" y="9270"/>
                      <a:pt x="2831" y="9233"/>
                      <a:pt x="2856" y="9176"/>
                    </a:cubicBezTo>
                    <a:cubicBezTo>
                      <a:pt x="2869" y="9108"/>
                      <a:pt x="2849" y="9035"/>
                      <a:pt x="2882" y="9041"/>
                    </a:cubicBezTo>
                    <a:cubicBezTo>
                      <a:pt x="2883" y="8965"/>
                      <a:pt x="2939" y="8815"/>
                      <a:pt x="2992" y="8721"/>
                    </a:cubicBezTo>
                    <a:cubicBezTo>
                      <a:pt x="2999" y="8688"/>
                      <a:pt x="2996" y="8666"/>
                      <a:pt x="3002" y="8633"/>
                    </a:cubicBezTo>
                    <a:cubicBezTo>
                      <a:pt x="3053" y="8517"/>
                      <a:pt x="3112" y="8389"/>
                      <a:pt x="3159" y="8252"/>
                    </a:cubicBezTo>
                    <a:cubicBezTo>
                      <a:pt x="3225" y="8090"/>
                      <a:pt x="3315" y="7947"/>
                      <a:pt x="3381" y="7786"/>
                    </a:cubicBezTo>
                    <a:cubicBezTo>
                      <a:pt x="3443" y="7679"/>
                      <a:pt x="3443" y="7679"/>
                      <a:pt x="3443" y="7679"/>
                    </a:cubicBezTo>
                    <a:cubicBezTo>
                      <a:pt x="3503" y="7551"/>
                      <a:pt x="3503" y="7551"/>
                      <a:pt x="3503" y="7551"/>
                    </a:cubicBezTo>
                    <a:cubicBezTo>
                      <a:pt x="3615" y="7329"/>
                      <a:pt x="3615" y="7329"/>
                      <a:pt x="3615" y="7329"/>
                    </a:cubicBezTo>
                    <a:cubicBezTo>
                      <a:pt x="3658" y="7247"/>
                      <a:pt x="3705" y="7186"/>
                      <a:pt x="3749" y="7104"/>
                    </a:cubicBezTo>
                    <a:cubicBezTo>
                      <a:pt x="3795" y="7043"/>
                      <a:pt x="3839" y="6961"/>
                      <a:pt x="3885" y="6900"/>
                    </a:cubicBezTo>
                    <a:cubicBezTo>
                      <a:pt x="3901" y="6855"/>
                      <a:pt x="3929" y="6818"/>
                      <a:pt x="3957" y="6782"/>
                    </a:cubicBezTo>
                    <a:cubicBezTo>
                      <a:pt x="4031" y="6684"/>
                      <a:pt x="4031" y="6684"/>
                      <a:pt x="4031" y="6684"/>
                    </a:cubicBezTo>
                    <a:cubicBezTo>
                      <a:pt x="4087" y="6611"/>
                      <a:pt x="4133" y="6551"/>
                      <a:pt x="4201" y="6487"/>
                    </a:cubicBezTo>
                    <a:cubicBezTo>
                      <a:pt x="4198" y="6466"/>
                      <a:pt x="4217" y="6441"/>
                      <a:pt x="4223" y="6408"/>
                    </a:cubicBezTo>
                    <a:cubicBezTo>
                      <a:pt x="4313" y="6341"/>
                      <a:pt x="4433" y="6183"/>
                      <a:pt x="4446" y="6116"/>
                    </a:cubicBezTo>
                    <a:cubicBezTo>
                      <a:pt x="4477" y="6101"/>
                      <a:pt x="4468" y="6113"/>
                      <a:pt x="4498" y="6098"/>
                    </a:cubicBezTo>
                    <a:cubicBezTo>
                      <a:pt x="4499" y="6022"/>
                      <a:pt x="4561" y="5992"/>
                      <a:pt x="4601" y="5964"/>
                    </a:cubicBezTo>
                    <a:cubicBezTo>
                      <a:pt x="4644" y="5882"/>
                      <a:pt x="4700" y="5809"/>
                      <a:pt x="4777" y="5734"/>
                    </a:cubicBezTo>
                    <a:cubicBezTo>
                      <a:pt x="4842" y="5648"/>
                      <a:pt x="4929" y="5561"/>
                      <a:pt x="5006" y="5485"/>
                    </a:cubicBezTo>
                    <a:cubicBezTo>
                      <a:pt x="5036" y="5470"/>
                      <a:pt x="5049" y="5479"/>
                      <a:pt x="5039" y="5491"/>
                    </a:cubicBezTo>
                    <a:cubicBezTo>
                      <a:pt x="5079" y="5464"/>
                      <a:pt x="5062" y="5412"/>
                      <a:pt x="5142" y="5357"/>
                    </a:cubicBezTo>
                    <a:cubicBezTo>
                      <a:pt x="5151" y="5345"/>
                      <a:pt x="5129" y="5348"/>
                      <a:pt x="5120" y="5360"/>
                    </a:cubicBezTo>
                    <a:cubicBezTo>
                      <a:pt x="5157" y="5312"/>
                      <a:pt x="5209" y="5294"/>
                      <a:pt x="5234" y="5236"/>
                    </a:cubicBezTo>
                    <a:cubicBezTo>
                      <a:pt x="5253" y="5212"/>
                      <a:pt x="5256" y="5233"/>
                      <a:pt x="5247" y="5245"/>
                    </a:cubicBezTo>
                    <a:cubicBezTo>
                      <a:pt x="5284" y="5197"/>
                      <a:pt x="5358" y="5099"/>
                      <a:pt x="5435" y="5024"/>
                    </a:cubicBezTo>
                    <a:cubicBezTo>
                      <a:pt x="5499" y="5015"/>
                      <a:pt x="5398" y="5072"/>
                      <a:pt x="5382" y="5118"/>
                    </a:cubicBezTo>
                    <a:cubicBezTo>
                      <a:pt x="5410" y="5081"/>
                      <a:pt x="5447" y="5033"/>
                      <a:pt x="5497" y="4993"/>
                    </a:cubicBezTo>
                    <a:cubicBezTo>
                      <a:pt x="5525" y="4957"/>
                      <a:pt x="5574" y="4918"/>
                      <a:pt x="5611" y="4869"/>
                    </a:cubicBezTo>
                    <a:cubicBezTo>
                      <a:pt x="5725" y="4745"/>
                      <a:pt x="5725" y="4745"/>
                      <a:pt x="5725" y="4745"/>
                    </a:cubicBezTo>
                    <a:cubicBezTo>
                      <a:pt x="5765" y="4717"/>
                      <a:pt x="5802" y="4669"/>
                      <a:pt x="5852" y="4629"/>
                    </a:cubicBezTo>
                    <a:cubicBezTo>
                      <a:pt x="5873" y="4627"/>
                      <a:pt x="5904" y="4612"/>
                      <a:pt x="5935" y="4597"/>
                    </a:cubicBezTo>
                    <a:cubicBezTo>
                      <a:pt x="5940" y="4639"/>
                      <a:pt x="5962" y="4560"/>
                      <a:pt x="5892" y="4602"/>
                    </a:cubicBezTo>
                    <a:cubicBezTo>
                      <a:pt x="5957" y="4517"/>
                      <a:pt x="6037" y="4463"/>
                      <a:pt x="6133" y="4363"/>
                    </a:cubicBezTo>
                    <a:cubicBezTo>
                      <a:pt x="6166" y="4369"/>
                      <a:pt x="6274" y="4278"/>
                      <a:pt x="6218" y="4351"/>
                    </a:cubicBezTo>
                    <a:cubicBezTo>
                      <a:pt x="6280" y="4321"/>
                      <a:pt x="6253" y="4281"/>
                      <a:pt x="6378" y="4242"/>
                    </a:cubicBezTo>
                    <a:cubicBezTo>
                      <a:pt x="6434" y="4169"/>
                      <a:pt x="6314" y="4251"/>
                      <a:pt x="6293" y="4254"/>
                    </a:cubicBezTo>
                    <a:cubicBezTo>
                      <a:pt x="6388" y="4154"/>
                      <a:pt x="6514" y="4115"/>
                      <a:pt x="6598" y="4006"/>
                    </a:cubicBezTo>
                    <a:cubicBezTo>
                      <a:pt x="6619" y="4003"/>
                      <a:pt x="6600" y="4027"/>
                      <a:pt x="6582" y="4051"/>
                    </a:cubicBezTo>
                    <a:cubicBezTo>
                      <a:pt x="6613" y="4036"/>
                      <a:pt x="6640" y="4000"/>
                      <a:pt x="6683" y="3994"/>
                    </a:cubicBezTo>
                    <a:cubicBezTo>
                      <a:pt x="6628" y="3991"/>
                      <a:pt x="6733" y="3955"/>
                      <a:pt x="6779" y="3894"/>
                    </a:cubicBezTo>
                    <a:cubicBezTo>
                      <a:pt x="6850" y="3852"/>
                      <a:pt x="6920" y="3810"/>
                      <a:pt x="6991" y="3767"/>
                    </a:cubicBezTo>
                    <a:cubicBezTo>
                      <a:pt x="7062" y="3725"/>
                      <a:pt x="7130" y="3662"/>
                      <a:pt x="7200" y="3619"/>
                    </a:cubicBezTo>
                    <a:cubicBezTo>
                      <a:pt x="7271" y="3577"/>
                      <a:pt x="7330" y="3526"/>
                      <a:pt x="7400" y="3483"/>
                    </a:cubicBezTo>
                    <a:cubicBezTo>
                      <a:pt x="7471" y="3441"/>
                      <a:pt x="7545" y="3420"/>
                      <a:pt x="7618" y="3400"/>
                    </a:cubicBezTo>
                    <a:cubicBezTo>
                      <a:pt x="7625" y="3366"/>
                      <a:pt x="7695" y="3324"/>
                      <a:pt x="7745" y="3284"/>
                    </a:cubicBezTo>
                    <a:cubicBezTo>
                      <a:pt x="7775" y="3269"/>
                      <a:pt x="7815" y="3242"/>
                      <a:pt x="7846" y="3227"/>
                    </a:cubicBezTo>
                    <a:cubicBezTo>
                      <a:pt x="7877" y="3212"/>
                      <a:pt x="7907" y="3197"/>
                      <a:pt x="7938" y="3182"/>
                    </a:cubicBezTo>
                    <a:cubicBezTo>
                      <a:pt x="7941" y="3203"/>
                      <a:pt x="7910" y="3218"/>
                      <a:pt x="7870" y="3246"/>
                    </a:cubicBezTo>
                    <a:cubicBezTo>
                      <a:pt x="7818" y="3264"/>
                      <a:pt x="7766" y="3281"/>
                      <a:pt x="7738" y="3318"/>
                    </a:cubicBezTo>
                    <a:cubicBezTo>
                      <a:pt x="7781" y="3312"/>
                      <a:pt x="7800" y="3288"/>
                      <a:pt x="7833" y="3294"/>
                    </a:cubicBezTo>
                    <a:cubicBezTo>
                      <a:pt x="7744" y="3361"/>
                      <a:pt x="7667" y="3437"/>
                      <a:pt x="7565" y="3494"/>
                    </a:cubicBezTo>
                    <a:cubicBezTo>
                      <a:pt x="7562" y="3472"/>
                      <a:pt x="7489" y="3493"/>
                      <a:pt x="7430" y="3545"/>
                    </a:cubicBezTo>
                    <a:cubicBezTo>
                      <a:pt x="7369" y="3575"/>
                      <a:pt x="7301" y="3638"/>
                      <a:pt x="7282" y="3663"/>
                    </a:cubicBezTo>
                    <a:cubicBezTo>
                      <a:pt x="7335" y="3645"/>
                      <a:pt x="7384" y="3606"/>
                      <a:pt x="7436" y="3588"/>
                    </a:cubicBezTo>
                    <a:cubicBezTo>
                      <a:pt x="7467" y="3573"/>
                      <a:pt x="7497" y="3558"/>
                      <a:pt x="7528" y="3542"/>
                    </a:cubicBezTo>
                    <a:cubicBezTo>
                      <a:pt x="7568" y="3515"/>
                      <a:pt x="7599" y="3500"/>
                      <a:pt x="7630" y="3485"/>
                    </a:cubicBezTo>
                    <a:cubicBezTo>
                      <a:pt x="7691" y="3455"/>
                      <a:pt x="7740" y="3416"/>
                      <a:pt x="7802" y="3386"/>
                    </a:cubicBezTo>
                    <a:cubicBezTo>
                      <a:pt x="7851" y="3346"/>
                      <a:pt x="7900" y="3307"/>
                      <a:pt x="7949" y="3268"/>
                    </a:cubicBezTo>
                    <a:cubicBezTo>
                      <a:pt x="7962" y="3277"/>
                      <a:pt x="7922" y="3304"/>
                      <a:pt x="7903" y="3328"/>
                    </a:cubicBezTo>
                    <a:cubicBezTo>
                      <a:pt x="8004" y="3271"/>
                      <a:pt x="8232" y="3175"/>
                      <a:pt x="8214" y="3123"/>
                    </a:cubicBezTo>
                    <a:cubicBezTo>
                      <a:pt x="8272" y="3072"/>
                      <a:pt x="8269" y="3127"/>
                      <a:pt x="8299" y="3112"/>
                    </a:cubicBezTo>
                    <a:cubicBezTo>
                      <a:pt x="8339" y="3084"/>
                      <a:pt x="8392" y="3066"/>
                      <a:pt x="8432" y="3039"/>
                    </a:cubicBezTo>
                    <a:cubicBezTo>
                      <a:pt x="8472" y="3012"/>
                      <a:pt x="8524" y="2994"/>
                      <a:pt x="8554" y="2979"/>
                    </a:cubicBezTo>
                    <a:cubicBezTo>
                      <a:pt x="8594" y="2952"/>
                      <a:pt x="8646" y="2934"/>
                      <a:pt x="8686" y="2907"/>
                    </a:cubicBezTo>
                    <a:cubicBezTo>
                      <a:pt x="8726" y="2880"/>
                      <a:pt x="8779" y="2862"/>
                      <a:pt x="8828" y="2822"/>
                    </a:cubicBezTo>
                    <a:cubicBezTo>
                      <a:pt x="8975" y="2781"/>
                      <a:pt x="9101" y="2742"/>
                      <a:pt x="9236" y="2691"/>
                    </a:cubicBezTo>
                    <a:cubicBezTo>
                      <a:pt x="9383" y="2650"/>
                      <a:pt x="9518" y="2599"/>
                      <a:pt x="9650" y="2526"/>
                    </a:cubicBezTo>
                    <a:cubicBezTo>
                      <a:pt x="9702" y="2508"/>
                      <a:pt x="9745" y="2503"/>
                      <a:pt x="9797" y="2485"/>
                    </a:cubicBezTo>
                    <a:cubicBezTo>
                      <a:pt x="9840" y="2479"/>
                      <a:pt x="9892" y="2461"/>
                      <a:pt x="9944" y="2443"/>
                    </a:cubicBezTo>
                    <a:cubicBezTo>
                      <a:pt x="10048" y="2407"/>
                      <a:pt x="10131" y="2374"/>
                      <a:pt x="10192" y="2344"/>
                    </a:cubicBezTo>
                    <a:cubicBezTo>
                      <a:pt x="10278" y="2333"/>
                      <a:pt x="10385" y="2318"/>
                      <a:pt x="10501" y="2292"/>
                    </a:cubicBezTo>
                    <a:cubicBezTo>
                      <a:pt x="10563" y="2262"/>
                      <a:pt x="10627" y="2253"/>
                      <a:pt x="10679" y="2235"/>
                    </a:cubicBezTo>
                    <a:cubicBezTo>
                      <a:pt x="10743" y="2226"/>
                      <a:pt x="10817" y="2206"/>
                      <a:pt x="10881" y="2197"/>
                    </a:cubicBezTo>
                    <a:cubicBezTo>
                      <a:pt x="10946" y="2188"/>
                      <a:pt x="11019" y="2167"/>
                      <a:pt x="11083" y="2159"/>
                    </a:cubicBezTo>
                    <a:cubicBezTo>
                      <a:pt x="11126" y="2153"/>
                      <a:pt x="11126" y="2153"/>
                      <a:pt x="11126" y="2153"/>
                    </a:cubicBezTo>
                    <a:cubicBezTo>
                      <a:pt x="11178" y="2135"/>
                      <a:pt x="11178" y="2135"/>
                      <a:pt x="11178" y="2135"/>
                    </a:cubicBezTo>
                    <a:cubicBezTo>
                      <a:pt x="11212" y="2142"/>
                      <a:pt x="11255" y="2136"/>
                      <a:pt x="11276" y="2133"/>
                    </a:cubicBezTo>
                    <a:cubicBezTo>
                      <a:pt x="11352" y="2133"/>
                      <a:pt x="11417" y="2125"/>
                      <a:pt x="11472" y="2128"/>
                    </a:cubicBezTo>
                    <a:cubicBezTo>
                      <a:pt x="11548" y="2129"/>
                      <a:pt x="11603" y="2132"/>
                      <a:pt x="11670" y="2145"/>
                    </a:cubicBezTo>
                    <a:cubicBezTo>
                      <a:pt x="11549" y="2053"/>
                      <a:pt x="11958" y="2096"/>
                      <a:pt x="11937" y="2022"/>
                    </a:cubicBezTo>
                    <a:cubicBezTo>
                      <a:pt x="11980" y="2016"/>
                      <a:pt x="12032" y="1998"/>
                      <a:pt x="12096" y="1990"/>
                    </a:cubicBezTo>
                    <a:cubicBezTo>
                      <a:pt x="12139" y="1984"/>
                      <a:pt x="12203" y="1975"/>
                      <a:pt x="12240" y="2003"/>
                    </a:cubicBezTo>
                    <a:cubicBezTo>
                      <a:pt x="12347" y="1989"/>
                      <a:pt x="12454" y="1974"/>
                      <a:pt x="12552" y="1972"/>
                    </a:cubicBezTo>
                    <a:cubicBezTo>
                      <a:pt x="12659" y="1958"/>
                      <a:pt x="12759" y="1977"/>
                      <a:pt x="12869" y="1984"/>
                    </a:cubicBezTo>
                    <a:cubicBezTo>
                      <a:pt x="12912" y="1978"/>
                      <a:pt x="12967" y="1981"/>
                      <a:pt x="13022" y="1985"/>
                    </a:cubicBezTo>
                    <a:cubicBezTo>
                      <a:pt x="13046" y="2004"/>
                      <a:pt x="13068" y="2001"/>
                      <a:pt x="13089" y="1998"/>
                    </a:cubicBezTo>
                    <a:cubicBezTo>
                      <a:pt x="13168" y="2020"/>
                      <a:pt x="13168" y="2020"/>
                      <a:pt x="13168" y="2020"/>
                    </a:cubicBezTo>
                    <a:cubicBezTo>
                      <a:pt x="13269" y="2039"/>
                      <a:pt x="13369" y="2058"/>
                      <a:pt x="13461" y="2089"/>
                    </a:cubicBezTo>
                    <a:cubicBezTo>
                      <a:pt x="13513" y="2071"/>
                      <a:pt x="13577" y="2063"/>
                      <a:pt x="13562" y="2032"/>
                    </a:cubicBezTo>
                    <a:cubicBezTo>
                      <a:pt x="13629" y="2045"/>
                      <a:pt x="13687" y="2070"/>
                      <a:pt x="13745" y="2095"/>
                    </a:cubicBezTo>
                    <a:cubicBezTo>
                      <a:pt x="13809" y="2086"/>
                      <a:pt x="13855" y="2102"/>
                      <a:pt x="13922" y="2115"/>
                    </a:cubicBezTo>
                    <a:cubicBezTo>
                      <a:pt x="13950" y="2078"/>
                      <a:pt x="14008" y="2103"/>
                      <a:pt x="14048" y="2076"/>
                    </a:cubicBezTo>
                    <a:cubicBezTo>
                      <a:pt x="14023" y="2057"/>
                      <a:pt x="13971" y="2075"/>
                      <a:pt x="13947" y="2057"/>
                    </a:cubicBezTo>
                    <a:cubicBezTo>
                      <a:pt x="14066" y="2051"/>
                      <a:pt x="14243" y="2071"/>
                      <a:pt x="14414" y="2125"/>
                    </a:cubicBezTo>
                    <a:cubicBezTo>
                      <a:pt x="14459" y="2140"/>
                      <a:pt x="14514" y="2144"/>
                      <a:pt x="14548" y="2150"/>
                    </a:cubicBezTo>
                    <a:cubicBezTo>
                      <a:pt x="14593" y="2166"/>
                      <a:pt x="14630" y="2194"/>
                      <a:pt x="14675" y="2209"/>
                    </a:cubicBezTo>
                    <a:cubicBezTo>
                      <a:pt x="14755" y="2231"/>
                      <a:pt x="14837" y="2275"/>
                      <a:pt x="14907" y="2309"/>
                    </a:cubicBezTo>
                    <a:cubicBezTo>
                      <a:pt x="14925" y="2285"/>
                      <a:pt x="14968" y="2279"/>
                      <a:pt x="15023" y="2282"/>
                    </a:cubicBezTo>
                    <a:cubicBezTo>
                      <a:pt x="15069" y="2298"/>
                      <a:pt x="15126" y="2323"/>
                      <a:pt x="15184" y="2348"/>
                    </a:cubicBezTo>
                    <a:cubicBezTo>
                      <a:pt x="15248" y="2339"/>
                      <a:pt x="15325" y="2340"/>
                      <a:pt x="15401" y="2340"/>
                    </a:cubicBezTo>
                    <a:cubicBezTo>
                      <a:pt x="15468" y="2353"/>
                      <a:pt x="15545" y="2354"/>
                      <a:pt x="15624" y="2376"/>
                    </a:cubicBezTo>
                    <a:cubicBezTo>
                      <a:pt x="15779" y="2399"/>
                      <a:pt x="15938" y="2443"/>
                      <a:pt x="16096" y="2487"/>
                    </a:cubicBezTo>
                    <a:cubicBezTo>
                      <a:pt x="16120" y="2505"/>
                      <a:pt x="16148" y="2545"/>
                      <a:pt x="16184" y="2573"/>
                    </a:cubicBezTo>
                    <a:cubicBezTo>
                      <a:pt x="16166" y="2521"/>
                      <a:pt x="16352" y="2605"/>
                      <a:pt x="16452" y="2624"/>
                    </a:cubicBezTo>
                    <a:cubicBezTo>
                      <a:pt x="16443" y="2636"/>
                      <a:pt x="16455" y="2646"/>
                      <a:pt x="16434" y="2648"/>
                    </a:cubicBezTo>
                    <a:cubicBezTo>
                      <a:pt x="16467" y="2655"/>
                      <a:pt x="16491" y="2673"/>
                      <a:pt x="16537" y="2689"/>
                    </a:cubicBezTo>
                    <a:cubicBezTo>
                      <a:pt x="16571" y="2695"/>
                      <a:pt x="16595" y="2714"/>
                      <a:pt x="16628" y="2720"/>
                    </a:cubicBezTo>
                    <a:cubicBezTo>
                      <a:pt x="16698" y="2754"/>
                      <a:pt x="16756" y="2779"/>
                      <a:pt x="16814" y="2804"/>
                    </a:cubicBezTo>
                    <a:cubicBezTo>
                      <a:pt x="16884" y="2839"/>
                      <a:pt x="16951" y="2851"/>
                      <a:pt x="17009" y="2876"/>
                    </a:cubicBezTo>
                    <a:cubicBezTo>
                      <a:pt x="17066" y="2901"/>
                      <a:pt x="17112" y="2917"/>
                      <a:pt x="17179" y="2930"/>
                    </a:cubicBezTo>
                    <a:cubicBezTo>
                      <a:pt x="17319" y="2998"/>
                      <a:pt x="17471" y="3076"/>
                      <a:pt x="17635" y="3163"/>
                    </a:cubicBezTo>
                    <a:cubicBezTo>
                      <a:pt x="17787" y="3240"/>
                      <a:pt x="17936" y="3296"/>
                      <a:pt x="18052" y="3346"/>
                    </a:cubicBezTo>
                    <a:cubicBezTo>
                      <a:pt x="18136" y="3411"/>
                      <a:pt x="18276" y="3480"/>
                      <a:pt x="18395" y="3551"/>
                    </a:cubicBezTo>
                    <a:cubicBezTo>
                      <a:pt x="18534" y="3619"/>
                      <a:pt x="18653" y="3690"/>
                      <a:pt x="18735" y="3734"/>
                    </a:cubicBezTo>
                    <a:cubicBezTo>
                      <a:pt x="18863" y="3793"/>
                      <a:pt x="18981" y="3864"/>
                      <a:pt x="19099" y="3936"/>
                    </a:cubicBezTo>
                    <a:cubicBezTo>
                      <a:pt x="19148" y="3973"/>
                      <a:pt x="19206" y="3998"/>
                      <a:pt x="19263" y="4022"/>
                    </a:cubicBezTo>
                    <a:cubicBezTo>
                      <a:pt x="19288" y="4041"/>
                      <a:pt x="19312" y="4060"/>
                      <a:pt x="19345" y="4066"/>
                    </a:cubicBezTo>
                    <a:cubicBezTo>
                      <a:pt x="19370" y="4084"/>
                      <a:pt x="19382" y="4094"/>
                      <a:pt x="19415" y="4100"/>
                    </a:cubicBezTo>
                    <a:cubicBezTo>
                      <a:pt x="19355" y="4054"/>
                      <a:pt x="19373" y="4029"/>
                      <a:pt x="19358" y="3999"/>
                    </a:cubicBezTo>
                    <a:cubicBezTo>
                      <a:pt x="19416" y="4024"/>
                      <a:pt x="19434" y="4076"/>
                      <a:pt x="19492" y="4101"/>
                    </a:cubicBezTo>
                    <a:cubicBezTo>
                      <a:pt x="19465" y="4061"/>
                      <a:pt x="19428" y="4033"/>
                      <a:pt x="19404" y="4014"/>
                    </a:cubicBezTo>
                    <a:cubicBezTo>
                      <a:pt x="19389" y="3984"/>
                      <a:pt x="19365" y="3965"/>
                      <a:pt x="19362" y="3944"/>
                    </a:cubicBezTo>
                    <a:cubicBezTo>
                      <a:pt x="19249" y="3915"/>
                      <a:pt x="19150" y="3743"/>
                      <a:pt x="19098" y="3761"/>
                    </a:cubicBezTo>
                    <a:cubicBezTo>
                      <a:pt x="19040" y="3736"/>
                      <a:pt x="19044" y="3681"/>
                      <a:pt x="19017" y="3641"/>
                    </a:cubicBezTo>
                    <a:cubicBezTo>
                      <a:pt x="18899" y="3570"/>
                      <a:pt x="18789" y="3487"/>
                      <a:pt x="18680" y="3403"/>
                    </a:cubicBezTo>
                    <a:cubicBezTo>
                      <a:pt x="18808" y="3462"/>
                      <a:pt x="18844" y="3490"/>
                      <a:pt x="19006" y="3556"/>
                    </a:cubicBezTo>
                    <a:cubicBezTo>
                      <a:pt x="18909" y="3482"/>
                      <a:pt x="18800" y="3398"/>
                      <a:pt x="18690" y="3315"/>
                    </a:cubicBezTo>
                    <a:cubicBezTo>
                      <a:pt x="18654" y="3287"/>
                      <a:pt x="18630" y="3268"/>
                      <a:pt x="18606" y="3250"/>
                    </a:cubicBezTo>
                    <a:cubicBezTo>
                      <a:pt x="18560" y="3234"/>
                      <a:pt x="18536" y="3216"/>
                      <a:pt x="18499" y="3188"/>
                    </a:cubicBezTo>
                    <a:cubicBezTo>
                      <a:pt x="18451" y="3151"/>
                      <a:pt x="18381" y="3117"/>
                      <a:pt x="18320" y="3070"/>
                    </a:cubicBezTo>
                    <a:cubicBezTo>
                      <a:pt x="18250" y="3036"/>
                      <a:pt x="18190" y="2990"/>
                      <a:pt x="18120" y="2955"/>
                    </a:cubicBezTo>
                    <a:cubicBezTo>
                      <a:pt x="18050" y="2921"/>
                      <a:pt x="17989" y="2875"/>
                      <a:pt x="17919" y="2841"/>
                    </a:cubicBezTo>
                    <a:cubicBezTo>
                      <a:pt x="17849" y="2807"/>
                      <a:pt x="17780" y="2772"/>
                      <a:pt x="17710" y="2738"/>
                    </a:cubicBezTo>
                    <a:cubicBezTo>
                      <a:pt x="17640" y="2704"/>
                      <a:pt x="17561" y="2682"/>
                      <a:pt x="17503" y="2657"/>
                    </a:cubicBezTo>
                    <a:cubicBezTo>
                      <a:pt x="17445" y="2632"/>
                      <a:pt x="17409" y="2604"/>
                      <a:pt x="17369" y="2555"/>
                    </a:cubicBezTo>
                    <a:cubicBezTo>
                      <a:pt x="17360" y="2567"/>
                      <a:pt x="17351" y="2579"/>
                      <a:pt x="17363" y="2589"/>
                    </a:cubicBezTo>
                    <a:cubicBezTo>
                      <a:pt x="17305" y="2564"/>
                      <a:pt x="17247" y="2539"/>
                      <a:pt x="17190" y="2514"/>
                    </a:cubicBezTo>
                    <a:cubicBezTo>
                      <a:pt x="17145" y="2422"/>
                      <a:pt x="16879" y="2392"/>
                      <a:pt x="16757" y="2376"/>
                    </a:cubicBezTo>
                    <a:cubicBezTo>
                      <a:pt x="16709" y="2339"/>
                      <a:pt x="16809" y="2358"/>
                      <a:pt x="16864" y="2361"/>
                    </a:cubicBezTo>
                    <a:cubicBezTo>
                      <a:pt x="16819" y="2346"/>
                      <a:pt x="16746" y="2290"/>
                      <a:pt x="16755" y="2278"/>
                    </a:cubicBezTo>
                    <a:cubicBezTo>
                      <a:pt x="16856" y="2297"/>
                      <a:pt x="16871" y="2328"/>
                      <a:pt x="16947" y="2328"/>
                    </a:cubicBezTo>
                    <a:cubicBezTo>
                      <a:pt x="16920" y="2289"/>
                      <a:pt x="16837" y="2321"/>
                      <a:pt x="16819" y="2269"/>
                    </a:cubicBezTo>
                    <a:cubicBezTo>
                      <a:pt x="16740" y="2247"/>
                      <a:pt x="16777" y="2275"/>
                      <a:pt x="16719" y="2250"/>
                    </a:cubicBezTo>
                    <a:cubicBezTo>
                      <a:pt x="16697" y="2253"/>
                      <a:pt x="16664" y="2247"/>
                      <a:pt x="16640" y="2228"/>
                    </a:cubicBezTo>
                    <a:cubicBezTo>
                      <a:pt x="16658" y="2204"/>
                      <a:pt x="16747" y="2214"/>
                      <a:pt x="16756" y="2202"/>
                    </a:cubicBezTo>
                    <a:cubicBezTo>
                      <a:pt x="16768" y="2211"/>
                      <a:pt x="16792" y="2229"/>
                      <a:pt x="16814" y="2227"/>
                    </a:cubicBezTo>
                    <a:cubicBezTo>
                      <a:pt x="16750" y="2235"/>
                      <a:pt x="16932" y="2298"/>
                      <a:pt x="17002" y="2332"/>
                    </a:cubicBezTo>
                    <a:cubicBezTo>
                      <a:pt x="17026" y="2351"/>
                      <a:pt x="17005" y="2353"/>
                      <a:pt x="17041" y="2381"/>
                    </a:cubicBezTo>
                    <a:cubicBezTo>
                      <a:pt x="17133" y="2413"/>
                      <a:pt x="17188" y="2416"/>
                      <a:pt x="17243" y="2420"/>
                    </a:cubicBezTo>
                    <a:cubicBezTo>
                      <a:pt x="17288" y="2435"/>
                      <a:pt x="17355" y="2448"/>
                      <a:pt x="17425" y="2482"/>
                    </a:cubicBezTo>
                    <a:cubicBezTo>
                      <a:pt x="17428" y="2504"/>
                      <a:pt x="17279" y="2447"/>
                      <a:pt x="17224" y="2444"/>
                    </a:cubicBezTo>
                    <a:cubicBezTo>
                      <a:pt x="17294" y="2478"/>
                      <a:pt x="17434" y="2546"/>
                      <a:pt x="17416" y="2494"/>
                    </a:cubicBezTo>
                    <a:cubicBezTo>
                      <a:pt x="17501" y="2559"/>
                      <a:pt x="17583" y="2603"/>
                      <a:pt x="17686" y="2643"/>
                    </a:cubicBezTo>
                    <a:cubicBezTo>
                      <a:pt x="17790" y="2684"/>
                      <a:pt x="17881" y="2715"/>
                      <a:pt x="17975" y="2768"/>
                    </a:cubicBezTo>
                    <a:cubicBezTo>
                      <a:pt x="17936" y="2719"/>
                      <a:pt x="17878" y="2694"/>
                      <a:pt x="17820" y="2669"/>
                    </a:cubicBezTo>
                    <a:cubicBezTo>
                      <a:pt x="17787" y="2662"/>
                      <a:pt x="17741" y="2647"/>
                      <a:pt x="17717" y="2628"/>
                    </a:cubicBezTo>
                    <a:cubicBezTo>
                      <a:pt x="17683" y="2622"/>
                      <a:pt x="17650" y="2615"/>
                      <a:pt x="17626" y="2597"/>
                    </a:cubicBezTo>
                    <a:cubicBezTo>
                      <a:pt x="17647" y="2594"/>
                      <a:pt x="17681" y="2600"/>
                      <a:pt x="17726" y="2616"/>
                    </a:cubicBezTo>
                    <a:cubicBezTo>
                      <a:pt x="17760" y="2622"/>
                      <a:pt x="17805" y="2638"/>
                      <a:pt x="17842" y="2666"/>
                    </a:cubicBezTo>
                    <a:cubicBezTo>
                      <a:pt x="17924" y="2709"/>
                      <a:pt x="18006" y="2753"/>
                      <a:pt x="18057" y="2811"/>
                    </a:cubicBezTo>
                    <a:cubicBezTo>
                      <a:pt x="18206" y="2868"/>
                      <a:pt x="18358" y="2945"/>
                      <a:pt x="18482" y="3059"/>
                    </a:cubicBezTo>
                    <a:cubicBezTo>
                      <a:pt x="18540" y="3084"/>
                      <a:pt x="18598" y="3109"/>
                      <a:pt x="18646" y="3146"/>
                    </a:cubicBezTo>
                    <a:cubicBezTo>
                      <a:pt x="18704" y="3171"/>
                      <a:pt x="18765" y="3217"/>
                      <a:pt x="18823" y="3242"/>
                    </a:cubicBezTo>
                    <a:cubicBezTo>
                      <a:pt x="18920" y="3317"/>
                      <a:pt x="19038" y="3388"/>
                      <a:pt x="19135" y="3462"/>
                    </a:cubicBezTo>
                    <a:cubicBezTo>
                      <a:pt x="19232" y="3536"/>
                      <a:pt x="19341" y="3620"/>
                      <a:pt x="19438" y="3694"/>
                    </a:cubicBezTo>
                    <a:cubicBezTo>
                      <a:pt x="19486" y="3731"/>
                      <a:pt x="19535" y="3768"/>
                      <a:pt x="19596" y="3814"/>
                    </a:cubicBezTo>
                    <a:cubicBezTo>
                      <a:pt x="19644" y="3851"/>
                      <a:pt x="19693" y="3888"/>
                      <a:pt x="19741" y="3925"/>
                    </a:cubicBezTo>
                    <a:cubicBezTo>
                      <a:pt x="19723" y="3873"/>
                      <a:pt x="19675" y="3836"/>
                      <a:pt x="19648" y="3796"/>
                    </a:cubicBezTo>
                    <a:cubicBezTo>
                      <a:pt x="19608" y="3747"/>
                      <a:pt x="19560" y="3710"/>
                      <a:pt x="19542" y="3658"/>
                    </a:cubicBezTo>
                    <a:cubicBezTo>
                      <a:pt x="19436" y="3596"/>
                      <a:pt x="19348" y="3510"/>
                      <a:pt x="19279" y="3399"/>
                    </a:cubicBezTo>
                    <a:cubicBezTo>
                      <a:pt x="19233" y="3383"/>
                      <a:pt x="19258" y="3402"/>
                      <a:pt x="19224" y="3395"/>
                    </a:cubicBezTo>
                    <a:cubicBezTo>
                      <a:pt x="19179" y="3303"/>
                      <a:pt x="19088" y="3272"/>
                      <a:pt x="19025" y="3204"/>
                    </a:cubicBezTo>
                    <a:cubicBezTo>
                      <a:pt x="18997" y="3164"/>
                      <a:pt x="19055" y="3189"/>
                      <a:pt x="19113" y="3214"/>
                    </a:cubicBezTo>
                    <a:cubicBezTo>
                      <a:pt x="19025" y="3128"/>
                      <a:pt x="18919" y="3066"/>
                      <a:pt x="18834" y="3001"/>
                    </a:cubicBezTo>
                    <a:cubicBezTo>
                      <a:pt x="18771" y="2933"/>
                      <a:pt x="18889" y="3005"/>
                      <a:pt x="18850" y="2955"/>
                    </a:cubicBezTo>
                    <a:cubicBezTo>
                      <a:pt x="18726" y="2841"/>
                      <a:pt x="18616" y="2834"/>
                      <a:pt x="18449" y="2726"/>
                    </a:cubicBezTo>
                    <a:cubicBezTo>
                      <a:pt x="18419" y="2664"/>
                      <a:pt x="18629" y="2767"/>
                      <a:pt x="18699" y="2801"/>
                    </a:cubicBezTo>
                    <a:cubicBezTo>
                      <a:pt x="18675" y="2783"/>
                      <a:pt x="18647" y="2743"/>
                      <a:pt x="18623" y="2724"/>
                    </a:cubicBezTo>
                    <a:cubicBezTo>
                      <a:pt x="18611" y="2715"/>
                      <a:pt x="18626" y="2746"/>
                      <a:pt x="18626" y="2746"/>
                    </a:cubicBezTo>
                    <a:cubicBezTo>
                      <a:pt x="18556" y="2711"/>
                      <a:pt x="18517" y="2662"/>
                      <a:pt x="18474" y="2668"/>
                    </a:cubicBezTo>
                    <a:cubicBezTo>
                      <a:pt x="18447" y="2628"/>
                      <a:pt x="18471" y="2647"/>
                      <a:pt x="18444" y="2607"/>
                    </a:cubicBezTo>
                    <a:cubicBezTo>
                      <a:pt x="18304" y="2538"/>
                      <a:pt x="18186" y="2467"/>
                      <a:pt x="18065" y="2374"/>
                    </a:cubicBezTo>
                    <a:cubicBezTo>
                      <a:pt x="18019" y="2359"/>
                      <a:pt x="18010" y="2371"/>
                      <a:pt x="18037" y="2411"/>
                    </a:cubicBezTo>
                    <a:cubicBezTo>
                      <a:pt x="17982" y="2407"/>
                      <a:pt x="17946" y="2379"/>
                      <a:pt x="17900" y="2364"/>
                    </a:cubicBezTo>
                    <a:cubicBezTo>
                      <a:pt x="17882" y="2312"/>
                      <a:pt x="17879" y="2290"/>
                      <a:pt x="17886" y="2257"/>
                    </a:cubicBezTo>
                    <a:cubicBezTo>
                      <a:pt x="17922" y="2284"/>
                      <a:pt x="17968" y="2300"/>
                      <a:pt x="18013" y="2316"/>
                    </a:cubicBezTo>
                    <a:cubicBezTo>
                      <a:pt x="18050" y="2344"/>
                      <a:pt x="18108" y="2368"/>
                      <a:pt x="18153" y="2384"/>
                    </a:cubicBezTo>
                    <a:cubicBezTo>
                      <a:pt x="18245" y="2415"/>
                      <a:pt x="18324" y="2437"/>
                      <a:pt x="18367" y="2432"/>
                    </a:cubicBezTo>
                    <a:cubicBezTo>
                      <a:pt x="18461" y="2484"/>
                      <a:pt x="18461" y="2484"/>
                      <a:pt x="18461" y="2484"/>
                    </a:cubicBezTo>
                    <a:cubicBezTo>
                      <a:pt x="18485" y="2503"/>
                      <a:pt x="18509" y="2521"/>
                      <a:pt x="18534" y="2540"/>
                    </a:cubicBezTo>
                    <a:cubicBezTo>
                      <a:pt x="18603" y="2574"/>
                      <a:pt x="18652" y="2611"/>
                      <a:pt x="18722" y="2645"/>
                    </a:cubicBezTo>
                    <a:cubicBezTo>
                      <a:pt x="18831" y="2729"/>
                      <a:pt x="18949" y="2800"/>
                      <a:pt x="19037" y="2886"/>
                    </a:cubicBezTo>
                    <a:cubicBezTo>
                      <a:pt x="19016" y="2813"/>
                      <a:pt x="19165" y="2946"/>
                      <a:pt x="19252" y="3032"/>
                    </a:cubicBezTo>
                    <a:cubicBezTo>
                      <a:pt x="19267" y="3063"/>
                      <a:pt x="19165" y="2946"/>
                      <a:pt x="19110" y="2942"/>
                    </a:cubicBezTo>
                    <a:cubicBezTo>
                      <a:pt x="19188" y="3041"/>
                      <a:pt x="19322" y="3066"/>
                      <a:pt x="19419" y="3140"/>
                    </a:cubicBezTo>
                    <a:cubicBezTo>
                      <a:pt x="19471" y="3199"/>
                      <a:pt x="19352" y="3127"/>
                      <a:pt x="19449" y="3202"/>
                    </a:cubicBezTo>
                    <a:cubicBezTo>
                      <a:pt x="19501" y="3184"/>
                      <a:pt x="19735" y="3381"/>
                      <a:pt x="19837" y="3498"/>
                    </a:cubicBezTo>
                    <a:cubicBezTo>
                      <a:pt x="19965" y="3557"/>
                      <a:pt x="20068" y="3674"/>
                      <a:pt x="20204" y="3798"/>
                    </a:cubicBezTo>
                    <a:cubicBezTo>
                      <a:pt x="20256" y="3780"/>
                      <a:pt x="20101" y="3681"/>
                      <a:pt x="20062" y="3632"/>
                    </a:cubicBezTo>
                    <a:cubicBezTo>
                      <a:pt x="20122" y="3678"/>
                      <a:pt x="20241" y="3749"/>
                      <a:pt x="20353" y="3854"/>
                    </a:cubicBezTo>
                    <a:cubicBezTo>
                      <a:pt x="20465" y="3959"/>
                      <a:pt x="20567" y="4076"/>
                      <a:pt x="20658" y="4184"/>
                    </a:cubicBezTo>
                    <a:cubicBezTo>
                      <a:pt x="20740" y="4227"/>
                      <a:pt x="20882" y="4393"/>
                      <a:pt x="20999" y="4541"/>
                    </a:cubicBezTo>
                    <a:cubicBezTo>
                      <a:pt x="21063" y="4609"/>
                      <a:pt x="21136" y="4664"/>
                      <a:pt x="21187" y="4723"/>
                    </a:cubicBezTo>
                    <a:cubicBezTo>
                      <a:pt x="21248" y="4769"/>
                      <a:pt x="21284" y="4797"/>
                      <a:pt x="21305" y="4794"/>
                    </a:cubicBezTo>
                    <a:cubicBezTo>
                      <a:pt x="21411" y="4932"/>
                      <a:pt x="21490" y="4955"/>
                      <a:pt x="21559" y="5065"/>
                    </a:cubicBezTo>
                    <a:cubicBezTo>
                      <a:pt x="21541" y="5089"/>
                      <a:pt x="21486" y="5010"/>
                      <a:pt x="21468" y="5034"/>
                    </a:cubicBezTo>
                    <a:cubicBezTo>
                      <a:pt x="21504" y="5062"/>
                      <a:pt x="21531" y="5102"/>
                      <a:pt x="21568" y="5129"/>
                    </a:cubicBezTo>
                    <a:cubicBezTo>
                      <a:pt x="21595" y="5169"/>
                      <a:pt x="21631" y="5197"/>
                      <a:pt x="21667" y="5225"/>
                    </a:cubicBezTo>
                    <a:cubicBezTo>
                      <a:pt x="21719" y="5283"/>
                      <a:pt x="21782" y="5351"/>
                      <a:pt x="21831" y="5388"/>
                    </a:cubicBezTo>
                    <a:cubicBezTo>
                      <a:pt x="21943" y="5493"/>
                      <a:pt x="22027" y="5558"/>
                      <a:pt x="22080" y="5540"/>
                    </a:cubicBezTo>
                    <a:cubicBezTo>
                      <a:pt x="22038" y="5469"/>
                      <a:pt x="21975" y="5325"/>
                      <a:pt x="22021" y="5341"/>
                    </a:cubicBezTo>
                    <a:cubicBezTo>
                      <a:pt x="21976" y="5249"/>
                      <a:pt x="21907" y="5138"/>
                      <a:pt x="21852" y="5058"/>
                    </a:cubicBezTo>
                    <a:cubicBezTo>
                      <a:pt x="21795" y="4957"/>
                      <a:pt x="21763" y="4874"/>
                      <a:pt x="21778" y="4828"/>
                    </a:cubicBezTo>
                    <a:cubicBezTo>
                      <a:pt x="21684" y="4776"/>
                      <a:pt x="21600" y="4634"/>
                      <a:pt x="21557" y="4640"/>
                    </a:cubicBezTo>
                    <a:cubicBezTo>
                      <a:pt x="21560" y="4662"/>
                      <a:pt x="21597" y="4689"/>
                      <a:pt x="21621" y="4708"/>
                    </a:cubicBezTo>
                    <a:cubicBezTo>
                      <a:pt x="21627" y="4751"/>
                      <a:pt x="21599" y="4711"/>
                      <a:pt x="21551" y="4674"/>
                    </a:cubicBezTo>
                    <a:cubicBezTo>
                      <a:pt x="21530" y="4600"/>
                      <a:pt x="21503" y="4560"/>
                      <a:pt x="21464" y="4511"/>
                    </a:cubicBezTo>
                    <a:cubicBezTo>
                      <a:pt x="21434" y="4450"/>
                      <a:pt x="21468" y="4456"/>
                      <a:pt x="21507" y="4505"/>
                    </a:cubicBezTo>
                    <a:cubicBezTo>
                      <a:pt x="21492" y="4475"/>
                      <a:pt x="21489" y="4453"/>
                      <a:pt x="21465" y="4435"/>
                    </a:cubicBezTo>
                    <a:cubicBezTo>
                      <a:pt x="21453" y="4425"/>
                      <a:pt x="21441" y="4416"/>
                      <a:pt x="21419" y="4419"/>
                    </a:cubicBezTo>
                    <a:cubicBezTo>
                      <a:pt x="21399" y="4345"/>
                      <a:pt x="21323" y="4268"/>
                      <a:pt x="21232" y="4161"/>
                    </a:cubicBezTo>
                    <a:cubicBezTo>
                      <a:pt x="21145" y="4074"/>
                      <a:pt x="21045" y="3979"/>
                      <a:pt x="20960" y="3914"/>
                    </a:cubicBezTo>
                    <a:cubicBezTo>
                      <a:pt x="20891" y="3803"/>
                      <a:pt x="20791" y="3708"/>
                      <a:pt x="20682" y="3624"/>
                    </a:cubicBezTo>
                    <a:cubicBezTo>
                      <a:pt x="20658" y="3606"/>
                      <a:pt x="20634" y="3587"/>
                      <a:pt x="20609" y="3569"/>
                    </a:cubicBezTo>
                    <a:cubicBezTo>
                      <a:pt x="20573" y="3541"/>
                      <a:pt x="20549" y="3522"/>
                      <a:pt x="20524" y="3504"/>
                    </a:cubicBezTo>
                    <a:cubicBezTo>
                      <a:pt x="20464" y="3457"/>
                      <a:pt x="20406" y="3433"/>
                      <a:pt x="20345" y="3386"/>
                    </a:cubicBezTo>
                    <a:cubicBezTo>
                      <a:pt x="20333" y="3377"/>
                      <a:pt x="20331" y="3355"/>
                      <a:pt x="20331" y="3355"/>
                    </a:cubicBezTo>
                    <a:cubicBezTo>
                      <a:pt x="20453" y="3372"/>
                      <a:pt x="20640" y="3554"/>
                      <a:pt x="20758" y="3625"/>
                    </a:cubicBezTo>
                    <a:cubicBezTo>
                      <a:pt x="20753" y="3582"/>
                      <a:pt x="20704" y="3545"/>
                      <a:pt x="20699" y="3502"/>
                    </a:cubicBezTo>
                    <a:cubicBezTo>
                      <a:pt x="20520" y="3385"/>
                      <a:pt x="20398" y="3292"/>
                      <a:pt x="20274" y="3178"/>
                    </a:cubicBezTo>
                    <a:cubicBezTo>
                      <a:pt x="20250" y="3159"/>
                      <a:pt x="20214" y="3131"/>
                      <a:pt x="20189" y="3113"/>
                    </a:cubicBezTo>
                    <a:cubicBezTo>
                      <a:pt x="20153" y="3085"/>
                      <a:pt x="20117" y="3057"/>
                      <a:pt x="20080" y="3029"/>
                    </a:cubicBezTo>
                    <a:cubicBezTo>
                      <a:pt x="20020" y="2983"/>
                      <a:pt x="19947" y="2927"/>
                      <a:pt x="19874" y="2872"/>
                    </a:cubicBezTo>
                    <a:cubicBezTo>
                      <a:pt x="19862" y="2863"/>
                      <a:pt x="19884" y="2860"/>
                      <a:pt x="19859" y="2841"/>
                    </a:cubicBezTo>
                    <a:cubicBezTo>
                      <a:pt x="19981" y="2934"/>
                      <a:pt x="20160" y="3051"/>
                      <a:pt x="20239" y="3073"/>
                    </a:cubicBezTo>
                    <a:cubicBezTo>
                      <a:pt x="20209" y="3012"/>
                      <a:pt x="20142" y="2999"/>
                      <a:pt x="20112" y="2938"/>
                    </a:cubicBezTo>
                    <a:cubicBezTo>
                      <a:pt x="20118" y="2981"/>
                      <a:pt x="20057" y="2934"/>
                      <a:pt x="20006" y="2876"/>
                    </a:cubicBezTo>
                    <a:cubicBezTo>
                      <a:pt x="20008" y="2897"/>
                      <a:pt x="19999" y="2910"/>
                      <a:pt x="19966" y="2903"/>
                    </a:cubicBezTo>
                    <a:cubicBezTo>
                      <a:pt x="19926" y="2854"/>
                      <a:pt x="19842" y="2789"/>
                      <a:pt x="19759" y="2746"/>
                    </a:cubicBezTo>
                    <a:cubicBezTo>
                      <a:pt x="19699" y="2699"/>
                      <a:pt x="19629" y="2665"/>
                      <a:pt x="19635" y="2708"/>
                    </a:cubicBezTo>
                    <a:cubicBezTo>
                      <a:pt x="19577" y="2683"/>
                      <a:pt x="19650" y="2662"/>
                      <a:pt x="19559" y="2631"/>
                    </a:cubicBezTo>
                    <a:cubicBezTo>
                      <a:pt x="19556" y="2609"/>
                      <a:pt x="19641" y="2674"/>
                      <a:pt x="19623" y="2622"/>
                    </a:cubicBezTo>
                    <a:cubicBezTo>
                      <a:pt x="19551" y="2567"/>
                      <a:pt x="19462" y="2557"/>
                      <a:pt x="19477" y="2587"/>
                    </a:cubicBezTo>
                    <a:cubicBezTo>
                      <a:pt x="19419" y="2562"/>
                      <a:pt x="19447" y="2526"/>
                      <a:pt x="19420" y="2486"/>
                    </a:cubicBezTo>
                    <a:cubicBezTo>
                      <a:pt x="19302" y="2415"/>
                      <a:pt x="19353" y="2473"/>
                      <a:pt x="19274" y="2451"/>
                    </a:cubicBezTo>
                    <a:cubicBezTo>
                      <a:pt x="19225" y="2414"/>
                      <a:pt x="19232" y="2381"/>
                      <a:pt x="19268" y="2408"/>
                    </a:cubicBezTo>
                    <a:cubicBezTo>
                      <a:pt x="19193" y="2331"/>
                      <a:pt x="19189" y="2386"/>
                      <a:pt x="19155" y="2380"/>
                    </a:cubicBezTo>
                    <a:cubicBezTo>
                      <a:pt x="19140" y="2349"/>
                      <a:pt x="19068" y="2294"/>
                      <a:pt x="19086" y="2269"/>
                    </a:cubicBezTo>
                    <a:cubicBezTo>
                      <a:pt x="19132" y="2285"/>
                      <a:pt x="19180" y="2322"/>
                      <a:pt x="19226" y="2338"/>
                    </a:cubicBezTo>
                    <a:cubicBezTo>
                      <a:pt x="19138" y="2251"/>
                      <a:pt x="19050" y="2242"/>
                      <a:pt x="19043" y="2275"/>
                    </a:cubicBezTo>
                    <a:cubicBezTo>
                      <a:pt x="18983" y="2229"/>
                      <a:pt x="18910" y="2173"/>
                      <a:pt x="18852" y="2148"/>
                    </a:cubicBezTo>
                    <a:cubicBezTo>
                      <a:pt x="18782" y="2114"/>
                      <a:pt x="18725" y="2089"/>
                      <a:pt x="18658" y="2076"/>
                    </a:cubicBezTo>
                    <a:cubicBezTo>
                      <a:pt x="18582" y="1999"/>
                      <a:pt x="18698" y="2049"/>
                      <a:pt x="18661" y="2021"/>
                    </a:cubicBezTo>
                    <a:cubicBezTo>
                      <a:pt x="18752" y="2053"/>
                      <a:pt x="18825" y="2108"/>
                      <a:pt x="18907" y="2152"/>
                    </a:cubicBezTo>
                    <a:cubicBezTo>
                      <a:pt x="18844" y="2084"/>
                      <a:pt x="18862" y="2060"/>
                      <a:pt x="18966" y="2100"/>
                    </a:cubicBezTo>
                    <a:cubicBezTo>
                      <a:pt x="18927" y="2051"/>
                      <a:pt x="18869" y="2026"/>
                      <a:pt x="18850" y="2050"/>
                    </a:cubicBezTo>
                    <a:cubicBezTo>
                      <a:pt x="18847" y="2029"/>
                      <a:pt x="18835" y="2020"/>
                      <a:pt x="18811" y="2001"/>
                    </a:cubicBezTo>
                    <a:cubicBezTo>
                      <a:pt x="18787" y="1983"/>
                      <a:pt x="18763" y="1964"/>
                      <a:pt x="18760" y="1943"/>
                    </a:cubicBezTo>
                    <a:cubicBezTo>
                      <a:pt x="18635" y="1905"/>
                      <a:pt x="18538" y="1831"/>
                      <a:pt x="18383" y="1732"/>
                    </a:cubicBezTo>
                    <a:cubicBezTo>
                      <a:pt x="18368" y="1701"/>
                      <a:pt x="18520" y="1779"/>
                      <a:pt x="18526" y="1822"/>
                    </a:cubicBezTo>
                    <a:cubicBezTo>
                      <a:pt x="18550" y="1840"/>
                      <a:pt x="18547" y="1819"/>
                      <a:pt x="18535" y="1809"/>
                    </a:cubicBezTo>
                    <a:cubicBezTo>
                      <a:pt x="18547" y="1819"/>
                      <a:pt x="18569" y="1816"/>
                      <a:pt x="18581" y="1825"/>
                    </a:cubicBezTo>
                    <a:cubicBezTo>
                      <a:pt x="18517" y="1757"/>
                      <a:pt x="18426" y="1726"/>
                      <a:pt x="18344" y="1683"/>
                    </a:cubicBezTo>
                    <a:cubicBezTo>
                      <a:pt x="18317" y="1643"/>
                      <a:pt x="18372" y="1646"/>
                      <a:pt x="18345" y="1606"/>
                    </a:cubicBezTo>
                    <a:cubicBezTo>
                      <a:pt x="18290" y="1603"/>
                      <a:pt x="18299" y="1590"/>
                      <a:pt x="18208" y="1559"/>
                    </a:cubicBezTo>
                    <a:cubicBezTo>
                      <a:pt x="18135" y="1504"/>
                      <a:pt x="18169" y="1510"/>
                      <a:pt x="18141" y="1470"/>
                    </a:cubicBezTo>
                    <a:cubicBezTo>
                      <a:pt x="18084" y="1445"/>
                      <a:pt x="18086" y="1466"/>
                      <a:pt x="18053" y="1460"/>
                    </a:cubicBezTo>
                    <a:cubicBezTo>
                      <a:pt x="18004" y="1423"/>
                      <a:pt x="18072" y="1436"/>
                      <a:pt x="17999" y="1380"/>
                    </a:cubicBezTo>
                    <a:cubicBezTo>
                      <a:pt x="17929" y="1346"/>
                      <a:pt x="17871" y="1321"/>
                      <a:pt x="17801" y="1287"/>
                    </a:cubicBezTo>
                    <a:cubicBezTo>
                      <a:pt x="17743" y="1262"/>
                      <a:pt x="17683" y="1216"/>
                      <a:pt x="17625" y="1191"/>
                    </a:cubicBezTo>
                    <a:cubicBezTo>
                      <a:pt x="17586" y="1141"/>
                      <a:pt x="17671" y="1206"/>
                      <a:pt x="17747" y="1207"/>
                    </a:cubicBezTo>
                    <a:cubicBezTo>
                      <a:pt x="17699" y="1170"/>
                      <a:pt x="17610" y="1160"/>
                      <a:pt x="17571" y="1111"/>
                    </a:cubicBezTo>
                    <a:cubicBezTo>
                      <a:pt x="17562" y="1123"/>
                      <a:pt x="17504" y="1098"/>
                      <a:pt x="17528" y="1116"/>
                    </a:cubicBezTo>
                    <a:cubicBezTo>
                      <a:pt x="17458" y="1082"/>
                      <a:pt x="17376" y="1039"/>
                      <a:pt x="17306" y="1005"/>
                    </a:cubicBezTo>
                    <a:cubicBezTo>
                      <a:pt x="17215" y="973"/>
                      <a:pt x="17145" y="939"/>
                      <a:pt x="17054" y="908"/>
                    </a:cubicBezTo>
                    <a:cubicBezTo>
                      <a:pt x="16892" y="842"/>
                      <a:pt x="16731" y="777"/>
                      <a:pt x="16582" y="721"/>
                    </a:cubicBezTo>
                    <a:cubicBezTo>
                      <a:pt x="16548" y="714"/>
                      <a:pt x="16585" y="742"/>
                      <a:pt x="16609" y="761"/>
                    </a:cubicBezTo>
                    <a:cubicBezTo>
                      <a:pt x="16542" y="748"/>
                      <a:pt x="16487" y="744"/>
                      <a:pt x="16441" y="729"/>
                    </a:cubicBezTo>
                    <a:cubicBezTo>
                      <a:pt x="16421" y="655"/>
                      <a:pt x="16308" y="627"/>
                      <a:pt x="16183" y="589"/>
                    </a:cubicBezTo>
                    <a:cubicBezTo>
                      <a:pt x="16049" y="563"/>
                      <a:pt x="15906" y="550"/>
                      <a:pt x="15824" y="507"/>
                    </a:cubicBezTo>
                    <a:cubicBezTo>
                      <a:pt x="15864" y="479"/>
                      <a:pt x="15952" y="489"/>
                      <a:pt x="16041" y="499"/>
                    </a:cubicBezTo>
                    <a:cubicBezTo>
                      <a:pt x="16086" y="515"/>
                      <a:pt x="16132" y="530"/>
                      <a:pt x="16187" y="534"/>
                    </a:cubicBezTo>
                    <a:cubicBezTo>
                      <a:pt x="16245" y="559"/>
                      <a:pt x="16290" y="575"/>
                      <a:pt x="16345" y="578"/>
                    </a:cubicBezTo>
                    <a:cubicBezTo>
                      <a:pt x="16287" y="553"/>
                      <a:pt x="16242" y="537"/>
                      <a:pt x="16196" y="522"/>
                    </a:cubicBezTo>
                    <a:cubicBezTo>
                      <a:pt x="16150" y="506"/>
                      <a:pt x="16117" y="500"/>
                      <a:pt x="16102" y="469"/>
                    </a:cubicBezTo>
                    <a:cubicBezTo>
                      <a:pt x="16047" y="466"/>
                      <a:pt x="16004" y="471"/>
                      <a:pt x="15959" y="456"/>
                    </a:cubicBezTo>
                    <a:cubicBezTo>
                      <a:pt x="15901" y="431"/>
                      <a:pt x="15922" y="428"/>
                      <a:pt x="15898" y="409"/>
                    </a:cubicBezTo>
                    <a:cubicBezTo>
                      <a:pt x="15965" y="422"/>
                      <a:pt x="16041" y="423"/>
                      <a:pt x="16090" y="460"/>
                    </a:cubicBezTo>
                    <a:cubicBezTo>
                      <a:pt x="16063" y="420"/>
                      <a:pt x="16145" y="463"/>
                      <a:pt x="16176" y="448"/>
                    </a:cubicBezTo>
                    <a:cubicBezTo>
                      <a:pt x="16088" y="362"/>
                      <a:pt x="15944" y="425"/>
                      <a:pt x="15856" y="339"/>
                    </a:cubicBezTo>
                    <a:cubicBezTo>
                      <a:pt x="15801" y="335"/>
                      <a:pt x="15737" y="344"/>
                      <a:pt x="15682" y="340"/>
                    </a:cubicBezTo>
                    <a:cubicBezTo>
                      <a:pt x="15627" y="337"/>
                      <a:pt x="15563" y="346"/>
                      <a:pt x="15520" y="351"/>
                    </a:cubicBezTo>
                    <a:cubicBezTo>
                      <a:pt x="15438" y="308"/>
                      <a:pt x="15480" y="302"/>
                      <a:pt x="15535" y="306"/>
                    </a:cubicBezTo>
                    <a:cubicBezTo>
                      <a:pt x="15484" y="247"/>
                      <a:pt x="15386" y="249"/>
                      <a:pt x="15316" y="215"/>
                    </a:cubicBezTo>
                    <a:cubicBezTo>
                      <a:pt x="15331" y="246"/>
                      <a:pt x="15301" y="261"/>
                      <a:pt x="15200" y="242"/>
                    </a:cubicBezTo>
                    <a:cubicBezTo>
                      <a:pt x="15246" y="257"/>
                      <a:pt x="15301" y="261"/>
                      <a:pt x="15337" y="289"/>
                    </a:cubicBezTo>
                    <a:cubicBezTo>
                      <a:pt x="15261" y="288"/>
                      <a:pt x="15181" y="266"/>
                      <a:pt x="15112" y="232"/>
                    </a:cubicBezTo>
                    <a:cubicBezTo>
                      <a:pt x="15035" y="231"/>
                      <a:pt x="14959" y="231"/>
                      <a:pt x="14882" y="230"/>
                    </a:cubicBezTo>
                    <a:cubicBezTo>
                      <a:pt x="14855" y="190"/>
                      <a:pt x="14935" y="212"/>
                      <a:pt x="14788" y="177"/>
                    </a:cubicBezTo>
                    <a:cubicBezTo>
                      <a:pt x="14685" y="137"/>
                      <a:pt x="14850" y="147"/>
                      <a:pt x="14758" y="116"/>
                    </a:cubicBezTo>
                    <a:cubicBezTo>
                      <a:pt x="14700" y="167"/>
                      <a:pt x="14584" y="118"/>
                      <a:pt x="14434" y="138"/>
                    </a:cubicBezTo>
                    <a:cubicBezTo>
                      <a:pt x="14288" y="103"/>
                      <a:pt x="14154" y="77"/>
                      <a:pt x="14017" y="30"/>
                    </a:cubicBezTo>
                    <a:cubicBezTo>
                      <a:pt x="13903" y="78"/>
                      <a:pt x="13760" y="65"/>
                      <a:pt x="13598" y="76"/>
                    </a:cubicBezTo>
                    <a:cubicBezTo>
                      <a:pt x="13507" y="45"/>
                      <a:pt x="13693" y="52"/>
                      <a:pt x="13669" y="34"/>
                    </a:cubicBezTo>
                    <a:cubicBezTo>
                      <a:pt x="13559" y="27"/>
                      <a:pt x="13440" y="32"/>
                      <a:pt x="13354" y="43"/>
                    </a:cubicBezTo>
                    <a:cubicBezTo>
                      <a:pt x="13247" y="58"/>
                      <a:pt x="13164" y="91"/>
                      <a:pt x="13112" y="109"/>
                    </a:cubicBezTo>
                    <a:cubicBezTo>
                      <a:pt x="13322" y="135"/>
                      <a:pt x="13412" y="68"/>
                      <a:pt x="13552" y="60"/>
                    </a:cubicBezTo>
                    <a:cubicBezTo>
                      <a:pt x="13589" y="88"/>
                      <a:pt x="13589" y="88"/>
                      <a:pt x="13558" y="103"/>
                    </a:cubicBezTo>
                    <a:cubicBezTo>
                      <a:pt x="13625" y="116"/>
                      <a:pt x="13720" y="92"/>
                      <a:pt x="13674" y="77"/>
                    </a:cubicBezTo>
                    <a:cubicBezTo>
                      <a:pt x="13720" y="92"/>
                      <a:pt x="13766" y="108"/>
                      <a:pt x="13842" y="108"/>
                    </a:cubicBezTo>
                    <a:cubicBezTo>
                      <a:pt x="13918" y="109"/>
                      <a:pt x="13985" y="122"/>
                      <a:pt x="14062" y="122"/>
                    </a:cubicBezTo>
                    <a:cubicBezTo>
                      <a:pt x="14215" y="124"/>
                      <a:pt x="14379" y="134"/>
                      <a:pt x="14507" y="193"/>
                    </a:cubicBezTo>
                    <a:cubicBezTo>
                      <a:pt x="14421" y="205"/>
                      <a:pt x="14281" y="213"/>
                      <a:pt x="14147" y="187"/>
                    </a:cubicBezTo>
                    <a:cubicBezTo>
                      <a:pt x="14003" y="174"/>
                      <a:pt x="13869" y="148"/>
                      <a:pt x="13747" y="132"/>
                    </a:cubicBezTo>
                    <a:cubicBezTo>
                      <a:pt x="13664" y="165"/>
                      <a:pt x="13545" y="170"/>
                      <a:pt x="13402" y="157"/>
                    </a:cubicBezTo>
                    <a:cubicBezTo>
                      <a:pt x="13368" y="150"/>
                      <a:pt x="13347" y="153"/>
                      <a:pt x="13304" y="159"/>
                    </a:cubicBezTo>
                    <a:cubicBezTo>
                      <a:pt x="13270" y="153"/>
                      <a:pt x="13237" y="146"/>
                      <a:pt x="13194" y="152"/>
                    </a:cubicBezTo>
                    <a:cubicBezTo>
                      <a:pt x="13127" y="139"/>
                      <a:pt x="13038" y="129"/>
                      <a:pt x="12962" y="129"/>
                    </a:cubicBezTo>
                    <a:cubicBezTo>
                      <a:pt x="13057" y="105"/>
                      <a:pt x="13118" y="75"/>
                      <a:pt x="13134" y="29"/>
                    </a:cubicBezTo>
                    <a:cubicBezTo>
                      <a:pt x="13061" y="50"/>
                      <a:pt x="13015" y="35"/>
                      <a:pt x="12941" y="55"/>
                    </a:cubicBezTo>
                    <a:cubicBezTo>
                      <a:pt x="12847" y="3"/>
                      <a:pt x="12771" y="2"/>
                      <a:pt x="12697" y="23"/>
                    </a:cubicBezTo>
                    <a:cubicBezTo>
                      <a:pt x="12621" y="22"/>
                      <a:pt x="12557" y="31"/>
                      <a:pt x="12465" y="0"/>
                    </a:cubicBezTo>
                    <a:cubicBezTo>
                      <a:pt x="12239" y="19"/>
                      <a:pt x="12315" y="20"/>
                      <a:pt x="12111" y="36"/>
                    </a:cubicBezTo>
                    <a:cubicBezTo>
                      <a:pt x="12165" y="40"/>
                      <a:pt x="12101" y="49"/>
                      <a:pt x="12125" y="67"/>
                    </a:cubicBezTo>
                    <a:cubicBezTo>
                      <a:pt x="12061" y="76"/>
                      <a:pt x="11994" y="63"/>
                      <a:pt x="11942" y="81"/>
                    </a:cubicBezTo>
                    <a:cubicBezTo>
                      <a:pt x="11841" y="62"/>
                      <a:pt x="11970" y="44"/>
                      <a:pt x="12037" y="57"/>
                    </a:cubicBezTo>
                    <a:cubicBezTo>
                      <a:pt x="12010" y="17"/>
                      <a:pt x="11753" y="52"/>
                      <a:pt x="11746" y="85"/>
                    </a:cubicBezTo>
                    <a:cubicBezTo>
                      <a:pt x="11704" y="91"/>
                      <a:pt x="11661" y="97"/>
                      <a:pt x="11606" y="93"/>
                    </a:cubicBezTo>
                    <a:cubicBezTo>
                      <a:pt x="11563" y="99"/>
                      <a:pt x="11529" y="93"/>
                      <a:pt x="11484" y="77"/>
                    </a:cubicBezTo>
                    <a:cubicBezTo>
                      <a:pt x="11343" y="85"/>
                      <a:pt x="11211" y="158"/>
                      <a:pt x="11089" y="141"/>
                    </a:cubicBezTo>
                    <a:cubicBezTo>
                      <a:pt x="10998" y="110"/>
                      <a:pt x="11145" y="68"/>
                      <a:pt x="11216" y="26"/>
                    </a:cubicBezTo>
                    <a:cubicBezTo>
                      <a:pt x="11044" y="49"/>
                      <a:pt x="10974" y="91"/>
                      <a:pt x="10747" y="111"/>
                    </a:cubicBezTo>
                    <a:cubicBezTo>
                      <a:pt x="10659" y="101"/>
                      <a:pt x="10711" y="83"/>
                      <a:pt x="10604" y="98"/>
                    </a:cubicBezTo>
                    <a:cubicBezTo>
                      <a:pt x="10533" y="140"/>
                      <a:pt x="10757" y="99"/>
                      <a:pt x="10674" y="132"/>
                    </a:cubicBezTo>
                    <a:cubicBezTo>
                      <a:pt x="10738" y="123"/>
                      <a:pt x="10814" y="124"/>
                      <a:pt x="10888" y="103"/>
                    </a:cubicBezTo>
                    <a:cubicBezTo>
                      <a:pt x="10900" y="112"/>
                      <a:pt x="10900" y="112"/>
                      <a:pt x="10912" y="121"/>
                    </a:cubicBezTo>
                    <a:cubicBezTo>
                      <a:pt x="10934" y="119"/>
                      <a:pt x="10955" y="116"/>
                      <a:pt x="11019" y="107"/>
                    </a:cubicBezTo>
                    <a:cubicBezTo>
                      <a:pt x="11043" y="126"/>
                      <a:pt x="11001" y="131"/>
                      <a:pt x="10970" y="146"/>
                    </a:cubicBezTo>
                    <a:cubicBezTo>
                      <a:pt x="10906" y="155"/>
                      <a:pt x="10857" y="118"/>
                      <a:pt x="10793" y="127"/>
                    </a:cubicBezTo>
                    <a:cubicBezTo>
                      <a:pt x="10796" y="148"/>
                      <a:pt x="10744" y="166"/>
                      <a:pt x="10765" y="163"/>
                    </a:cubicBezTo>
                    <a:cubicBezTo>
                      <a:pt x="10691" y="184"/>
                      <a:pt x="10615" y="183"/>
                      <a:pt x="10539" y="183"/>
                    </a:cubicBezTo>
                    <a:cubicBezTo>
                      <a:pt x="10505" y="176"/>
                      <a:pt x="10527" y="173"/>
                      <a:pt x="10579" y="155"/>
                    </a:cubicBezTo>
                    <a:cubicBezTo>
                      <a:pt x="10622" y="150"/>
                      <a:pt x="10603" y="174"/>
                      <a:pt x="10646" y="168"/>
                    </a:cubicBezTo>
                    <a:cubicBezTo>
                      <a:pt x="10655" y="156"/>
                      <a:pt x="10695" y="129"/>
                      <a:pt x="10628" y="116"/>
                    </a:cubicBezTo>
                    <a:cubicBezTo>
                      <a:pt x="10545" y="149"/>
                      <a:pt x="10484" y="179"/>
                      <a:pt x="10398" y="191"/>
                    </a:cubicBezTo>
                    <a:cubicBezTo>
                      <a:pt x="10315" y="224"/>
                      <a:pt x="10242" y="244"/>
                      <a:pt x="10168" y="265"/>
                    </a:cubicBezTo>
                    <a:cubicBezTo>
                      <a:pt x="10095" y="286"/>
                      <a:pt x="10021" y="307"/>
                      <a:pt x="9948" y="328"/>
                    </a:cubicBezTo>
                    <a:cubicBezTo>
                      <a:pt x="9874" y="348"/>
                      <a:pt x="9801" y="369"/>
                      <a:pt x="9718" y="402"/>
                    </a:cubicBezTo>
                    <a:cubicBezTo>
                      <a:pt x="9684" y="396"/>
                      <a:pt x="9651" y="389"/>
                      <a:pt x="9672" y="387"/>
                    </a:cubicBezTo>
                    <a:cubicBezTo>
                      <a:pt x="9653" y="411"/>
                      <a:pt x="9424" y="485"/>
                      <a:pt x="9276" y="527"/>
                    </a:cubicBezTo>
                    <a:cubicBezTo>
                      <a:pt x="9240" y="499"/>
                      <a:pt x="9491" y="422"/>
                      <a:pt x="9479" y="413"/>
                    </a:cubicBezTo>
                    <a:cubicBezTo>
                      <a:pt x="9537" y="437"/>
                      <a:pt x="9599" y="407"/>
                      <a:pt x="9501" y="410"/>
                    </a:cubicBezTo>
                    <a:cubicBezTo>
                      <a:pt x="9436" y="418"/>
                      <a:pt x="9375" y="448"/>
                      <a:pt x="9311" y="457"/>
                    </a:cubicBezTo>
                    <a:cubicBezTo>
                      <a:pt x="9280" y="472"/>
                      <a:pt x="9259" y="475"/>
                      <a:pt x="9228" y="490"/>
                    </a:cubicBezTo>
                    <a:cubicBezTo>
                      <a:pt x="9197" y="505"/>
                      <a:pt x="9176" y="508"/>
                      <a:pt x="9145" y="523"/>
                    </a:cubicBezTo>
                    <a:cubicBezTo>
                      <a:pt x="9029" y="550"/>
                      <a:pt x="8925" y="585"/>
                      <a:pt x="8830" y="609"/>
                    </a:cubicBezTo>
                    <a:cubicBezTo>
                      <a:pt x="8750" y="587"/>
                      <a:pt x="9057" y="513"/>
                      <a:pt x="9042" y="482"/>
                    </a:cubicBezTo>
                    <a:cubicBezTo>
                      <a:pt x="8956" y="494"/>
                      <a:pt x="8935" y="497"/>
                      <a:pt x="8885" y="536"/>
                    </a:cubicBezTo>
                    <a:cubicBezTo>
                      <a:pt x="8821" y="545"/>
                      <a:pt x="8726" y="568"/>
                      <a:pt x="8643" y="601"/>
                    </a:cubicBezTo>
                    <a:cubicBezTo>
                      <a:pt x="8539" y="637"/>
                      <a:pt x="8447" y="682"/>
                      <a:pt x="8343" y="718"/>
                    </a:cubicBezTo>
                    <a:cubicBezTo>
                      <a:pt x="8251" y="763"/>
                      <a:pt x="8146" y="799"/>
                      <a:pt x="8054" y="844"/>
                    </a:cubicBezTo>
                    <a:cubicBezTo>
                      <a:pt x="7962" y="889"/>
                      <a:pt x="7891" y="932"/>
                      <a:pt x="7809" y="965"/>
                    </a:cubicBezTo>
                    <a:cubicBezTo>
                      <a:pt x="7744" y="973"/>
                      <a:pt x="7981" y="865"/>
                      <a:pt x="7843" y="895"/>
                    </a:cubicBezTo>
                    <a:cubicBezTo>
                      <a:pt x="7818" y="952"/>
                      <a:pt x="7714" y="988"/>
                      <a:pt x="7621" y="1033"/>
                    </a:cubicBezTo>
                    <a:cubicBezTo>
                      <a:pt x="7686" y="1025"/>
                      <a:pt x="7759" y="1004"/>
                      <a:pt x="7821" y="974"/>
                    </a:cubicBezTo>
                    <a:cubicBezTo>
                      <a:pt x="7821" y="974"/>
                      <a:pt x="7811" y="986"/>
                      <a:pt x="7833" y="983"/>
                    </a:cubicBezTo>
                    <a:cubicBezTo>
                      <a:pt x="7784" y="1022"/>
                      <a:pt x="7710" y="1043"/>
                      <a:pt x="7646" y="1052"/>
                    </a:cubicBezTo>
                    <a:cubicBezTo>
                      <a:pt x="7615" y="1067"/>
                      <a:pt x="7584" y="1082"/>
                      <a:pt x="7554" y="1097"/>
                    </a:cubicBezTo>
                    <a:cubicBezTo>
                      <a:pt x="7523" y="1112"/>
                      <a:pt x="7492" y="1127"/>
                      <a:pt x="7461" y="1142"/>
                    </a:cubicBezTo>
                    <a:cubicBezTo>
                      <a:pt x="7421" y="1169"/>
                      <a:pt x="7440" y="1145"/>
                      <a:pt x="7397" y="1151"/>
                    </a:cubicBezTo>
                    <a:cubicBezTo>
                      <a:pt x="7308" y="1217"/>
                      <a:pt x="7201" y="1232"/>
                      <a:pt x="7112" y="1298"/>
                    </a:cubicBezTo>
                    <a:cubicBezTo>
                      <a:pt x="7069" y="1304"/>
                      <a:pt x="7057" y="1295"/>
                      <a:pt x="7075" y="1270"/>
                    </a:cubicBezTo>
                    <a:cubicBezTo>
                      <a:pt x="7023" y="1288"/>
                      <a:pt x="6986" y="1337"/>
                      <a:pt x="6931" y="1334"/>
                    </a:cubicBezTo>
                    <a:cubicBezTo>
                      <a:pt x="6891" y="1361"/>
                      <a:pt x="6912" y="1358"/>
                      <a:pt x="6934" y="1355"/>
                    </a:cubicBezTo>
                    <a:cubicBezTo>
                      <a:pt x="6750" y="1445"/>
                      <a:pt x="6596" y="1520"/>
                      <a:pt x="6433" y="1608"/>
                    </a:cubicBezTo>
                    <a:cubicBezTo>
                      <a:pt x="6283" y="1704"/>
                      <a:pt x="6129" y="1779"/>
                      <a:pt x="5948" y="1891"/>
                    </a:cubicBezTo>
                    <a:cubicBezTo>
                      <a:pt x="5926" y="1894"/>
                      <a:pt x="5935" y="1882"/>
                      <a:pt x="5985" y="1843"/>
                    </a:cubicBezTo>
                    <a:cubicBezTo>
                      <a:pt x="5954" y="1858"/>
                      <a:pt x="5923" y="1873"/>
                      <a:pt x="5893" y="1888"/>
                    </a:cubicBezTo>
                    <a:cubicBezTo>
                      <a:pt x="5862" y="1903"/>
                      <a:pt x="5843" y="1927"/>
                      <a:pt x="5813" y="1942"/>
                    </a:cubicBezTo>
                    <a:cubicBezTo>
                      <a:pt x="5714" y="2021"/>
                      <a:pt x="5868" y="1946"/>
                      <a:pt x="5790" y="2021"/>
                    </a:cubicBezTo>
                    <a:cubicBezTo>
                      <a:pt x="5695" y="2045"/>
                      <a:pt x="5606" y="2112"/>
                      <a:pt x="5520" y="2199"/>
                    </a:cubicBezTo>
                    <a:cubicBezTo>
                      <a:pt x="5468" y="2217"/>
                      <a:pt x="5505" y="2169"/>
                      <a:pt x="5422" y="2202"/>
                    </a:cubicBezTo>
                    <a:cubicBezTo>
                      <a:pt x="5394" y="2238"/>
                      <a:pt x="5458" y="2230"/>
                      <a:pt x="5418" y="2257"/>
                    </a:cubicBezTo>
                    <a:cubicBezTo>
                      <a:pt x="5314" y="2293"/>
                      <a:pt x="5350" y="2320"/>
                      <a:pt x="5212" y="2426"/>
                    </a:cubicBezTo>
                    <a:cubicBezTo>
                      <a:pt x="5160" y="2444"/>
                      <a:pt x="5188" y="2408"/>
                      <a:pt x="5114" y="2429"/>
                    </a:cubicBezTo>
                    <a:cubicBezTo>
                      <a:pt x="5108" y="2462"/>
                      <a:pt x="5108" y="2462"/>
                      <a:pt x="5150" y="2456"/>
                    </a:cubicBezTo>
                    <a:cubicBezTo>
                      <a:pt x="5092" y="2508"/>
                      <a:pt x="5000" y="2553"/>
                      <a:pt x="4920" y="2607"/>
                    </a:cubicBezTo>
                    <a:cubicBezTo>
                      <a:pt x="4828" y="2652"/>
                      <a:pt x="4766" y="2683"/>
                      <a:pt x="4751" y="2652"/>
                    </a:cubicBezTo>
                    <a:cubicBezTo>
                      <a:pt x="4597" y="2803"/>
                      <a:pt x="4905" y="2577"/>
                      <a:pt x="4824" y="2707"/>
                    </a:cubicBezTo>
                    <a:cubicBezTo>
                      <a:pt x="4753" y="2750"/>
                      <a:pt x="4772" y="2725"/>
                      <a:pt x="4680" y="2770"/>
                    </a:cubicBezTo>
                    <a:cubicBezTo>
                      <a:pt x="4615" y="2856"/>
                      <a:pt x="4501" y="2904"/>
                      <a:pt x="4488" y="2971"/>
                    </a:cubicBezTo>
                    <a:cubicBezTo>
                      <a:pt x="4448" y="2998"/>
                      <a:pt x="4411" y="3047"/>
                      <a:pt x="4371" y="3074"/>
                    </a:cubicBezTo>
                    <a:cubicBezTo>
                      <a:pt x="4340" y="3089"/>
                      <a:pt x="4300" y="3116"/>
                      <a:pt x="4288" y="3107"/>
                    </a:cubicBezTo>
                    <a:cubicBezTo>
                      <a:pt x="4260" y="3143"/>
                      <a:pt x="4232" y="3180"/>
                      <a:pt x="4214" y="3204"/>
                    </a:cubicBezTo>
                    <a:cubicBezTo>
                      <a:pt x="4287" y="3183"/>
                      <a:pt x="4220" y="3170"/>
                      <a:pt x="4303" y="3137"/>
                    </a:cubicBezTo>
                    <a:cubicBezTo>
                      <a:pt x="4287" y="3183"/>
                      <a:pt x="4220" y="3247"/>
                      <a:pt x="4130" y="3313"/>
                    </a:cubicBezTo>
                    <a:cubicBezTo>
                      <a:pt x="4093" y="3362"/>
                      <a:pt x="4044" y="3401"/>
                      <a:pt x="3995" y="3441"/>
                    </a:cubicBezTo>
                    <a:cubicBezTo>
                      <a:pt x="3957" y="3489"/>
                      <a:pt x="3908" y="3529"/>
                      <a:pt x="3880" y="3565"/>
                    </a:cubicBezTo>
                    <a:cubicBezTo>
                      <a:pt x="3896" y="3519"/>
                      <a:pt x="3862" y="3513"/>
                      <a:pt x="3940" y="3437"/>
                    </a:cubicBezTo>
                    <a:cubicBezTo>
                      <a:pt x="3798" y="3522"/>
                      <a:pt x="3831" y="3604"/>
                      <a:pt x="3726" y="3717"/>
                    </a:cubicBezTo>
                    <a:cubicBezTo>
                      <a:pt x="3674" y="3734"/>
                      <a:pt x="3624" y="3774"/>
                      <a:pt x="3597" y="3810"/>
                    </a:cubicBezTo>
                    <a:cubicBezTo>
                      <a:pt x="3559" y="3859"/>
                      <a:pt x="3534" y="3917"/>
                      <a:pt x="3506" y="3953"/>
                    </a:cubicBezTo>
                    <a:cubicBezTo>
                      <a:pt x="3384" y="4013"/>
                      <a:pt x="3321" y="4120"/>
                      <a:pt x="3226" y="4220"/>
                    </a:cubicBezTo>
                    <a:cubicBezTo>
                      <a:pt x="3183" y="4226"/>
                      <a:pt x="3300" y="4123"/>
                      <a:pt x="3316" y="4077"/>
                    </a:cubicBezTo>
                    <a:cubicBezTo>
                      <a:pt x="3276" y="4104"/>
                      <a:pt x="3338" y="3998"/>
                      <a:pt x="3298" y="4025"/>
                    </a:cubicBezTo>
                    <a:cubicBezTo>
                      <a:pt x="3273" y="4083"/>
                      <a:pt x="3226" y="4144"/>
                      <a:pt x="3180" y="4204"/>
                    </a:cubicBezTo>
                    <a:cubicBezTo>
                      <a:pt x="3134" y="4265"/>
                      <a:pt x="3099" y="4335"/>
                      <a:pt x="3074" y="4393"/>
                    </a:cubicBezTo>
                    <a:cubicBezTo>
                      <a:pt x="3043" y="4408"/>
                      <a:pt x="3028" y="4454"/>
                      <a:pt x="2948" y="4508"/>
                    </a:cubicBezTo>
                    <a:cubicBezTo>
                      <a:pt x="2896" y="4526"/>
                      <a:pt x="3127" y="4299"/>
                      <a:pt x="2976" y="4395"/>
                    </a:cubicBezTo>
                    <a:cubicBezTo>
                      <a:pt x="3001" y="4337"/>
                      <a:pt x="3075" y="4317"/>
                      <a:pt x="3097" y="4237"/>
                    </a:cubicBezTo>
                    <a:cubicBezTo>
                      <a:pt x="3036" y="4267"/>
                      <a:pt x="2951" y="4453"/>
                      <a:pt x="2924" y="4413"/>
                    </a:cubicBezTo>
                    <a:cubicBezTo>
                      <a:pt x="2890" y="4483"/>
                      <a:pt x="2831" y="4535"/>
                      <a:pt x="2769" y="4641"/>
                    </a:cubicBezTo>
                    <a:cubicBezTo>
                      <a:pt x="2742" y="4601"/>
                      <a:pt x="2686" y="4751"/>
                      <a:pt x="2596" y="4817"/>
                    </a:cubicBezTo>
                    <a:cubicBezTo>
                      <a:pt x="2537" y="4945"/>
                      <a:pt x="2441" y="5045"/>
                      <a:pt x="2370" y="5164"/>
                    </a:cubicBezTo>
                    <a:cubicBezTo>
                      <a:pt x="2382" y="5173"/>
                      <a:pt x="2403" y="5170"/>
                      <a:pt x="2431" y="5134"/>
                    </a:cubicBezTo>
                    <a:cubicBezTo>
                      <a:pt x="2462" y="5119"/>
                      <a:pt x="2490" y="5082"/>
                      <a:pt x="2496" y="5049"/>
                    </a:cubicBezTo>
                    <a:cubicBezTo>
                      <a:pt x="2520" y="5067"/>
                      <a:pt x="2483" y="5116"/>
                      <a:pt x="2446" y="5164"/>
                    </a:cubicBezTo>
                    <a:cubicBezTo>
                      <a:pt x="2409" y="5213"/>
                      <a:pt x="2372" y="5262"/>
                      <a:pt x="2344" y="5298"/>
                    </a:cubicBezTo>
                    <a:cubicBezTo>
                      <a:pt x="2310" y="5292"/>
                      <a:pt x="2335" y="5234"/>
                      <a:pt x="2354" y="5210"/>
                    </a:cubicBezTo>
                    <a:cubicBezTo>
                      <a:pt x="2320" y="5203"/>
                      <a:pt x="2274" y="5264"/>
                      <a:pt x="2250" y="5245"/>
                    </a:cubicBezTo>
                    <a:cubicBezTo>
                      <a:pt x="2298" y="5282"/>
                      <a:pt x="2190" y="5373"/>
                      <a:pt x="2152" y="5498"/>
                    </a:cubicBezTo>
                    <a:cubicBezTo>
                      <a:pt x="2214" y="5468"/>
                      <a:pt x="2205" y="5404"/>
                      <a:pt x="2267" y="5374"/>
                    </a:cubicBezTo>
                    <a:cubicBezTo>
                      <a:pt x="2220" y="5435"/>
                      <a:pt x="2198" y="5514"/>
                      <a:pt x="2127" y="5556"/>
                    </a:cubicBezTo>
                    <a:cubicBezTo>
                      <a:pt x="2096" y="5571"/>
                      <a:pt x="2146" y="5532"/>
                      <a:pt x="2152" y="5498"/>
                    </a:cubicBezTo>
                    <a:cubicBezTo>
                      <a:pt x="2122" y="5513"/>
                      <a:pt x="2084" y="5562"/>
                      <a:pt x="2091" y="5528"/>
                    </a:cubicBezTo>
                    <a:cubicBezTo>
                      <a:pt x="2032" y="5580"/>
                      <a:pt x="2109" y="5581"/>
                      <a:pt x="2038" y="5623"/>
                    </a:cubicBezTo>
                    <a:cubicBezTo>
                      <a:pt x="2059" y="5620"/>
                      <a:pt x="2111" y="5602"/>
                      <a:pt x="2077" y="5672"/>
                    </a:cubicBezTo>
                    <a:cubicBezTo>
                      <a:pt x="2024" y="5766"/>
                      <a:pt x="2065" y="5663"/>
                      <a:pt x="2006" y="5714"/>
                    </a:cubicBezTo>
                    <a:cubicBezTo>
                      <a:pt x="1993" y="5781"/>
                      <a:pt x="2003" y="5769"/>
                      <a:pt x="2024" y="5766"/>
                    </a:cubicBezTo>
                    <a:cubicBezTo>
                      <a:pt x="2008" y="5812"/>
                      <a:pt x="1978" y="5827"/>
                      <a:pt x="1962" y="5873"/>
                    </a:cubicBezTo>
                    <a:cubicBezTo>
                      <a:pt x="1885" y="5949"/>
                      <a:pt x="1960" y="5775"/>
                      <a:pt x="1892" y="5839"/>
                    </a:cubicBezTo>
                    <a:cubicBezTo>
                      <a:pt x="1895" y="5860"/>
                      <a:pt x="1891" y="5915"/>
                      <a:pt x="1913" y="5912"/>
                    </a:cubicBezTo>
                    <a:cubicBezTo>
                      <a:pt x="1890" y="5991"/>
                      <a:pt x="1817" y="6012"/>
                      <a:pt x="1798" y="6113"/>
                    </a:cubicBezTo>
                    <a:cubicBezTo>
                      <a:pt x="1739" y="6164"/>
                      <a:pt x="1745" y="6131"/>
                      <a:pt x="1708" y="6180"/>
                    </a:cubicBezTo>
                    <a:cubicBezTo>
                      <a:pt x="1677" y="6271"/>
                      <a:pt x="1612" y="6356"/>
                      <a:pt x="1556" y="6429"/>
                    </a:cubicBezTo>
                    <a:cubicBezTo>
                      <a:pt x="1577" y="6503"/>
                      <a:pt x="1474" y="6636"/>
                      <a:pt x="1424" y="6752"/>
                    </a:cubicBezTo>
                    <a:cubicBezTo>
                      <a:pt x="1387" y="6801"/>
                      <a:pt x="1462" y="6627"/>
                      <a:pt x="1388" y="6724"/>
                    </a:cubicBezTo>
                    <a:cubicBezTo>
                      <a:pt x="1381" y="6834"/>
                      <a:pt x="1306" y="6931"/>
                      <a:pt x="1247" y="7059"/>
                    </a:cubicBezTo>
                    <a:cubicBezTo>
                      <a:pt x="1215" y="7151"/>
                      <a:pt x="1287" y="7032"/>
                      <a:pt x="1265" y="7111"/>
                    </a:cubicBezTo>
                    <a:cubicBezTo>
                      <a:pt x="1240" y="7169"/>
                      <a:pt x="1240" y="7169"/>
                      <a:pt x="1228" y="7160"/>
                    </a:cubicBezTo>
                    <a:cubicBezTo>
                      <a:pt x="1206" y="7163"/>
                      <a:pt x="1194" y="7154"/>
                      <a:pt x="1178" y="7199"/>
                    </a:cubicBezTo>
                    <a:cubicBezTo>
                      <a:pt x="1153" y="7257"/>
                      <a:pt x="1135" y="7282"/>
                      <a:pt x="1159" y="7300"/>
                    </a:cubicBezTo>
                    <a:cubicBezTo>
                      <a:pt x="1082" y="7376"/>
                      <a:pt x="1032" y="7492"/>
                      <a:pt x="1003" y="7605"/>
                    </a:cubicBezTo>
                    <a:cubicBezTo>
                      <a:pt x="987" y="7650"/>
                      <a:pt x="974" y="7717"/>
                      <a:pt x="959" y="7763"/>
                    </a:cubicBezTo>
                    <a:cubicBezTo>
                      <a:pt x="933" y="7821"/>
                      <a:pt x="908" y="7879"/>
                      <a:pt x="881" y="7915"/>
                    </a:cubicBezTo>
                    <a:cubicBezTo>
                      <a:pt x="892" y="8001"/>
                      <a:pt x="867" y="8059"/>
                      <a:pt x="832" y="8205"/>
                    </a:cubicBezTo>
                    <a:cubicBezTo>
                      <a:pt x="825" y="8239"/>
                      <a:pt x="795" y="8254"/>
                      <a:pt x="763" y="8345"/>
                    </a:cubicBezTo>
                    <a:cubicBezTo>
                      <a:pt x="742" y="8348"/>
                      <a:pt x="748" y="8315"/>
                      <a:pt x="764" y="8269"/>
                    </a:cubicBezTo>
                    <a:cubicBezTo>
                      <a:pt x="773" y="8257"/>
                      <a:pt x="780" y="8223"/>
                      <a:pt x="789" y="8211"/>
                    </a:cubicBezTo>
                    <a:cubicBezTo>
                      <a:pt x="786" y="8190"/>
                      <a:pt x="805" y="8165"/>
                      <a:pt x="793" y="8156"/>
                    </a:cubicBezTo>
                    <a:cubicBezTo>
                      <a:pt x="767" y="8214"/>
                      <a:pt x="742" y="8272"/>
                      <a:pt x="739" y="8327"/>
                    </a:cubicBezTo>
                    <a:cubicBezTo>
                      <a:pt x="714" y="8385"/>
                      <a:pt x="710" y="8440"/>
                      <a:pt x="706" y="8495"/>
                    </a:cubicBezTo>
                    <a:cubicBezTo>
                      <a:pt x="666" y="8598"/>
                      <a:pt x="669" y="8543"/>
                      <a:pt x="611" y="8595"/>
                    </a:cubicBezTo>
                    <a:cubicBezTo>
                      <a:pt x="601" y="8683"/>
                      <a:pt x="563" y="8732"/>
                      <a:pt x="591" y="8772"/>
                    </a:cubicBezTo>
                    <a:cubicBezTo>
                      <a:pt x="572" y="8796"/>
                      <a:pt x="553" y="8821"/>
                      <a:pt x="535" y="8845"/>
                    </a:cubicBezTo>
                    <a:cubicBezTo>
                      <a:pt x="587" y="8827"/>
                      <a:pt x="520" y="9065"/>
                      <a:pt x="465" y="9138"/>
                    </a:cubicBezTo>
                    <a:cubicBezTo>
                      <a:pt x="476" y="9224"/>
                      <a:pt x="439" y="9272"/>
                      <a:pt x="410" y="9385"/>
                    </a:cubicBezTo>
                    <a:cubicBezTo>
                      <a:pt x="412" y="9483"/>
                      <a:pt x="419" y="9373"/>
                      <a:pt x="438" y="9349"/>
                    </a:cubicBezTo>
                    <a:cubicBezTo>
                      <a:pt x="446" y="9413"/>
                      <a:pt x="419" y="9449"/>
                      <a:pt x="415" y="9504"/>
                    </a:cubicBezTo>
                    <a:cubicBezTo>
                      <a:pt x="371" y="9587"/>
                      <a:pt x="384" y="9519"/>
                      <a:pt x="369" y="9489"/>
                    </a:cubicBezTo>
                    <a:cubicBezTo>
                      <a:pt x="338" y="9580"/>
                      <a:pt x="318" y="9681"/>
                      <a:pt x="263" y="9754"/>
                    </a:cubicBezTo>
                    <a:cubicBezTo>
                      <a:pt x="260" y="9732"/>
                      <a:pt x="257" y="9711"/>
                      <a:pt x="276" y="9687"/>
                    </a:cubicBezTo>
                    <a:cubicBezTo>
                      <a:pt x="254" y="9689"/>
                      <a:pt x="229" y="9747"/>
                      <a:pt x="216" y="9815"/>
                    </a:cubicBezTo>
                    <a:cubicBezTo>
                      <a:pt x="203" y="9882"/>
                      <a:pt x="190" y="9949"/>
                      <a:pt x="187" y="10004"/>
                    </a:cubicBezTo>
                    <a:cubicBezTo>
                      <a:pt x="225" y="9879"/>
                      <a:pt x="240" y="9833"/>
                      <a:pt x="268" y="9797"/>
                    </a:cubicBezTo>
                    <a:cubicBezTo>
                      <a:pt x="284" y="9751"/>
                      <a:pt x="312" y="9714"/>
                      <a:pt x="341" y="9602"/>
                    </a:cubicBezTo>
                    <a:cubicBezTo>
                      <a:pt x="347" y="9819"/>
                      <a:pt x="250" y="9821"/>
                      <a:pt x="239" y="9986"/>
                    </a:cubicBezTo>
                    <a:cubicBezTo>
                      <a:pt x="260" y="9983"/>
                      <a:pt x="317" y="9834"/>
                      <a:pt x="332" y="9864"/>
                    </a:cubicBezTo>
                    <a:cubicBezTo>
                      <a:pt x="307" y="9922"/>
                      <a:pt x="284" y="10078"/>
                      <a:pt x="244" y="10105"/>
                    </a:cubicBezTo>
                    <a:cubicBezTo>
                      <a:pt x="264" y="10179"/>
                      <a:pt x="276" y="10188"/>
                      <a:pt x="306" y="10249"/>
                    </a:cubicBezTo>
                    <a:cubicBezTo>
                      <a:pt x="258" y="10212"/>
                      <a:pt x="241" y="10334"/>
                      <a:pt x="207" y="10404"/>
                    </a:cubicBezTo>
                    <a:cubicBezTo>
                      <a:pt x="179" y="10441"/>
                      <a:pt x="183" y="10310"/>
                      <a:pt x="161" y="10389"/>
                    </a:cubicBezTo>
                    <a:cubicBezTo>
                      <a:pt x="167" y="10432"/>
                      <a:pt x="170" y="10453"/>
                      <a:pt x="191" y="10450"/>
                    </a:cubicBezTo>
                    <a:cubicBezTo>
                      <a:pt x="188" y="10505"/>
                      <a:pt x="156" y="10597"/>
                      <a:pt x="193" y="10548"/>
                    </a:cubicBezTo>
                    <a:cubicBezTo>
                      <a:pt x="180" y="10615"/>
                      <a:pt x="155" y="10673"/>
                      <a:pt x="142" y="10740"/>
                    </a:cubicBezTo>
                    <a:cubicBezTo>
                      <a:pt x="109" y="10734"/>
                      <a:pt x="169" y="10529"/>
                      <a:pt x="120" y="10569"/>
                    </a:cubicBezTo>
                    <a:cubicBezTo>
                      <a:pt x="116" y="10624"/>
                      <a:pt x="117" y="10798"/>
                      <a:pt x="104" y="10942"/>
                    </a:cubicBezTo>
                    <a:cubicBezTo>
                      <a:pt x="90" y="11085"/>
                      <a:pt x="83" y="11195"/>
                      <a:pt x="53" y="11134"/>
                    </a:cubicBezTo>
                    <a:cubicBezTo>
                      <a:pt x="40" y="11201"/>
                      <a:pt x="60" y="11275"/>
                      <a:pt x="35" y="11332"/>
                    </a:cubicBezTo>
                    <a:cubicBezTo>
                      <a:pt x="65" y="11394"/>
                      <a:pt x="55" y="11482"/>
                      <a:pt x="45" y="11571"/>
                    </a:cubicBezTo>
                    <a:cubicBezTo>
                      <a:pt x="47" y="11669"/>
                      <a:pt x="49" y="11767"/>
                      <a:pt x="82" y="11849"/>
                    </a:cubicBezTo>
                    <a:cubicBezTo>
                      <a:pt x="33" y="11889"/>
                      <a:pt x="52" y="12039"/>
                      <a:pt x="22" y="11977"/>
                    </a:cubicBezTo>
                    <a:cubicBezTo>
                      <a:pt x="0" y="12057"/>
                      <a:pt x="52" y="12039"/>
                      <a:pt x="54" y="12137"/>
                    </a:cubicBezTo>
                    <a:cubicBezTo>
                      <a:pt x="46" y="12323"/>
                      <a:pt x="35" y="12488"/>
                      <a:pt x="70" y="12669"/>
                    </a:cubicBezTo>
                    <a:cubicBezTo>
                      <a:pt x="40" y="12684"/>
                      <a:pt x="59" y="12834"/>
                      <a:pt x="84" y="12852"/>
                    </a:cubicBezTo>
                    <a:cubicBezTo>
                      <a:pt x="49" y="12922"/>
                      <a:pt x="79" y="12984"/>
                      <a:pt x="66" y="13051"/>
                    </a:cubicBezTo>
                    <a:cubicBezTo>
                      <a:pt x="85" y="13026"/>
                      <a:pt x="70" y="12996"/>
                      <a:pt x="110" y="12969"/>
                    </a:cubicBezTo>
                    <a:cubicBezTo>
                      <a:pt x="121" y="13054"/>
                      <a:pt x="102" y="13155"/>
                      <a:pt x="74" y="13191"/>
                    </a:cubicBezTo>
                    <a:cubicBezTo>
                      <a:pt x="79" y="13311"/>
                      <a:pt x="125" y="13250"/>
                      <a:pt x="93" y="13418"/>
                    </a:cubicBezTo>
                    <a:cubicBezTo>
                      <a:pt x="105" y="13427"/>
                      <a:pt x="112" y="13393"/>
                      <a:pt x="129" y="13446"/>
                    </a:cubicBezTo>
                    <a:cubicBezTo>
                      <a:pt x="121" y="13381"/>
                      <a:pt x="115" y="13338"/>
                      <a:pt x="110" y="13296"/>
                    </a:cubicBezTo>
                    <a:cubicBezTo>
                      <a:pt x="113" y="13241"/>
                      <a:pt x="129" y="13195"/>
                      <a:pt x="123" y="13152"/>
                    </a:cubicBezTo>
                    <a:cubicBezTo>
                      <a:pt x="128" y="13271"/>
                      <a:pt x="128" y="13271"/>
                      <a:pt x="128" y="13271"/>
                    </a:cubicBezTo>
                    <a:cubicBezTo>
                      <a:pt x="134" y="13314"/>
                      <a:pt x="139" y="13357"/>
                      <a:pt x="145" y="13400"/>
                    </a:cubicBezTo>
                    <a:cubicBezTo>
                      <a:pt x="144" y="13476"/>
                      <a:pt x="156" y="13562"/>
                      <a:pt x="167" y="13648"/>
                    </a:cubicBezTo>
                    <a:cubicBezTo>
                      <a:pt x="158" y="13660"/>
                      <a:pt x="155" y="13638"/>
                      <a:pt x="158" y="13660"/>
                    </a:cubicBezTo>
                    <a:cubicBezTo>
                      <a:pt x="137" y="13586"/>
                      <a:pt x="151" y="13443"/>
                      <a:pt x="96" y="13439"/>
                    </a:cubicBezTo>
                    <a:cubicBezTo>
                      <a:pt x="101" y="13558"/>
                      <a:pt x="158" y="13660"/>
                      <a:pt x="135" y="13816"/>
                    </a:cubicBezTo>
                    <a:cubicBezTo>
                      <a:pt x="150" y="13846"/>
                      <a:pt x="165" y="13877"/>
                      <a:pt x="158" y="13910"/>
                    </a:cubicBezTo>
                    <a:cubicBezTo>
                      <a:pt x="170" y="13920"/>
                      <a:pt x="182" y="13929"/>
                      <a:pt x="189" y="13895"/>
                    </a:cubicBezTo>
                    <a:cubicBezTo>
                      <a:pt x="222" y="13978"/>
                      <a:pt x="214" y="14088"/>
                      <a:pt x="247" y="14171"/>
                    </a:cubicBezTo>
                    <a:cubicBezTo>
                      <a:pt x="249" y="14269"/>
                      <a:pt x="219" y="14208"/>
                      <a:pt x="228" y="14272"/>
                    </a:cubicBezTo>
                    <a:cubicBezTo>
                      <a:pt x="260" y="14355"/>
                      <a:pt x="253" y="14214"/>
                      <a:pt x="270" y="14342"/>
                    </a:cubicBezTo>
                    <a:cubicBezTo>
                      <a:pt x="269" y="14419"/>
                      <a:pt x="230" y="14293"/>
                      <a:pt x="245" y="14400"/>
                    </a:cubicBezTo>
                    <a:cubicBezTo>
                      <a:pt x="265" y="14474"/>
                      <a:pt x="266" y="14397"/>
                      <a:pt x="281" y="14428"/>
                    </a:cubicBezTo>
                    <a:cubicBezTo>
                      <a:pt x="282" y="14602"/>
                      <a:pt x="308" y="14795"/>
                      <a:pt x="364" y="14973"/>
                    </a:cubicBezTo>
                    <a:cubicBezTo>
                      <a:pt x="399" y="15154"/>
                      <a:pt x="464" y="15319"/>
                      <a:pt x="472" y="15460"/>
                    </a:cubicBezTo>
                    <a:cubicBezTo>
                      <a:pt x="478" y="15503"/>
                      <a:pt x="433" y="15411"/>
                      <a:pt x="423" y="15423"/>
                    </a:cubicBezTo>
                    <a:cubicBezTo>
                      <a:pt x="432" y="15487"/>
                      <a:pt x="462" y="15548"/>
                      <a:pt x="492" y="15610"/>
                    </a:cubicBezTo>
                    <a:cubicBezTo>
                      <a:pt x="500" y="15674"/>
                      <a:pt x="530" y="15736"/>
                      <a:pt x="517" y="15803"/>
                    </a:cubicBezTo>
                    <a:cubicBezTo>
                      <a:pt x="541" y="15821"/>
                      <a:pt x="551" y="15809"/>
                      <a:pt x="545" y="15766"/>
                    </a:cubicBezTo>
                    <a:cubicBezTo>
                      <a:pt x="584" y="15815"/>
                      <a:pt x="590" y="15858"/>
                      <a:pt x="617" y="15898"/>
                    </a:cubicBezTo>
                    <a:cubicBezTo>
                      <a:pt x="625" y="15962"/>
                      <a:pt x="586" y="15913"/>
                      <a:pt x="571" y="15883"/>
                    </a:cubicBezTo>
                    <a:cubicBezTo>
                      <a:pt x="580" y="15947"/>
                      <a:pt x="622" y="16017"/>
                      <a:pt x="630" y="16082"/>
                    </a:cubicBezTo>
                    <a:cubicBezTo>
                      <a:pt x="642" y="16091"/>
                      <a:pt x="637" y="16048"/>
                      <a:pt x="646" y="16036"/>
                    </a:cubicBezTo>
                    <a:cubicBezTo>
                      <a:pt x="673" y="16076"/>
                      <a:pt x="657" y="16122"/>
                      <a:pt x="685" y="16162"/>
                    </a:cubicBezTo>
                    <a:cubicBezTo>
                      <a:pt x="685" y="16162"/>
                      <a:pt x="660" y="16143"/>
                      <a:pt x="666" y="16186"/>
                    </a:cubicBezTo>
                    <a:cubicBezTo>
                      <a:pt x="681" y="16217"/>
                      <a:pt x="705" y="16235"/>
                      <a:pt x="720" y="16266"/>
                    </a:cubicBezTo>
                    <a:cubicBezTo>
                      <a:pt x="729" y="16330"/>
                      <a:pt x="711" y="16278"/>
                      <a:pt x="722" y="16364"/>
                    </a:cubicBezTo>
                    <a:cubicBezTo>
                      <a:pt x="758" y="16468"/>
                      <a:pt x="803" y="16560"/>
                      <a:pt x="838" y="16664"/>
                    </a:cubicBezTo>
                    <a:cubicBezTo>
                      <a:pt x="856" y="16716"/>
                      <a:pt x="886" y="16778"/>
                      <a:pt x="913" y="16818"/>
                    </a:cubicBezTo>
                    <a:cubicBezTo>
                      <a:pt x="931" y="16870"/>
                      <a:pt x="948" y="16922"/>
                      <a:pt x="966" y="16974"/>
                    </a:cubicBezTo>
                    <a:cubicBezTo>
                      <a:pt x="963" y="16953"/>
                      <a:pt x="961" y="16931"/>
                      <a:pt x="958" y="16910"/>
                    </a:cubicBezTo>
                    <a:cubicBezTo>
                      <a:pt x="988" y="16971"/>
                      <a:pt x="1036" y="17008"/>
                      <a:pt x="1045" y="17073"/>
                    </a:cubicBezTo>
                    <a:cubicBezTo>
                      <a:pt x="1062" y="17125"/>
                      <a:pt x="1035" y="17085"/>
                      <a:pt x="999" y="17057"/>
                    </a:cubicBezTo>
                    <a:cubicBezTo>
                      <a:pt x="1029" y="17118"/>
                      <a:pt x="1062" y="17201"/>
                      <a:pt x="1104" y="17272"/>
                    </a:cubicBezTo>
                    <a:cubicBezTo>
                      <a:pt x="1158" y="17352"/>
                      <a:pt x="1188" y="17413"/>
                      <a:pt x="1203" y="17444"/>
                    </a:cubicBezTo>
                    <a:cubicBezTo>
                      <a:pt x="1208" y="17487"/>
                      <a:pt x="1226" y="17539"/>
                      <a:pt x="1280" y="17619"/>
                    </a:cubicBezTo>
                    <a:cubicBezTo>
                      <a:pt x="1254" y="17502"/>
                      <a:pt x="1299" y="17594"/>
                      <a:pt x="1338" y="17644"/>
                    </a:cubicBezTo>
                    <a:cubicBezTo>
                      <a:pt x="1281" y="17542"/>
                      <a:pt x="1251" y="17481"/>
                      <a:pt x="1231" y="17407"/>
                    </a:cubicBezTo>
                    <a:cubicBezTo>
                      <a:pt x="1216" y="17377"/>
                      <a:pt x="1201" y="17346"/>
                      <a:pt x="1183" y="17294"/>
                    </a:cubicBezTo>
                    <a:cubicBezTo>
                      <a:pt x="1168" y="17263"/>
                      <a:pt x="1141" y="17223"/>
                      <a:pt x="1123" y="17171"/>
                    </a:cubicBezTo>
                    <a:cubicBezTo>
                      <a:pt x="1099" y="17152"/>
                      <a:pt x="1126" y="17192"/>
                      <a:pt x="1129" y="17214"/>
                    </a:cubicBezTo>
                    <a:cubicBezTo>
                      <a:pt x="1080" y="17177"/>
                      <a:pt x="1105" y="17119"/>
                      <a:pt x="1057" y="17082"/>
                    </a:cubicBezTo>
                    <a:cubicBezTo>
                      <a:pt x="1070" y="17015"/>
                      <a:pt x="1048" y="17018"/>
                      <a:pt x="1034" y="16910"/>
                    </a:cubicBezTo>
                    <a:cubicBezTo>
                      <a:pt x="1064" y="16972"/>
                      <a:pt x="1085" y="17045"/>
                      <a:pt x="1115" y="17107"/>
                    </a:cubicBezTo>
                    <a:cubicBezTo>
                      <a:pt x="1144" y="17168"/>
                      <a:pt x="1177" y="17251"/>
                      <a:pt x="1207" y="17312"/>
                    </a:cubicBezTo>
                    <a:cubicBezTo>
                      <a:pt x="1279" y="17444"/>
                      <a:pt x="1339" y="17567"/>
                      <a:pt x="1362" y="17662"/>
                    </a:cubicBezTo>
                    <a:cubicBezTo>
                      <a:pt x="1374" y="17671"/>
                      <a:pt x="1372" y="17650"/>
                      <a:pt x="1396" y="17668"/>
                    </a:cubicBezTo>
                    <a:cubicBezTo>
                      <a:pt x="1438" y="17739"/>
                      <a:pt x="1362" y="17662"/>
                      <a:pt x="1383" y="17736"/>
                    </a:cubicBezTo>
                    <a:cubicBezTo>
                      <a:pt x="1434" y="17794"/>
                      <a:pt x="1486" y="17853"/>
                      <a:pt x="1516" y="17914"/>
                    </a:cubicBezTo>
                    <a:cubicBezTo>
                      <a:pt x="1545" y="17975"/>
                      <a:pt x="1563" y="18027"/>
                      <a:pt x="1593" y="18089"/>
                    </a:cubicBezTo>
                    <a:cubicBezTo>
                      <a:pt x="1651" y="18114"/>
                      <a:pt x="1684" y="18197"/>
                      <a:pt x="1728" y="18289"/>
                    </a:cubicBezTo>
                    <a:cubicBezTo>
                      <a:pt x="1683" y="18273"/>
                      <a:pt x="1619" y="18205"/>
                      <a:pt x="1628" y="18269"/>
                    </a:cubicBezTo>
                    <a:cubicBezTo>
                      <a:pt x="1589" y="18220"/>
                      <a:pt x="1541" y="18107"/>
                      <a:pt x="1510" y="18122"/>
                    </a:cubicBezTo>
                    <a:cubicBezTo>
                      <a:pt x="1564" y="18202"/>
                      <a:pt x="1564" y="18202"/>
                      <a:pt x="1561" y="18257"/>
                    </a:cubicBezTo>
                    <a:cubicBezTo>
                      <a:pt x="1606" y="18272"/>
                      <a:pt x="1624" y="18324"/>
                      <a:pt x="1658" y="18331"/>
                    </a:cubicBezTo>
                    <a:cubicBezTo>
                      <a:pt x="1700" y="18402"/>
                      <a:pt x="1720" y="18475"/>
                      <a:pt x="1781" y="18521"/>
                    </a:cubicBezTo>
                    <a:cubicBezTo>
                      <a:pt x="1783" y="18619"/>
                      <a:pt x="1925" y="18785"/>
                      <a:pt x="2018" y="18915"/>
                    </a:cubicBezTo>
                    <a:cubicBezTo>
                      <a:pt x="1988" y="18930"/>
                      <a:pt x="2039" y="18988"/>
                      <a:pt x="2139" y="19084"/>
                    </a:cubicBezTo>
                    <a:cubicBezTo>
                      <a:pt x="2129" y="19096"/>
                      <a:pt x="2120" y="19108"/>
                      <a:pt x="2084" y="19080"/>
                    </a:cubicBezTo>
                    <a:cubicBezTo>
                      <a:pt x="2126" y="19151"/>
                      <a:pt x="2177" y="19209"/>
                      <a:pt x="2216" y="19259"/>
                    </a:cubicBezTo>
                    <a:cubicBezTo>
                      <a:pt x="2268" y="19317"/>
                      <a:pt x="2319" y="19376"/>
                      <a:pt x="2361" y="19446"/>
                    </a:cubicBezTo>
                    <a:cubicBezTo>
                      <a:pt x="2397" y="19474"/>
                      <a:pt x="2353" y="19382"/>
                      <a:pt x="2392" y="19431"/>
                    </a:cubicBezTo>
                    <a:cubicBezTo>
                      <a:pt x="2428" y="19459"/>
                      <a:pt x="2424" y="19514"/>
                      <a:pt x="2482" y="19539"/>
                    </a:cubicBezTo>
                    <a:cubicBezTo>
                      <a:pt x="2488" y="19582"/>
                      <a:pt x="2488" y="19582"/>
                      <a:pt x="2464" y="19563"/>
                    </a:cubicBezTo>
                    <a:cubicBezTo>
                      <a:pt x="2506" y="19634"/>
                      <a:pt x="2494" y="19548"/>
                      <a:pt x="2551" y="19650"/>
                    </a:cubicBezTo>
                    <a:cubicBezTo>
                      <a:pt x="2569" y="19702"/>
                      <a:pt x="2572" y="19723"/>
                      <a:pt x="2548" y="19705"/>
                    </a:cubicBezTo>
                    <a:cubicBezTo>
                      <a:pt x="2587" y="19754"/>
                      <a:pt x="2638" y="19812"/>
                      <a:pt x="2668" y="19874"/>
                    </a:cubicBezTo>
                    <a:cubicBezTo>
                      <a:pt x="2719" y="19932"/>
                      <a:pt x="2759" y="19981"/>
                      <a:pt x="2780" y="19979"/>
                    </a:cubicBezTo>
                    <a:cubicBezTo>
                      <a:pt x="2810" y="20040"/>
                      <a:pt x="2771" y="19991"/>
                      <a:pt x="2813" y="20061"/>
                    </a:cubicBezTo>
                    <a:cubicBezTo>
                      <a:pt x="2844" y="20046"/>
                      <a:pt x="2891" y="20160"/>
                      <a:pt x="2891" y="20160"/>
                    </a:cubicBezTo>
                    <a:cubicBezTo>
                      <a:pt x="2943" y="20218"/>
                      <a:pt x="2991" y="20255"/>
                      <a:pt x="3027" y="20283"/>
                    </a:cubicBezTo>
                    <a:cubicBezTo>
                      <a:pt x="3052" y="20302"/>
                      <a:pt x="3076" y="20320"/>
                      <a:pt x="3091" y="20351"/>
                    </a:cubicBezTo>
                    <a:cubicBezTo>
                      <a:pt x="3115" y="20369"/>
                      <a:pt x="3130" y="20400"/>
                      <a:pt x="3157" y="20440"/>
                    </a:cubicBezTo>
                    <a:cubicBezTo>
                      <a:pt x="3212" y="20444"/>
                      <a:pt x="3330" y="20591"/>
                      <a:pt x="3393" y="20659"/>
                    </a:cubicBezTo>
                    <a:cubicBezTo>
                      <a:pt x="3405" y="20668"/>
                      <a:pt x="3360" y="20653"/>
                      <a:pt x="3387" y="20693"/>
                    </a:cubicBezTo>
                    <a:cubicBezTo>
                      <a:pt x="3432" y="20708"/>
                      <a:pt x="3469" y="20736"/>
                      <a:pt x="3496" y="20776"/>
                    </a:cubicBezTo>
                    <a:cubicBezTo>
                      <a:pt x="3532" y="20804"/>
                      <a:pt x="3571" y="20853"/>
                      <a:pt x="3629" y="20878"/>
                    </a:cubicBezTo>
                    <a:cubicBezTo>
                      <a:pt x="3684" y="20882"/>
                      <a:pt x="3572" y="20777"/>
                      <a:pt x="3536" y="20749"/>
                    </a:cubicBezTo>
                    <a:cubicBezTo>
                      <a:pt x="3512" y="20730"/>
                      <a:pt x="3630" y="20802"/>
                      <a:pt x="3657" y="20842"/>
                    </a:cubicBezTo>
                    <a:cubicBezTo>
                      <a:pt x="3712" y="20845"/>
                      <a:pt x="3581" y="20765"/>
                      <a:pt x="3567" y="20734"/>
                    </a:cubicBezTo>
                    <a:cubicBezTo>
                      <a:pt x="3564" y="20712"/>
                      <a:pt x="3612" y="20749"/>
                      <a:pt x="3646" y="20756"/>
                    </a:cubicBezTo>
                    <a:cubicBezTo>
                      <a:pt x="3661" y="20787"/>
                      <a:pt x="3706" y="20879"/>
                      <a:pt x="3809" y="20919"/>
                    </a:cubicBezTo>
                    <a:cubicBezTo>
                      <a:pt x="3827" y="20971"/>
                      <a:pt x="3866" y="21021"/>
                      <a:pt x="3808" y="20996"/>
                    </a:cubicBezTo>
                    <a:cubicBezTo>
                      <a:pt x="3850" y="21066"/>
                      <a:pt x="3942" y="21098"/>
                      <a:pt x="3974" y="21180"/>
                    </a:cubicBezTo>
                    <a:cubicBezTo>
                      <a:pt x="4008" y="21187"/>
                      <a:pt x="4014" y="21153"/>
                      <a:pt x="4078" y="21221"/>
                    </a:cubicBezTo>
                    <a:cubicBezTo>
                      <a:pt x="4044" y="21215"/>
                      <a:pt x="3986" y="21190"/>
                      <a:pt x="3917" y="21155"/>
                    </a:cubicBezTo>
                    <a:cubicBezTo>
                      <a:pt x="3856" y="21109"/>
                      <a:pt x="3786" y="21075"/>
                      <a:pt x="3713" y="21019"/>
                    </a:cubicBezTo>
                    <a:cubicBezTo>
                      <a:pt x="3765" y="21078"/>
                      <a:pt x="3804" y="21127"/>
                      <a:pt x="3855" y="21186"/>
                    </a:cubicBezTo>
                    <a:cubicBezTo>
                      <a:pt x="3891" y="21213"/>
                      <a:pt x="3910" y="21189"/>
                      <a:pt x="3952" y="21260"/>
                    </a:cubicBezTo>
                    <a:cubicBezTo>
                      <a:pt x="3986" y="21266"/>
                      <a:pt x="3971" y="21235"/>
                      <a:pt x="3995" y="21254"/>
                    </a:cubicBezTo>
                    <a:cubicBezTo>
                      <a:pt x="4089" y="21307"/>
                      <a:pt x="4034" y="21303"/>
                      <a:pt x="4088" y="21383"/>
                    </a:cubicBezTo>
                    <a:cubicBezTo>
                      <a:pt x="4107" y="21359"/>
                      <a:pt x="4189" y="21402"/>
                      <a:pt x="4264" y="21479"/>
                    </a:cubicBezTo>
                    <a:cubicBezTo>
                      <a:pt x="4301" y="21507"/>
                      <a:pt x="4349" y="21544"/>
                      <a:pt x="4376" y="21584"/>
                    </a:cubicBezTo>
                    <a:cubicBezTo>
                      <a:pt x="4413" y="21612"/>
                      <a:pt x="4428" y="21643"/>
                      <a:pt x="4418" y="21655"/>
                    </a:cubicBezTo>
                    <a:cubicBezTo>
                      <a:pt x="4449" y="21640"/>
                      <a:pt x="4503" y="21720"/>
                      <a:pt x="4570" y="21732"/>
                    </a:cubicBezTo>
                    <a:cubicBezTo>
                      <a:pt x="4531" y="21683"/>
                      <a:pt x="4440" y="21652"/>
                      <a:pt x="4410" y="21591"/>
                    </a:cubicBezTo>
                    <a:cubicBezTo>
                      <a:pt x="4429" y="21566"/>
                      <a:pt x="4555" y="21702"/>
                      <a:pt x="4616" y="21748"/>
                    </a:cubicBezTo>
                    <a:cubicBezTo>
                      <a:pt x="4637" y="21745"/>
                      <a:pt x="4662" y="21764"/>
                      <a:pt x="4719" y="21789"/>
                    </a:cubicBezTo>
                    <a:cubicBezTo>
                      <a:pt x="4777" y="21814"/>
                      <a:pt x="4747" y="21829"/>
                      <a:pt x="4701" y="21813"/>
                    </a:cubicBezTo>
                    <a:cubicBezTo>
                      <a:pt x="4762" y="21859"/>
                      <a:pt x="4780" y="21835"/>
                      <a:pt x="4753" y="21795"/>
                    </a:cubicBezTo>
                    <a:cubicBezTo>
                      <a:pt x="4705" y="21758"/>
                      <a:pt x="4677" y="21718"/>
                      <a:pt x="4610" y="21705"/>
                    </a:cubicBezTo>
                    <a:cubicBezTo>
                      <a:pt x="4608" y="21684"/>
                      <a:pt x="4617" y="21672"/>
                      <a:pt x="4602" y="21641"/>
                    </a:cubicBezTo>
                    <a:cubicBezTo>
                      <a:pt x="4708" y="21703"/>
                      <a:pt x="4753" y="21795"/>
                      <a:pt x="4847" y="21848"/>
                    </a:cubicBezTo>
                    <a:cubicBezTo>
                      <a:pt x="4862" y="21878"/>
                      <a:pt x="4677" y="21794"/>
                      <a:pt x="4789" y="21899"/>
                    </a:cubicBezTo>
                    <a:cubicBezTo>
                      <a:pt x="4804" y="21854"/>
                      <a:pt x="4834" y="21915"/>
                      <a:pt x="4904" y="21949"/>
                    </a:cubicBezTo>
                    <a:cubicBezTo>
                      <a:pt x="4898" y="21983"/>
                      <a:pt x="4834" y="21915"/>
                      <a:pt x="4958" y="22029"/>
                    </a:cubicBezTo>
                    <a:cubicBezTo>
                      <a:pt x="4989" y="22014"/>
                      <a:pt x="4989" y="22014"/>
                      <a:pt x="5083" y="22067"/>
                    </a:cubicBezTo>
                    <a:cubicBezTo>
                      <a:pt x="5080" y="22122"/>
                      <a:pt x="5235" y="22144"/>
                      <a:pt x="5280" y="22236"/>
                    </a:cubicBezTo>
                    <a:cubicBezTo>
                      <a:pt x="5052" y="22082"/>
                      <a:pt x="4855" y="21988"/>
                      <a:pt x="4631" y="21779"/>
                    </a:cubicBezTo>
                    <a:cubicBezTo>
                      <a:pt x="4688" y="21880"/>
                      <a:pt x="4452" y="21661"/>
                      <a:pt x="4460" y="21725"/>
                    </a:cubicBezTo>
                    <a:cubicBezTo>
                      <a:pt x="4475" y="21756"/>
                      <a:pt x="4500" y="21775"/>
                      <a:pt x="4536" y="21802"/>
                    </a:cubicBezTo>
                    <a:cubicBezTo>
                      <a:pt x="4591" y="21806"/>
                      <a:pt x="4718" y="21942"/>
                      <a:pt x="4736" y="21994"/>
                    </a:cubicBezTo>
                    <a:cubicBezTo>
                      <a:pt x="4715" y="21920"/>
                      <a:pt x="4839" y="22034"/>
                      <a:pt x="4806" y="21951"/>
                    </a:cubicBezTo>
                    <a:cubicBezTo>
                      <a:pt x="4855" y="21988"/>
                      <a:pt x="4913" y="22013"/>
                      <a:pt x="4952" y="22063"/>
                    </a:cubicBezTo>
                    <a:cubicBezTo>
                      <a:pt x="4979" y="22103"/>
                      <a:pt x="4806" y="21951"/>
                      <a:pt x="4909" y="22068"/>
                    </a:cubicBezTo>
                    <a:cubicBezTo>
                      <a:pt x="4854" y="22065"/>
                      <a:pt x="4846" y="22001"/>
                      <a:pt x="4791" y="21997"/>
                    </a:cubicBezTo>
                    <a:cubicBezTo>
                      <a:pt x="4818" y="22037"/>
                      <a:pt x="4793" y="22019"/>
                      <a:pt x="4821" y="22058"/>
                    </a:cubicBezTo>
                    <a:cubicBezTo>
                      <a:pt x="4958" y="22105"/>
                      <a:pt x="4975" y="22158"/>
                      <a:pt x="4981" y="22200"/>
                    </a:cubicBezTo>
                    <a:cubicBezTo>
                      <a:pt x="5000" y="22176"/>
                      <a:pt x="5060" y="22222"/>
                      <a:pt x="5133" y="22278"/>
                    </a:cubicBezTo>
                    <a:cubicBezTo>
                      <a:pt x="5215" y="22322"/>
                      <a:pt x="5291" y="22399"/>
                      <a:pt x="5360" y="22433"/>
                    </a:cubicBezTo>
                    <a:cubicBezTo>
                      <a:pt x="5415" y="22436"/>
                      <a:pt x="5358" y="22411"/>
                      <a:pt x="5318" y="22362"/>
                    </a:cubicBezTo>
                    <a:cubicBezTo>
                      <a:pt x="5477" y="22406"/>
                      <a:pt x="5664" y="22588"/>
                      <a:pt x="5753" y="22598"/>
                    </a:cubicBezTo>
                    <a:cubicBezTo>
                      <a:pt x="5826" y="22654"/>
                      <a:pt x="5722" y="22613"/>
                      <a:pt x="5746" y="22632"/>
                    </a:cubicBezTo>
                    <a:cubicBezTo>
                      <a:pt x="5640" y="22570"/>
                      <a:pt x="5534" y="22508"/>
                      <a:pt x="5437" y="22433"/>
                    </a:cubicBezTo>
                    <a:cubicBezTo>
                      <a:pt x="5382" y="22430"/>
                      <a:pt x="5373" y="22442"/>
                      <a:pt x="5400" y="22482"/>
                    </a:cubicBezTo>
                    <a:cubicBezTo>
                      <a:pt x="5433" y="22488"/>
                      <a:pt x="5457" y="22507"/>
                      <a:pt x="5482" y="22525"/>
                    </a:cubicBezTo>
                    <a:cubicBezTo>
                      <a:pt x="5503" y="22523"/>
                      <a:pt x="5503" y="22523"/>
                      <a:pt x="5500" y="22501"/>
                    </a:cubicBezTo>
                    <a:cubicBezTo>
                      <a:pt x="5539" y="22550"/>
                      <a:pt x="5636" y="22625"/>
                      <a:pt x="5740" y="22665"/>
                    </a:cubicBezTo>
                    <a:cubicBezTo>
                      <a:pt x="5846" y="22727"/>
                      <a:pt x="5950" y="22768"/>
                      <a:pt x="5992" y="22762"/>
                    </a:cubicBezTo>
                    <a:cubicBezTo>
                      <a:pt x="5910" y="22795"/>
                      <a:pt x="6116" y="22876"/>
                      <a:pt x="6146" y="22937"/>
                    </a:cubicBezTo>
                    <a:cubicBezTo>
                      <a:pt x="6192" y="22953"/>
                      <a:pt x="6216" y="22972"/>
                      <a:pt x="6241" y="22990"/>
                    </a:cubicBezTo>
                    <a:cubicBezTo>
                      <a:pt x="6305" y="22981"/>
                      <a:pt x="6159" y="22947"/>
                      <a:pt x="6144" y="22916"/>
                    </a:cubicBezTo>
                    <a:cubicBezTo>
                      <a:pt x="6129" y="22885"/>
                      <a:pt x="6162" y="22892"/>
                      <a:pt x="6196" y="22898"/>
                    </a:cubicBezTo>
                    <a:cubicBezTo>
                      <a:pt x="6241" y="22914"/>
                      <a:pt x="6308" y="22926"/>
                      <a:pt x="6375" y="22939"/>
                    </a:cubicBezTo>
                    <a:cubicBezTo>
                      <a:pt x="6451" y="23016"/>
                      <a:pt x="6266" y="22932"/>
                      <a:pt x="6256" y="22944"/>
                    </a:cubicBezTo>
                    <a:cubicBezTo>
                      <a:pt x="6344" y="23031"/>
                      <a:pt x="6338" y="22988"/>
                      <a:pt x="6442" y="23028"/>
                    </a:cubicBezTo>
                    <a:cubicBezTo>
                      <a:pt x="6427" y="22998"/>
                      <a:pt x="6448" y="22995"/>
                      <a:pt x="6458" y="22983"/>
                    </a:cubicBezTo>
                    <a:cubicBezTo>
                      <a:pt x="6503" y="22998"/>
                      <a:pt x="6542" y="23048"/>
                      <a:pt x="6597" y="23051"/>
                    </a:cubicBezTo>
                    <a:cubicBezTo>
                      <a:pt x="6534" y="22983"/>
                      <a:pt x="6403" y="22979"/>
                      <a:pt x="6348" y="22899"/>
                    </a:cubicBezTo>
                    <a:cubicBezTo>
                      <a:pt x="6236" y="22871"/>
                      <a:pt x="6120" y="22821"/>
                      <a:pt x="6026" y="22768"/>
                    </a:cubicBezTo>
                    <a:cubicBezTo>
                      <a:pt x="5999" y="22728"/>
                      <a:pt x="6117" y="22800"/>
                      <a:pt x="6154" y="22827"/>
                    </a:cubicBezTo>
                    <a:cubicBezTo>
                      <a:pt x="6196" y="22822"/>
                      <a:pt x="6066" y="22741"/>
                      <a:pt x="6072" y="22784"/>
                    </a:cubicBezTo>
                    <a:cubicBezTo>
                      <a:pt x="6078" y="22750"/>
                      <a:pt x="6133" y="22754"/>
                      <a:pt x="6191" y="22779"/>
                    </a:cubicBezTo>
                    <a:cubicBezTo>
                      <a:pt x="6215" y="22797"/>
                      <a:pt x="6249" y="22804"/>
                      <a:pt x="6285" y="22832"/>
                    </a:cubicBezTo>
                    <a:cubicBezTo>
                      <a:pt x="6309" y="22850"/>
                      <a:pt x="6331" y="22847"/>
                      <a:pt x="6355" y="22866"/>
                    </a:cubicBezTo>
                    <a:cubicBezTo>
                      <a:pt x="6367" y="22875"/>
                      <a:pt x="6391" y="22894"/>
                      <a:pt x="6425" y="22900"/>
                    </a:cubicBezTo>
                    <a:cubicBezTo>
                      <a:pt x="6519" y="22953"/>
                      <a:pt x="6613" y="23005"/>
                      <a:pt x="6719" y="23067"/>
                    </a:cubicBezTo>
                    <a:cubicBezTo>
                      <a:pt x="6756" y="23095"/>
                      <a:pt x="6814" y="23120"/>
                      <a:pt x="6859" y="23136"/>
                    </a:cubicBezTo>
                    <a:cubicBezTo>
                      <a:pt x="6917" y="23161"/>
                      <a:pt x="6963" y="23176"/>
                      <a:pt x="7008" y="23192"/>
                    </a:cubicBezTo>
                    <a:cubicBezTo>
                      <a:pt x="6972" y="23164"/>
                      <a:pt x="6948" y="23146"/>
                      <a:pt x="6981" y="23152"/>
                    </a:cubicBezTo>
                    <a:cubicBezTo>
                      <a:pt x="6933" y="23115"/>
                      <a:pt x="6868" y="23124"/>
                      <a:pt x="6829" y="23074"/>
                    </a:cubicBezTo>
                    <a:cubicBezTo>
                      <a:pt x="6829" y="23074"/>
                      <a:pt x="6875" y="23090"/>
                      <a:pt x="6930" y="23094"/>
                    </a:cubicBezTo>
                    <a:cubicBezTo>
                      <a:pt x="6976" y="23109"/>
                      <a:pt x="7024" y="23146"/>
                      <a:pt x="7048" y="23165"/>
                    </a:cubicBezTo>
                    <a:cubicBezTo>
                      <a:pt x="7021" y="23125"/>
                      <a:pt x="7222" y="23163"/>
                      <a:pt x="7274" y="23222"/>
                    </a:cubicBezTo>
                    <a:cubicBezTo>
                      <a:pt x="7298" y="23240"/>
                      <a:pt x="7140" y="23196"/>
                      <a:pt x="7103" y="23168"/>
                    </a:cubicBezTo>
                    <a:cubicBezTo>
                      <a:pt x="7109" y="23211"/>
                      <a:pt x="7039" y="23177"/>
                      <a:pt x="7008" y="23192"/>
                    </a:cubicBezTo>
                    <a:cubicBezTo>
                      <a:pt x="7081" y="23248"/>
                      <a:pt x="7047" y="23241"/>
                      <a:pt x="7142" y="23294"/>
                    </a:cubicBezTo>
                    <a:cubicBezTo>
                      <a:pt x="7062" y="23272"/>
                      <a:pt x="7005" y="23247"/>
                      <a:pt x="6947" y="23222"/>
                    </a:cubicBezTo>
                    <a:cubicBezTo>
                      <a:pt x="6911" y="23194"/>
                      <a:pt x="6877" y="23188"/>
                      <a:pt x="6843" y="23181"/>
                    </a:cubicBezTo>
                    <a:cubicBezTo>
                      <a:pt x="6798" y="23166"/>
                      <a:pt x="6752" y="23150"/>
                      <a:pt x="6706" y="23135"/>
                    </a:cubicBezTo>
                    <a:cubicBezTo>
                      <a:pt x="6782" y="23212"/>
                      <a:pt x="6688" y="23159"/>
                      <a:pt x="6797" y="23242"/>
                    </a:cubicBezTo>
                    <a:cubicBezTo>
                      <a:pt x="6816" y="23218"/>
                      <a:pt x="6743" y="23162"/>
                      <a:pt x="6880" y="23209"/>
                    </a:cubicBezTo>
                    <a:cubicBezTo>
                      <a:pt x="7020" y="23278"/>
                      <a:pt x="7147" y="23337"/>
                      <a:pt x="7296" y="23393"/>
                    </a:cubicBezTo>
                    <a:cubicBezTo>
                      <a:pt x="7248" y="23356"/>
                      <a:pt x="7236" y="23347"/>
                      <a:pt x="7279" y="23341"/>
                    </a:cubicBezTo>
                    <a:cubicBezTo>
                      <a:pt x="7221" y="23316"/>
                      <a:pt x="7151" y="23282"/>
                      <a:pt x="7093" y="23257"/>
                    </a:cubicBezTo>
                    <a:cubicBezTo>
                      <a:pt x="7102" y="23245"/>
                      <a:pt x="7194" y="23276"/>
                      <a:pt x="7227" y="23282"/>
                    </a:cubicBezTo>
                    <a:cubicBezTo>
                      <a:pt x="7273" y="23298"/>
                      <a:pt x="7252" y="23301"/>
                      <a:pt x="7230" y="23304"/>
                    </a:cubicBezTo>
                    <a:cubicBezTo>
                      <a:pt x="7336" y="23366"/>
                      <a:pt x="7270" y="23277"/>
                      <a:pt x="7401" y="23357"/>
                    </a:cubicBezTo>
                    <a:cubicBezTo>
                      <a:pt x="7403" y="23379"/>
                      <a:pt x="7336" y="23366"/>
                      <a:pt x="7351" y="23397"/>
                    </a:cubicBezTo>
                    <a:cubicBezTo>
                      <a:pt x="7440" y="23406"/>
                      <a:pt x="7543" y="23447"/>
                      <a:pt x="7659" y="23497"/>
                    </a:cubicBezTo>
                    <a:cubicBezTo>
                      <a:pt x="7762" y="23537"/>
                      <a:pt x="7878" y="23587"/>
                      <a:pt x="7976" y="23585"/>
                    </a:cubicBezTo>
                    <a:cubicBezTo>
                      <a:pt x="7991" y="23616"/>
                      <a:pt x="7936" y="23612"/>
                      <a:pt x="8018" y="23656"/>
                    </a:cubicBezTo>
                    <a:cubicBezTo>
                      <a:pt x="8106" y="23666"/>
                      <a:pt x="8167" y="23712"/>
                      <a:pt x="8265" y="23710"/>
                    </a:cubicBezTo>
                    <a:cubicBezTo>
                      <a:pt x="8216" y="23673"/>
                      <a:pt x="8192" y="23654"/>
                      <a:pt x="8201" y="23642"/>
                    </a:cubicBezTo>
                    <a:cubicBezTo>
                      <a:pt x="8302" y="23661"/>
                      <a:pt x="8405" y="23702"/>
                      <a:pt x="8506" y="23721"/>
                    </a:cubicBezTo>
                    <a:cubicBezTo>
                      <a:pt x="8530" y="23739"/>
                      <a:pt x="8499" y="23754"/>
                      <a:pt x="8466" y="23748"/>
                    </a:cubicBezTo>
                    <a:cubicBezTo>
                      <a:pt x="8423" y="23754"/>
                      <a:pt x="8365" y="23729"/>
                      <a:pt x="8317" y="23692"/>
                    </a:cubicBezTo>
                    <a:cubicBezTo>
                      <a:pt x="8365" y="23729"/>
                      <a:pt x="8277" y="23719"/>
                      <a:pt x="8313" y="23747"/>
                    </a:cubicBezTo>
                    <a:cubicBezTo>
                      <a:pt x="8368" y="23750"/>
                      <a:pt x="8423" y="23754"/>
                      <a:pt x="8481" y="23779"/>
                    </a:cubicBezTo>
                    <a:cubicBezTo>
                      <a:pt x="8548" y="23791"/>
                      <a:pt x="8615" y="23804"/>
                      <a:pt x="8716" y="23823"/>
                    </a:cubicBezTo>
                    <a:cubicBezTo>
                      <a:pt x="8676" y="23774"/>
                      <a:pt x="8603" y="23795"/>
                      <a:pt x="8566" y="23767"/>
                    </a:cubicBezTo>
                    <a:cubicBezTo>
                      <a:pt x="8585" y="23743"/>
                      <a:pt x="8691" y="23805"/>
                      <a:pt x="8777" y="23793"/>
                    </a:cubicBezTo>
                    <a:cubicBezTo>
                      <a:pt x="8813" y="23821"/>
                      <a:pt x="8780" y="23815"/>
                      <a:pt x="8828" y="23852"/>
                    </a:cubicBezTo>
                    <a:cubicBezTo>
                      <a:pt x="8868" y="23825"/>
                      <a:pt x="8935" y="23837"/>
                      <a:pt x="8993" y="23862"/>
                    </a:cubicBezTo>
                    <a:cubicBezTo>
                      <a:pt x="9005" y="23872"/>
                      <a:pt x="9039" y="23878"/>
                      <a:pt x="9051" y="23887"/>
                    </a:cubicBezTo>
                    <a:cubicBezTo>
                      <a:pt x="9072" y="23884"/>
                      <a:pt x="9084" y="23894"/>
                      <a:pt x="9097" y="23903"/>
                    </a:cubicBezTo>
                    <a:cubicBezTo>
                      <a:pt x="9142" y="23918"/>
                      <a:pt x="9185" y="23913"/>
                      <a:pt x="9207" y="23910"/>
                    </a:cubicBezTo>
                    <a:cubicBezTo>
                      <a:pt x="9258" y="23968"/>
                      <a:pt x="9032" y="23911"/>
                      <a:pt x="9014" y="23936"/>
                    </a:cubicBezTo>
                    <a:cubicBezTo>
                      <a:pt x="9026" y="23945"/>
                      <a:pt x="9047" y="23942"/>
                      <a:pt x="9081" y="23949"/>
                    </a:cubicBezTo>
                    <a:cubicBezTo>
                      <a:pt x="9172" y="23980"/>
                      <a:pt x="9017" y="23957"/>
                      <a:pt x="9108" y="23989"/>
                    </a:cubicBezTo>
                    <a:cubicBezTo>
                      <a:pt x="9184" y="23989"/>
                      <a:pt x="9300" y="24039"/>
                      <a:pt x="9273" y="23999"/>
                    </a:cubicBezTo>
                    <a:cubicBezTo>
                      <a:pt x="9358" y="23987"/>
                      <a:pt x="9410" y="24046"/>
                      <a:pt x="9498" y="24056"/>
                    </a:cubicBezTo>
                    <a:cubicBezTo>
                      <a:pt x="9510" y="24065"/>
                      <a:pt x="9458" y="24083"/>
                      <a:pt x="9400" y="24058"/>
                    </a:cubicBezTo>
                    <a:cubicBezTo>
                      <a:pt x="9403" y="24080"/>
                      <a:pt x="9480" y="24080"/>
                      <a:pt x="9547" y="24093"/>
                    </a:cubicBezTo>
                    <a:cubicBezTo>
                      <a:pt x="9626" y="24115"/>
                      <a:pt x="9702" y="24116"/>
                      <a:pt x="9696" y="24149"/>
                    </a:cubicBezTo>
                    <a:cubicBezTo>
                      <a:pt x="9760" y="24141"/>
                      <a:pt x="9803" y="24135"/>
                      <a:pt x="9846" y="24129"/>
                    </a:cubicBezTo>
                    <a:cubicBezTo>
                      <a:pt x="9800" y="24113"/>
                      <a:pt x="9809" y="24101"/>
                      <a:pt x="9797" y="24092"/>
                    </a:cubicBezTo>
                    <a:cubicBezTo>
                      <a:pt x="9886" y="24102"/>
                      <a:pt x="9876" y="24114"/>
                      <a:pt x="9913" y="24142"/>
                    </a:cubicBezTo>
                    <a:cubicBezTo>
                      <a:pt x="9999" y="24130"/>
                      <a:pt x="10066" y="24143"/>
                      <a:pt x="10145" y="24165"/>
                    </a:cubicBezTo>
                    <a:cubicBezTo>
                      <a:pt x="10224" y="24187"/>
                      <a:pt x="10315" y="24218"/>
                      <a:pt x="10428" y="24247"/>
                    </a:cubicBezTo>
                    <a:cubicBezTo>
                      <a:pt x="10504" y="24247"/>
                      <a:pt x="10614" y="24254"/>
                      <a:pt x="10727" y="24283"/>
                    </a:cubicBezTo>
                    <a:cubicBezTo>
                      <a:pt x="10837" y="24290"/>
                      <a:pt x="10971" y="24315"/>
                      <a:pt x="11069" y="24313"/>
                    </a:cubicBezTo>
                    <a:cubicBezTo>
                      <a:pt x="11075" y="24280"/>
                      <a:pt x="10968" y="24294"/>
                      <a:pt x="10923" y="24278"/>
                    </a:cubicBezTo>
                    <a:cubicBezTo>
                      <a:pt x="10963" y="24251"/>
                      <a:pt x="11182" y="24265"/>
                      <a:pt x="11283" y="24284"/>
                    </a:cubicBezTo>
                    <a:cubicBezTo>
                      <a:pt x="11319" y="24312"/>
                      <a:pt x="11140" y="24271"/>
                      <a:pt x="11167" y="24311"/>
                    </a:cubicBezTo>
                    <a:cubicBezTo>
                      <a:pt x="11234" y="24324"/>
                      <a:pt x="11292" y="24349"/>
                      <a:pt x="11292" y="24349"/>
                    </a:cubicBezTo>
                    <a:cubicBezTo>
                      <a:pt x="11356" y="24340"/>
                      <a:pt x="11460" y="24304"/>
                      <a:pt x="11546" y="24293"/>
                    </a:cubicBezTo>
                    <a:cubicBezTo>
                      <a:pt x="11643" y="24290"/>
                      <a:pt x="11616" y="24327"/>
                      <a:pt x="11695" y="24349"/>
                    </a:cubicBezTo>
                    <a:cubicBezTo>
                      <a:pt x="11750" y="24352"/>
                      <a:pt x="11930" y="24317"/>
                      <a:pt x="11903" y="24353"/>
                    </a:cubicBezTo>
                    <a:cubicBezTo>
                      <a:pt x="12083" y="24318"/>
                      <a:pt x="12248" y="24329"/>
                      <a:pt x="12434" y="24336"/>
                    </a:cubicBezTo>
                    <a:cubicBezTo>
                      <a:pt x="12535" y="24356"/>
                      <a:pt x="12342" y="24381"/>
                      <a:pt x="12443" y="24401"/>
                    </a:cubicBezTo>
                    <a:cubicBezTo>
                      <a:pt x="12581" y="24371"/>
                      <a:pt x="12416" y="24361"/>
                      <a:pt x="12511" y="24337"/>
                    </a:cubicBezTo>
                    <a:cubicBezTo>
                      <a:pt x="12627" y="24310"/>
                      <a:pt x="12623" y="24365"/>
                      <a:pt x="12690" y="24378"/>
                    </a:cubicBezTo>
                    <a:cubicBezTo>
                      <a:pt x="12764" y="24357"/>
                      <a:pt x="12822" y="24382"/>
                      <a:pt x="12886" y="24374"/>
                    </a:cubicBezTo>
                    <a:cubicBezTo>
                      <a:pt x="12855" y="24389"/>
                      <a:pt x="12880" y="24407"/>
                      <a:pt x="12968" y="24417"/>
                    </a:cubicBezTo>
                    <a:cubicBezTo>
                      <a:pt x="12977" y="24405"/>
                      <a:pt x="12996" y="24381"/>
                      <a:pt x="13042" y="24396"/>
                    </a:cubicBezTo>
                    <a:cubicBezTo>
                      <a:pt x="13103" y="24366"/>
                      <a:pt x="12965" y="24396"/>
                      <a:pt x="12950" y="24365"/>
                    </a:cubicBezTo>
                    <a:cubicBezTo>
                      <a:pt x="13012" y="24335"/>
                      <a:pt x="13069" y="24360"/>
                      <a:pt x="13134" y="24351"/>
                    </a:cubicBezTo>
                    <a:cubicBezTo>
                      <a:pt x="13186" y="24333"/>
                      <a:pt x="13045" y="24341"/>
                      <a:pt x="13024" y="24344"/>
                    </a:cubicBezTo>
                    <a:cubicBezTo>
                      <a:pt x="13012" y="24335"/>
                      <a:pt x="13042" y="24320"/>
                      <a:pt x="13052" y="24308"/>
                    </a:cubicBezTo>
                    <a:cubicBezTo>
                      <a:pt x="13137" y="24296"/>
                      <a:pt x="13140" y="24318"/>
                      <a:pt x="13189" y="24278"/>
                    </a:cubicBezTo>
                    <a:cubicBezTo>
                      <a:pt x="13290" y="24297"/>
                      <a:pt x="13159" y="24293"/>
                      <a:pt x="13152" y="24327"/>
                    </a:cubicBezTo>
                    <a:cubicBezTo>
                      <a:pt x="13250" y="24325"/>
                      <a:pt x="13247" y="24303"/>
                      <a:pt x="13278" y="24288"/>
                    </a:cubicBezTo>
                    <a:cubicBezTo>
                      <a:pt x="13382" y="24252"/>
                      <a:pt x="13492" y="24259"/>
                      <a:pt x="13599" y="24245"/>
                    </a:cubicBezTo>
                    <a:cubicBezTo>
                      <a:pt x="13602" y="24266"/>
                      <a:pt x="13528" y="24287"/>
                      <a:pt x="13531" y="24309"/>
                    </a:cubicBezTo>
                    <a:cubicBezTo>
                      <a:pt x="13574" y="24303"/>
                      <a:pt x="13620" y="24318"/>
                      <a:pt x="13675" y="24322"/>
                    </a:cubicBezTo>
                    <a:cubicBezTo>
                      <a:pt x="13730" y="24325"/>
                      <a:pt x="13785" y="24329"/>
                      <a:pt x="13837" y="24311"/>
                    </a:cubicBezTo>
                    <a:cubicBezTo>
                      <a:pt x="13937" y="24330"/>
                      <a:pt x="13962" y="24349"/>
                      <a:pt x="14166" y="24332"/>
                    </a:cubicBezTo>
                    <a:cubicBezTo>
                      <a:pt x="14099" y="24319"/>
                      <a:pt x="14026" y="24340"/>
                      <a:pt x="14032" y="24306"/>
                    </a:cubicBezTo>
                    <a:cubicBezTo>
                      <a:pt x="14094" y="24276"/>
                      <a:pt x="14170" y="24277"/>
                      <a:pt x="14234" y="24268"/>
                    </a:cubicBezTo>
                    <a:cubicBezTo>
                      <a:pt x="14286" y="24250"/>
                      <a:pt x="14210" y="24250"/>
                      <a:pt x="14284" y="24229"/>
                    </a:cubicBezTo>
                    <a:cubicBezTo>
                      <a:pt x="14198" y="24241"/>
                      <a:pt x="14012" y="24233"/>
                      <a:pt x="14005" y="24267"/>
                    </a:cubicBezTo>
                    <a:cubicBezTo>
                      <a:pt x="13993" y="24257"/>
                      <a:pt x="13969" y="24239"/>
                      <a:pt x="14021" y="24221"/>
                    </a:cubicBezTo>
                    <a:cubicBezTo>
                      <a:pt x="14107" y="24209"/>
                      <a:pt x="14079" y="24246"/>
                      <a:pt x="14180" y="24188"/>
                    </a:cubicBezTo>
                    <a:cubicBezTo>
                      <a:pt x="14299" y="24183"/>
                      <a:pt x="14131" y="24228"/>
                      <a:pt x="14238" y="24213"/>
                    </a:cubicBezTo>
                    <a:cubicBezTo>
                      <a:pt x="14223" y="24183"/>
                      <a:pt x="14339" y="24156"/>
                      <a:pt x="14437" y="24154"/>
                    </a:cubicBezTo>
                    <a:cubicBezTo>
                      <a:pt x="14499" y="24124"/>
                      <a:pt x="14413" y="24135"/>
                      <a:pt x="14339" y="24156"/>
                    </a:cubicBezTo>
                    <a:cubicBezTo>
                      <a:pt x="14379" y="24129"/>
                      <a:pt x="14422" y="24123"/>
                      <a:pt x="14453" y="24108"/>
                    </a:cubicBezTo>
                    <a:cubicBezTo>
                      <a:pt x="14486" y="24114"/>
                      <a:pt x="14627" y="24106"/>
                      <a:pt x="14566" y="24137"/>
                    </a:cubicBezTo>
                    <a:cubicBezTo>
                      <a:pt x="14609" y="24131"/>
                      <a:pt x="14762" y="24056"/>
                      <a:pt x="14725" y="24104"/>
                    </a:cubicBezTo>
                    <a:cubicBezTo>
                      <a:pt x="14768" y="24098"/>
                      <a:pt x="14798" y="24083"/>
                      <a:pt x="14829" y="24068"/>
                    </a:cubicBezTo>
                    <a:cubicBezTo>
                      <a:pt x="14869" y="24041"/>
                      <a:pt x="14900" y="24026"/>
                      <a:pt x="14952" y="24008"/>
                    </a:cubicBezTo>
                    <a:cubicBezTo>
                      <a:pt x="14976" y="24027"/>
                      <a:pt x="14924" y="24045"/>
                      <a:pt x="14893" y="24060"/>
                    </a:cubicBezTo>
                    <a:cubicBezTo>
                      <a:pt x="15000" y="24045"/>
                      <a:pt x="15205" y="24029"/>
                      <a:pt x="15242" y="23980"/>
                    </a:cubicBezTo>
                    <a:cubicBezTo>
                      <a:pt x="15273" y="23965"/>
                      <a:pt x="15432" y="23933"/>
                      <a:pt x="15340" y="23978"/>
                    </a:cubicBezTo>
                    <a:cubicBezTo>
                      <a:pt x="15362" y="23975"/>
                      <a:pt x="15392" y="23960"/>
                      <a:pt x="15414" y="23957"/>
                    </a:cubicBezTo>
                    <a:cubicBezTo>
                      <a:pt x="15445" y="23942"/>
                      <a:pt x="15466" y="23939"/>
                      <a:pt x="15497" y="23924"/>
                    </a:cubicBezTo>
                    <a:cubicBezTo>
                      <a:pt x="15549" y="23906"/>
                      <a:pt x="15589" y="23879"/>
                      <a:pt x="15641" y="23861"/>
                    </a:cubicBezTo>
                    <a:cubicBezTo>
                      <a:pt x="15733" y="23816"/>
                      <a:pt x="15801" y="23752"/>
                      <a:pt x="15838" y="23704"/>
                    </a:cubicBezTo>
                    <a:cubicBezTo>
                      <a:pt x="15890" y="23686"/>
                      <a:pt x="15933" y="23680"/>
                      <a:pt x="15994" y="23650"/>
                    </a:cubicBezTo>
                    <a:cubicBezTo>
                      <a:pt x="16080" y="23638"/>
                      <a:pt x="15917" y="23726"/>
                      <a:pt x="16034" y="23699"/>
                    </a:cubicBezTo>
                    <a:cubicBezTo>
                      <a:pt x="15994" y="23726"/>
                      <a:pt x="15963" y="23741"/>
                      <a:pt x="15941" y="23744"/>
                    </a:cubicBezTo>
                    <a:cubicBezTo>
                      <a:pt x="15920" y="23747"/>
                      <a:pt x="15899" y="23750"/>
                      <a:pt x="15856" y="23756"/>
                    </a:cubicBezTo>
                    <a:cubicBezTo>
                      <a:pt x="15764" y="23801"/>
                      <a:pt x="15736" y="23837"/>
                      <a:pt x="15834" y="23835"/>
                    </a:cubicBezTo>
                    <a:cubicBezTo>
                      <a:pt x="15843" y="23823"/>
                      <a:pt x="15821" y="23826"/>
                      <a:pt x="15800" y="23829"/>
                    </a:cubicBezTo>
                    <a:cubicBezTo>
                      <a:pt x="15871" y="23786"/>
                      <a:pt x="15932" y="23756"/>
                      <a:pt x="15996" y="23748"/>
                    </a:cubicBezTo>
                    <a:cubicBezTo>
                      <a:pt x="16030" y="23754"/>
                      <a:pt x="16009" y="23757"/>
                      <a:pt x="15978" y="23772"/>
                    </a:cubicBezTo>
                    <a:cubicBezTo>
                      <a:pt x="15956" y="23775"/>
                      <a:pt x="15926" y="23790"/>
                      <a:pt x="15916" y="23802"/>
                    </a:cubicBezTo>
                    <a:cubicBezTo>
                      <a:pt x="15950" y="23808"/>
                      <a:pt x="15981" y="23793"/>
                      <a:pt x="16011" y="23778"/>
                    </a:cubicBezTo>
                    <a:cubicBezTo>
                      <a:pt x="16033" y="23775"/>
                      <a:pt x="16064" y="23760"/>
                      <a:pt x="16097" y="23767"/>
                    </a:cubicBezTo>
                    <a:cubicBezTo>
                      <a:pt x="16119" y="23687"/>
                      <a:pt x="16364" y="23644"/>
                      <a:pt x="16535" y="23621"/>
                    </a:cubicBezTo>
                    <a:cubicBezTo>
                      <a:pt x="16563" y="23584"/>
                      <a:pt x="16594" y="23569"/>
                      <a:pt x="16591" y="23548"/>
                    </a:cubicBezTo>
                    <a:cubicBezTo>
                      <a:pt x="16600" y="23535"/>
                      <a:pt x="16567" y="23529"/>
                      <a:pt x="16493" y="23550"/>
                    </a:cubicBezTo>
                    <a:cubicBezTo>
                      <a:pt x="16539" y="23566"/>
                      <a:pt x="16444" y="23589"/>
                      <a:pt x="16371" y="23610"/>
                    </a:cubicBezTo>
                    <a:cubicBezTo>
                      <a:pt x="16349" y="23613"/>
                      <a:pt x="16401" y="23595"/>
                      <a:pt x="16432" y="23580"/>
                    </a:cubicBezTo>
                    <a:cubicBezTo>
                      <a:pt x="16386" y="23564"/>
                      <a:pt x="16171" y="23670"/>
                      <a:pt x="16055" y="23696"/>
                    </a:cubicBezTo>
                    <a:cubicBezTo>
                      <a:pt x="16147" y="23651"/>
                      <a:pt x="16251" y="23615"/>
                      <a:pt x="16344" y="23570"/>
                    </a:cubicBezTo>
                    <a:cubicBezTo>
                      <a:pt x="16396" y="23552"/>
                      <a:pt x="16448" y="23534"/>
                      <a:pt x="16509" y="23504"/>
                    </a:cubicBezTo>
                    <a:cubicBezTo>
                      <a:pt x="16561" y="23486"/>
                      <a:pt x="16623" y="23456"/>
                      <a:pt x="16675" y="23438"/>
                    </a:cubicBezTo>
                    <a:cubicBezTo>
                      <a:pt x="16788" y="23390"/>
                      <a:pt x="16902" y="23342"/>
                      <a:pt x="17015" y="23294"/>
                    </a:cubicBezTo>
                    <a:cubicBezTo>
                      <a:pt x="17046" y="23279"/>
                      <a:pt x="17068" y="23276"/>
                      <a:pt x="17098" y="23261"/>
                    </a:cubicBezTo>
                    <a:cubicBezTo>
                      <a:pt x="17129" y="23246"/>
                      <a:pt x="17160" y="23231"/>
                      <a:pt x="17181" y="23228"/>
                    </a:cubicBezTo>
                    <a:cubicBezTo>
                      <a:pt x="17230" y="23189"/>
                      <a:pt x="17282" y="23171"/>
                      <a:pt x="17332" y="23132"/>
                    </a:cubicBezTo>
                    <a:cubicBezTo>
                      <a:pt x="17353" y="23129"/>
                      <a:pt x="17325" y="23165"/>
                      <a:pt x="17295" y="23180"/>
                    </a:cubicBezTo>
                    <a:cubicBezTo>
                      <a:pt x="17359" y="23172"/>
                      <a:pt x="17420" y="23142"/>
                      <a:pt x="17457" y="23093"/>
                    </a:cubicBezTo>
                    <a:cubicBezTo>
                      <a:pt x="17503" y="23109"/>
                      <a:pt x="17540" y="23060"/>
                      <a:pt x="17635" y="23036"/>
                    </a:cubicBezTo>
                    <a:cubicBezTo>
                      <a:pt x="17699" y="23028"/>
                      <a:pt x="17506" y="23130"/>
                      <a:pt x="17632" y="23091"/>
                    </a:cubicBezTo>
                    <a:cubicBezTo>
                      <a:pt x="17687" y="23018"/>
                      <a:pt x="17730" y="23013"/>
                      <a:pt x="17896" y="22947"/>
                    </a:cubicBezTo>
                    <a:cubicBezTo>
                      <a:pt x="17942" y="22886"/>
                      <a:pt x="18010" y="22822"/>
                      <a:pt x="18127" y="22796"/>
                    </a:cubicBezTo>
                    <a:cubicBezTo>
                      <a:pt x="18167" y="22769"/>
                      <a:pt x="18185" y="22744"/>
                      <a:pt x="18225" y="22717"/>
                    </a:cubicBezTo>
                    <a:cubicBezTo>
                      <a:pt x="18256" y="22702"/>
                      <a:pt x="18296" y="22675"/>
                      <a:pt x="18314" y="22651"/>
                    </a:cubicBezTo>
                    <a:cubicBezTo>
                      <a:pt x="18431" y="22624"/>
                      <a:pt x="18594" y="22537"/>
                      <a:pt x="18754" y="22428"/>
                    </a:cubicBezTo>
                    <a:cubicBezTo>
                      <a:pt x="18914" y="22319"/>
                      <a:pt x="19083" y="22198"/>
                      <a:pt x="19276" y="22096"/>
                    </a:cubicBezTo>
                    <a:cubicBezTo>
                      <a:pt x="19252" y="22077"/>
                      <a:pt x="19329" y="22001"/>
                      <a:pt x="19384" y="22005"/>
                    </a:cubicBezTo>
                    <a:cubicBezTo>
                      <a:pt x="19452" y="21941"/>
                      <a:pt x="19419" y="21935"/>
                      <a:pt x="19416" y="21914"/>
                    </a:cubicBezTo>
                    <a:cubicBezTo>
                      <a:pt x="19447" y="21898"/>
                      <a:pt x="19465" y="21874"/>
                      <a:pt x="19487" y="21871"/>
                    </a:cubicBezTo>
                    <a:cubicBezTo>
                      <a:pt x="19489" y="21893"/>
                      <a:pt x="19523" y="21899"/>
                      <a:pt x="19455" y="21963"/>
                    </a:cubicBezTo>
                    <a:cubicBezTo>
                      <a:pt x="19578" y="21903"/>
                      <a:pt x="19468" y="21896"/>
                      <a:pt x="19603" y="21845"/>
                    </a:cubicBezTo>
                    <a:cubicBezTo>
                      <a:pt x="19616" y="21778"/>
                      <a:pt x="19647" y="21763"/>
                      <a:pt x="19745" y="21684"/>
                    </a:cubicBezTo>
                    <a:cubicBezTo>
                      <a:pt x="19797" y="21666"/>
                      <a:pt x="19760" y="21715"/>
                      <a:pt x="19723" y="21763"/>
                    </a:cubicBezTo>
                    <a:cubicBezTo>
                      <a:pt x="19741" y="21739"/>
                      <a:pt x="19760" y="21715"/>
                      <a:pt x="19791" y="21699"/>
                    </a:cubicBezTo>
                    <a:cubicBezTo>
                      <a:pt x="19809" y="21675"/>
                      <a:pt x="19828" y="21651"/>
                      <a:pt x="19859" y="21636"/>
                    </a:cubicBezTo>
                    <a:cubicBezTo>
                      <a:pt x="19908" y="21596"/>
                      <a:pt x="19954" y="21536"/>
                      <a:pt x="20004" y="21496"/>
                    </a:cubicBezTo>
                    <a:cubicBezTo>
                      <a:pt x="20112" y="21406"/>
                      <a:pt x="20198" y="21318"/>
                      <a:pt x="20229" y="21226"/>
                    </a:cubicBezTo>
                    <a:cubicBezTo>
                      <a:pt x="20307" y="21150"/>
                      <a:pt x="20319" y="21160"/>
                      <a:pt x="20368" y="21120"/>
                    </a:cubicBezTo>
                    <a:cubicBezTo>
                      <a:pt x="20429" y="21090"/>
                      <a:pt x="20355" y="21187"/>
                      <a:pt x="20426" y="21145"/>
                    </a:cubicBezTo>
                    <a:cubicBezTo>
                      <a:pt x="20472" y="21084"/>
                      <a:pt x="20460" y="21075"/>
                      <a:pt x="20427" y="21069"/>
                    </a:cubicBezTo>
                    <a:cubicBezTo>
                      <a:pt x="20516" y="21002"/>
                      <a:pt x="20473" y="21008"/>
                      <a:pt x="20550" y="20932"/>
                    </a:cubicBezTo>
                    <a:cubicBezTo>
                      <a:pt x="20624" y="20911"/>
                      <a:pt x="20543" y="21042"/>
                      <a:pt x="20454" y="21109"/>
                    </a:cubicBezTo>
                    <a:cubicBezTo>
                      <a:pt x="20506" y="21091"/>
                      <a:pt x="20487" y="21115"/>
                      <a:pt x="20457" y="21130"/>
                    </a:cubicBezTo>
                    <a:cubicBezTo>
                      <a:pt x="20527" y="21088"/>
                      <a:pt x="20619" y="21043"/>
                      <a:pt x="20697" y="20967"/>
                    </a:cubicBezTo>
                    <a:cubicBezTo>
                      <a:pt x="20706" y="20955"/>
                      <a:pt x="20737" y="20940"/>
                      <a:pt x="20755" y="20916"/>
                    </a:cubicBezTo>
                    <a:cubicBezTo>
                      <a:pt x="20774" y="20891"/>
                      <a:pt x="20792" y="20867"/>
                      <a:pt x="20811" y="20843"/>
                    </a:cubicBezTo>
                    <a:cubicBezTo>
                      <a:pt x="20851" y="20815"/>
                      <a:pt x="20885" y="20745"/>
                      <a:pt x="20922" y="20697"/>
                    </a:cubicBezTo>
                    <a:cubicBezTo>
                      <a:pt x="20981" y="20645"/>
                      <a:pt x="20860" y="20803"/>
                      <a:pt x="20949" y="20737"/>
                    </a:cubicBezTo>
                    <a:cubicBezTo>
                      <a:pt x="20965" y="20691"/>
                      <a:pt x="21024" y="20639"/>
                      <a:pt x="21092" y="20576"/>
                    </a:cubicBezTo>
                    <a:cubicBezTo>
                      <a:pt x="21110" y="20552"/>
                      <a:pt x="21150" y="20524"/>
                      <a:pt x="21178" y="20488"/>
                    </a:cubicBezTo>
                    <a:cubicBezTo>
                      <a:pt x="21218" y="20461"/>
                      <a:pt x="21246" y="20424"/>
                      <a:pt x="21265" y="20400"/>
                    </a:cubicBezTo>
                    <a:cubicBezTo>
                      <a:pt x="21302" y="20351"/>
                      <a:pt x="21271" y="20366"/>
                      <a:pt x="21296" y="20308"/>
                    </a:cubicBezTo>
                    <a:cubicBezTo>
                      <a:pt x="21308" y="20318"/>
                      <a:pt x="21292" y="20363"/>
                      <a:pt x="21342" y="20324"/>
                    </a:cubicBezTo>
                    <a:cubicBezTo>
                      <a:pt x="21388" y="20263"/>
                      <a:pt x="21348" y="20291"/>
                      <a:pt x="21373" y="20233"/>
                    </a:cubicBezTo>
                    <a:cubicBezTo>
                      <a:pt x="21395" y="20230"/>
                      <a:pt x="21367" y="20266"/>
                      <a:pt x="21398" y="20251"/>
                    </a:cubicBezTo>
                    <a:cubicBezTo>
                      <a:pt x="21478" y="20197"/>
                      <a:pt x="21530" y="20102"/>
                      <a:pt x="21497" y="20096"/>
                    </a:cubicBezTo>
                    <a:cubicBezTo>
                      <a:pt x="21528" y="20081"/>
                      <a:pt x="21537" y="20069"/>
                      <a:pt x="21555" y="20045"/>
                    </a:cubicBezTo>
                    <a:cubicBezTo>
                      <a:pt x="21577" y="20042"/>
                      <a:pt x="21549" y="20078"/>
                      <a:pt x="21530" y="20102"/>
                    </a:cubicBezTo>
                    <a:cubicBezTo>
                      <a:pt x="21549" y="20078"/>
                      <a:pt x="21580" y="20063"/>
                      <a:pt x="21598" y="20039"/>
                    </a:cubicBezTo>
                    <a:cubicBezTo>
                      <a:pt x="21617" y="20015"/>
                      <a:pt x="21635" y="19990"/>
                      <a:pt x="21654" y="19966"/>
                    </a:cubicBezTo>
                    <a:cubicBezTo>
                      <a:pt x="21703" y="19927"/>
                      <a:pt x="21750" y="19866"/>
                      <a:pt x="21787" y="19817"/>
                    </a:cubicBezTo>
                    <a:cubicBezTo>
                      <a:pt x="21883" y="19717"/>
                      <a:pt x="21948" y="19632"/>
                      <a:pt x="21982" y="19562"/>
                    </a:cubicBezTo>
                    <a:cubicBezTo>
                      <a:pt x="22124" y="19401"/>
                      <a:pt x="22060" y="19410"/>
                      <a:pt x="22159" y="19331"/>
                    </a:cubicBezTo>
                    <a:cubicBezTo>
                      <a:pt x="22184" y="19197"/>
                      <a:pt x="22243" y="19145"/>
                      <a:pt x="22300" y="18996"/>
                    </a:cubicBezTo>
                    <a:cubicBezTo>
                      <a:pt x="22272" y="19032"/>
                      <a:pt x="22235" y="19081"/>
                      <a:pt x="22207" y="19117"/>
                    </a:cubicBezTo>
                    <a:cubicBezTo>
                      <a:pt x="22213" y="19084"/>
                      <a:pt x="22232" y="19060"/>
                      <a:pt x="22260" y="19023"/>
                    </a:cubicBezTo>
                    <a:cubicBezTo>
                      <a:pt x="22278" y="18999"/>
                      <a:pt x="22297" y="18975"/>
                      <a:pt x="22315" y="18950"/>
                    </a:cubicBezTo>
                    <a:cubicBezTo>
                      <a:pt x="22334" y="18926"/>
                      <a:pt x="22318" y="18972"/>
                      <a:pt x="22300" y="18996"/>
                    </a:cubicBezTo>
                    <a:cubicBezTo>
                      <a:pt x="22393" y="18874"/>
                      <a:pt x="22488" y="18774"/>
                      <a:pt x="22569" y="18643"/>
                    </a:cubicBezTo>
                    <a:cubicBezTo>
                      <a:pt x="22600" y="18628"/>
                      <a:pt x="22563" y="18677"/>
                      <a:pt x="22565" y="18698"/>
                    </a:cubicBezTo>
                    <a:cubicBezTo>
                      <a:pt x="22603" y="18650"/>
                      <a:pt x="22649" y="18589"/>
                      <a:pt x="22683" y="18519"/>
                    </a:cubicBezTo>
                    <a:cubicBezTo>
                      <a:pt x="22666" y="18467"/>
                      <a:pt x="22737" y="18348"/>
                      <a:pt x="22830" y="18227"/>
                    </a:cubicBezTo>
                    <a:cubicBezTo>
                      <a:pt x="22864" y="18157"/>
                      <a:pt x="22911" y="18096"/>
                      <a:pt x="22945" y="18026"/>
                    </a:cubicBezTo>
                    <a:cubicBezTo>
                      <a:pt x="23001" y="17953"/>
                      <a:pt x="23026" y="17895"/>
                      <a:pt x="23039" y="17828"/>
                    </a:cubicBezTo>
                    <a:cubicBezTo>
                      <a:pt x="22942" y="18005"/>
                      <a:pt x="22942" y="18005"/>
                      <a:pt x="22942" y="18005"/>
                    </a:cubicBezTo>
                    <a:cubicBezTo>
                      <a:pt x="22908" y="18075"/>
                      <a:pt x="22871" y="18123"/>
                      <a:pt x="22824" y="18184"/>
                    </a:cubicBezTo>
                    <a:cubicBezTo>
                      <a:pt x="22753" y="18303"/>
                      <a:pt x="22691" y="18409"/>
                      <a:pt x="22619" y="18528"/>
                    </a:cubicBezTo>
                    <a:cubicBezTo>
                      <a:pt x="22651" y="18436"/>
                      <a:pt x="22706" y="18363"/>
                      <a:pt x="22750" y="18281"/>
                    </a:cubicBezTo>
                    <a:cubicBezTo>
                      <a:pt x="22744" y="18238"/>
                      <a:pt x="22688" y="18388"/>
                      <a:pt x="22648" y="18415"/>
                    </a:cubicBezTo>
                    <a:cubicBezTo>
                      <a:pt x="22673" y="18357"/>
                      <a:pt x="22689" y="18311"/>
                      <a:pt x="22704" y="18266"/>
                    </a:cubicBezTo>
                    <a:cubicBezTo>
                      <a:pt x="22732" y="18229"/>
                      <a:pt x="22726" y="18263"/>
                      <a:pt x="22754" y="18226"/>
                    </a:cubicBezTo>
                    <a:cubicBezTo>
                      <a:pt x="22797" y="18144"/>
                      <a:pt x="22801" y="18089"/>
                      <a:pt x="22826" y="18031"/>
                    </a:cubicBezTo>
                    <a:cubicBezTo>
                      <a:pt x="22842" y="17985"/>
                      <a:pt x="22855" y="17918"/>
                      <a:pt x="22920" y="17833"/>
                    </a:cubicBezTo>
                    <a:cubicBezTo>
                      <a:pt x="22929" y="17821"/>
                      <a:pt x="22923" y="17855"/>
                      <a:pt x="22898" y="17912"/>
                    </a:cubicBezTo>
                    <a:cubicBezTo>
                      <a:pt x="22900" y="17934"/>
                      <a:pt x="22882" y="17958"/>
                      <a:pt x="22885" y="17980"/>
                    </a:cubicBezTo>
                    <a:cubicBezTo>
                      <a:pt x="22866" y="18004"/>
                      <a:pt x="22869" y="18025"/>
                      <a:pt x="22860" y="18037"/>
                    </a:cubicBezTo>
                    <a:cubicBezTo>
                      <a:pt x="22872" y="18047"/>
                      <a:pt x="22909" y="17998"/>
                      <a:pt x="22905" y="18053"/>
                    </a:cubicBezTo>
                    <a:cubicBezTo>
                      <a:pt x="22921" y="18007"/>
                      <a:pt x="22910" y="17845"/>
                      <a:pt x="23022" y="17699"/>
                    </a:cubicBezTo>
                    <a:cubicBezTo>
                      <a:pt x="23041" y="17675"/>
                      <a:pt x="23055" y="17706"/>
                      <a:pt x="23030" y="17764"/>
                    </a:cubicBezTo>
                    <a:cubicBezTo>
                      <a:pt x="23086" y="17691"/>
                      <a:pt x="23060" y="17574"/>
                      <a:pt x="23153" y="17453"/>
                    </a:cubicBezTo>
                    <a:cubicBezTo>
                      <a:pt x="23209" y="17380"/>
                      <a:pt x="23152" y="17529"/>
                      <a:pt x="23217" y="17444"/>
                    </a:cubicBezTo>
                    <a:cubicBezTo>
                      <a:pt x="23224" y="17411"/>
                      <a:pt x="23214" y="17423"/>
                      <a:pt x="23205" y="17435"/>
                    </a:cubicBezTo>
                    <a:cubicBezTo>
                      <a:pt x="23193" y="17426"/>
                      <a:pt x="23255" y="17319"/>
                      <a:pt x="23212" y="17325"/>
                    </a:cubicBezTo>
                    <a:cubicBezTo>
                      <a:pt x="23231" y="17301"/>
                      <a:pt x="23299" y="17161"/>
                      <a:pt x="23257" y="17166"/>
                    </a:cubicBezTo>
                    <a:cubicBezTo>
                      <a:pt x="23294" y="17118"/>
                      <a:pt x="23297" y="17063"/>
                      <a:pt x="23335" y="17014"/>
                    </a:cubicBezTo>
                    <a:cubicBezTo>
                      <a:pt x="23359" y="17033"/>
                      <a:pt x="23314" y="17191"/>
                      <a:pt x="23345" y="17176"/>
                    </a:cubicBezTo>
                    <a:cubicBezTo>
                      <a:pt x="23358" y="17109"/>
                      <a:pt x="23380" y="17030"/>
                      <a:pt x="23402" y="16951"/>
                    </a:cubicBezTo>
                    <a:cubicBezTo>
                      <a:pt x="23440" y="16902"/>
                      <a:pt x="23427" y="16969"/>
                      <a:pt x="23470" y="16887"/>
                    </a:cubicBezTo>
                    <a:cubicBezTo>
                      <a:pt x="23518" y="16750"/>
                      <a:pt x="23577" y="16622"/>
                      <a:pt x="23627" y="16506"/>
                    </a:cubicBezTo>
                    <a:cubicBezTo>
                      <a:pt x="23664" y="16457"/>
                      <a:pt x="23605" y="16585"/>
                      <a:pt x="23611" y="16628"/>
                    </a:cubicBezTo>
                    <a:cubicBezTo>
                      <a:pt x="23698" y="16464"/>
                      <a:pt x="23634" y="16396"/>
                      <a:pt x="23734" y="16241"/>
                    </a:cubicBezTo>
                    <a:cubicBezTo>
                      <a:pt x="23749" y="16195"/>
                      <a:pt x="23741" y="16131"/>
                      <a:pt x="23769" y="16094"/>
                    </a:cubicBezTo>
                    <a:cubicBezTo>
                      <a:pt x="23760" y="16030"/>
                      <a:pt x="23734" y="16164"/>
                      <a:pt x="23713" y="16167"/>
                    </a:cubicBezTo>
                    <a:cubicBezTo>
                      <a:pt x="23710" y="16146"/>
                      <a:pt x="23707" y="16125"/>
                      <a:pt x="23714" y="16091"/>
                    </a:cubicBezTo>
                    <a:cubicBezTo>
                      <a:pt x="23751" y="16042"/>
                      <a:pt x="23773" y="15963"/>
                      <a:pt x="23798" y="15905"/>
                    </a:cubicBezTo>
                    <a:cubicBezTo>
                      <a:pt x="23805" y="15872"/>
                      <a:pt x="23811" y="15838"/>
                      <a:pt x="23830" y="15814"/>
                    </a:cubicBezTo>
                    <a:cubicBezTo>
                      <a:pt x="23846" y="15768"/>
                      <a:pt x="23852" y="15734"/>
                      <a:pt x="23871" y="15710"/>
                    </a:cubicBezTo>
                    <a:cubicBezTo>
                      <a:pt x="23883" y="15719"/>
                      <a:pt x="23888" y="15762"/>
                      <a:pt x="23863" y="15820"/>
                    </a:cubicBezTo>
                    <a:cubicBezTo>
                      <a:pt x="23848" y="15866"/>
                      <a:pt x="23823" y="15924"/>
                      <a:pt x="23795" y="15960"/>
                    </a:cubicBezTo>
                    <a:cubicBezTo>
                      <a:pt x="23791" y="16015"/>
                      <a:pt x="23778" y="16082"/>
                      <a:pt x="23765" y="16149"/>
                    </a:cubicBezTo>
                    <a:cubicBezTo>
                      <a:pt x="23787" y="16070"/>
                      <a:pt x="23887" y="15915"/>
                      <a:pt x="23882" y="15796"/>
                    </a:cubicBezTo>
                    <a:cubicBezTo>
                      <a:pt x="23926" y="15714"/>
                      <a:pt x="23909" y="15836"/>
                      <a:pt x="23953" y="15754"/>
                    </a:cubicBezTo>
                    <a:cubicBezTo>
                      <a:pt x="23944" y="15689"/>
                      <a:pt x="23954" y="15601"/>
                      <a:pt x="23983" y="15488"/>
                    </a:cubicBezTo>
                    <a:cubicBezTo>
                      <a:pt x="23999" y="15442"/>
                      <a:pt x="24014" y="15396"/>
                      <a:pt x="24027" y="15329"/>
                    </a:cubicBezTo>
                    <a:cubicBezTo>
                      <a:pt x="24034" y="15296"/>
                      <a:pt x="24052" y="15271"/>
                      <a:pt x="24050" y="15250"/>
                    </a:cubicBezTo>
                    <a:cubicBezTo>
                      <a:pt x="24056" y="15216"/>
                      <a:pt x="24062" y="15183"/>
                      <a:pt x="24072" y="15171"/>
                    </a:cubicBezTo>
                    <a:cubicBezTo>
                      <a:pt x="24109" y="15122"/>
                      <a:pt x="24059" y="15238"/>
                      <a:pt x="24074" y="15268"/>
                    </a:cubicBezTo>
                    <a:cubicBezTo>
                      <a:pt x="24093" y="15168"/>
                      <a:pt x="24111" y="15220"/>
                      <a:pt x="24145" y="15150"/>
                    </a:cubicBezTo>
                    <a:cubicBezTo>
                      <a:pt x="24150" y="15018"/>
                      <a:pt x="24200" y="14903"/>
                      <a:pt x="24204" y="14771"/>
                    </a:cubicBezTo>
                    <a:cubicBezTo>
                      <a:pt x="24248" y="14689"/>
                      <a:pt x="24254" y="14655"/>
                      <a:pt x="24246" y="14591"/>
                    </a:cubicBezTo>
                    <a:cubicBezTo>
                      <a:pt x="24249" y="14536"/>
                      <a:pt x="24241" y="14472"/>
                      <a:pt x="24245" y="14340"/>
                    </a:cubicBezTo>
                    <a:cubicBezTo>
                      <a:pt x="24226" y="14441"/>
                      <a:pt x="24228" y="14539"/>
                      <a:pt x="24197" y="14631"/>
                    </a:cubicBezTo>
                    <a:cubicBezTo>
                      <a:pt x="24193" y="14686"/>
                      <a:pt x="24202" y="14673"/>
                      <a:pt x="24221" y="14649"/>
                    </a:cubicBezTo>
                    <a:cubicBezTo>
                      <a:pt x="24208" y="14716"/>
                      <a:pt x="24204" y="14771"/>
                      <a:pt x="24179" y="14829"/>
                    </a:cubicBezTo>
                    <a:cubicBezTo>
                      <a:pt x="24142" y="14878"/>
                      <a:pt x="24180" y="14753"/>
                      <a:pt x="24177" y="14731"/>
                    </a:cubicBezTo>
                    <a:cubicBezTo>
                      <a:pt x="24159" y="14756"/>
                      <a:pt x="24043" y="14956"/>
                      <a:pt x="24060" y="15085"/>
                    </a:cubicBezTo>
                    <a:cubicBezTo>
                      <a:pt x="24033" y="15121"/>
                      <a:pt x="23998" y="15191"/>
                      <a:pt x="23988" y="15280"/>
                    </a:cubicBezTo>
                    <a:cubicBezTo>
                      <a:pt x="23957" y="15371"/>
                      <a:pt x="23925" y="15463"/>
                      <a:pt x="23915" y="15551"/>
                    </a:cubicBezTo>
                    <a:cubicBezTo>
                      <a:pt x="23878" y="15600"/>
                      <a:pt x="23872" y="15557"/>
                      <a:pt x="23874" y="15655"/>
                    </a:cubicBezTo>
                    <a:cubicBezTo>
                      <a:pt x="23849" y="15713"/>
                      <a:pt x="23824" y="15771"/>
                      <a:pt x="23799" y="15829"/>
                    </a:cubicBezTo>
                    <a:cubicBezTo>
                      <a:pt x="23771" y="15865"/>
                      <a:pt x="23746" y="15923"/>
                      <a:pt x="23721" y="15981"/>
                    </a:cubicBezTo>
                    <a:cubicBezTo>
                      <a:pt x="23683" y="16106"/>
                      <a:pt x="23642" y="16210"/>
                      <a:pt x="23614" y="16322"/>
                    </a:cubicBezTo>
                    <a:cubicBezTo>
                      <a:pt x="23580" y="16316"/>
                      <a:pt x="23504" y="16566"/>
                      <a:pt x="23502" y="16468"/>
                    </a:cubicBezTo>
                    <a:cubicBezTo>
                      <a:pt x="23499" y="16523"/>
                      <a:pt x="23464" y="16593"/>
                      <a:pt x="23433" y="16685"/>
                    </a:cubicBezTo>
                    <a:cubicBezTo>
                      <a:pt x="23461" y="16648"/>
                      <a:pt x="23467" y="16615"/>
                      <a:pt x="23507" y="16588"/>
                    </a:cubicBezTo>
                    <a:cubicBezTo>
                      <a:pt x="23491" y="16633"/>
                      <a:pt x="23476" y="16679"/>
                      <a:pt x="23460" y="16725"/>
                    </a:cubicBezTo>
                    <a:cubicBezTo>
                      <a:pt x="23438" y="16728"/>
                      <a:pt x="23438" y="16728"/>
                      <a:pt x="23433" y="16685"/>
                    </a:cubicBezTo>
                    <a:cubicBezTo>
                      <a:pt x="23396" y="16733"/>
                      <a:pt x="23392" y="16788"/>
                      <a:pt x="23355" y="16837"/>
                    </a:cubicBezTo>
                    <a:cubicBezTo>
                      <a:pt x="23339" y="16883"/>
                      <a:pt x="23358" y="16858"/>
                      <a:pt x="23351" y="16892"/>
                    </a:cubicBezTo>
                    <a:cubicBezTo>
                      <a:pt x="23314" y="16941"/>
                      <a:pt x="23286" y="16977"/>
                      <a:pt x="23273" y="17044"/>
                    </a:cubicBezTo>
                    <a:cubicBezTo>
                      <a:pt x="23255" y="17069"/>
                      <a:pt x="23227" y="17105"/>
                      <a:pt x="23220" y="17139"/>
                    </a:cubicBezTo>
                    <a:cubicBezTo>
                      <a:pt x="23183" y="17187"/>
                      <a:pt x="23237" y="17016"/>
                      <a:pt x="23184" y="17111"/>
                    </a:cubicBezTo>
                    <a:cubicBezTo>
                      <a:pt x="23192" y="17175"/>
                      <a:pt x="23142" y="17291"/>
                      <a:pt x="23080" y="17397"/>
                    </a:cubicBezTo>
                    <a:cubicBezTo>
                      <a:pt x="23030" y="17513"/>
                      <a:pt x="22965" y="17598"/>
                      <a:pt x="22937" y="17635"/>
                    </a:cubicBezTo>
                    <a:cubicBezTo>
                      <a:pt x="22881" y="17708"/>
                      <a:pt x="22931" y="17668"/>
                      <a:pt x="22906" y="17726"/>
                    </a:cubicBezTo>
                    <a:cubicBezTo>
                      <a:pt x="22899" y="17760"/>
                      <a:pt x="22890" y="17772"/>
                      <a:pt x="22871" y="17796"/>
                    </a:cubicBezTo>
                    <a:cubicBezTo>
                      <a:pt x="22825" y="17857"/>
                      <a:pt x="22850" y="17799"/>
                      <a:pt x="22794" y="17872"/>
                    </a:cubicBezTo>
                    <a:cubicBezTo>
                      <a:pt x="22785" y="17884"/>
                      <a:pt x="22778" y="17918"/>
                      <a:pt x="22769" y="17930"/>
                    </a:cubicBezTo>
                    <a:cubicBezTo>
                      <a:pt x="22763" y="17963"/>
                      <a:pt x="22753" y="17975"/>
                      <a:pt x="22735" y="18000"/>
                    </a:cubicBezTo>
                    <a:cubicBezTo>
                      <a:pt x="22719" y="18046"/>
                      <a:pt x="22682" y="18094"/>
                      <a:pt x="22657" y="18152"/>
                    </a:cubicBezTo>
                    <a:cubicBezTo>
                      <a:pt x="22582" y="18249"/>
                      <a:pt x="22520" y="18356"/>
                      <a:pt x="22455" y="18441"/>
                    </a:cubicBezTo>
                    <a:cubicBezTo>
                      <a:pt x="22442" y="18508"/>
                      <a:pt x="22405" y="18557"/>
                      <a:pt x="22389" y="18602"/>
                    </a:cubicBezTo>
                    <a:cubicBezTo>
                      <a:pt x="22466" y="18526"/>
                      <a:pt x="22421" y="18511"/>
                      <a:pt x="22486" y="18426"/>
                    </a:cubicBezTo>
                    <a:cubicBezTo>
                      <a:pt x="22482" y="18481"/>
                      <a:pt x="22491" y="18469"/>
                      <a:pt x="22541" y="18429"/>
                    </a:cubicBezTo>
                    <a:cubicBezTo>
                      <a:pt x="22496" y="18588"/>
                      <a:pt x="22401" y="18688"/>
                      <a:pt x="22358" y="18694"/>
                    </a:cubicBezTo>
                    <a:cubicBezTo>
                      <a:pt x="22371" y="18627"/>
                      <a:pt x="22444" y="18606"/>
                      <a:pt x="22457" y="18539"/>
                    </a:cubicBezTo>
                    <a:cubicBezTo>
                      <a:pt x="22404" y="18633"/>
                      <a:pt x="22352" y="18651"/>
                      <a:pt x="22374" y="18572"/>
                    </a:cubicBezTo>
                    <a:cubicBezTo>
                      <a:pt x="22303" y="18690"/>
                      <a:pt x="22207" y="18790"/>
                      <a:pt x="22126" y="18921"/>
                    </a:cubicBezTo>
                    <a:cubicBezTo>
                      <a:pt x="22118" y="18857"/>
                      <a:pt x="22121" y="18878"/>
                      <a:pt x="22046" y="18976"/>
                    </a:cubicBezTo>
                    <a:cubicBezTo>
                      <a:pt x="22081" y="18906"/>
                      <a:pt x="22127" y="18845"/>
                      <a:pt x="22186" y="18793"/>
                    </a:cubicBezTo>
                    <a:cubicBezTo>
                      <a:pt x="22201" y="18748"/>
                      <a:pt x="22136" y="18833"/>
                      <a:pt x="22161" y="18775"/>
                    </a:cubicBezTo>
                    <a:cubicBezTo>
                      <a:pt x="22127" y="18845"/>
                      <a:pt x="22068" y="18896"/>
                      <a:pt x="22013" y="18969"/>
                    </a:cubicBezTo>
                    <a:cubicBezTo>
                      <a:pt x="22000" y="19036"/>
                      <a:pt x="22056" y="18963"/>
                      <a:pt x="22105" y="18924"/>
                    </a:cubicBezTo>
                    <a:cubicBezTo>
                      <a:pt x="22033" y="19043"/>
                      <a:pt x="21947" y="19131"/>
                      <a:pt x="21888" y="19259"/>
                    </a:cubicBezTo>
                    <a:cubicBezTo>
                      <a:pt x="21902" y="19289"/>
                      <a:pt x="21942" y="19262"/>
                      <a:pt x="21927" y="19308"/>
                    </a:cubicBezTo>
                    <a:cubicBezTo>
                      <a:pt x="21855" y="19426"/>
                      <a:pt x="21912" y="19277"/>
                      <a:pt x="21825" y="19365"/>
                    </a:cubicBezTo>
                    <a:cubicBezTo>
                      <a:pt x="21804" y="19368"/>
                      <a:pt x="21853" y="19329"/>
                      <a:pt x="21860" y="19295"/>
                    </a:cubicBezTo>
                    <a:cubicBezTo>
                      <a:pt x="21829" y="19310"/>
                      <a:pt x="21801" y="19347"/>
                      <a:pt x="21773" y="19383"/>
                    </a:cubicBezTo>
                    <a:cubicBezTo>
                      <a:pt x="21733" y="19410"/>
                      <a:pt x="21696" y="19459"/>
                      <a:pt x="21659" y="19507"/>
                    </a:cubicBezTo>
                    <a:cubicBezTo>
                      <a:pt x="21582" y="19583"/>
                      <a:pt x="21517" y="19668"/>
                      <a:pt x="21446" y="19710"/>
                    </a:cubicBezTo>
                    <a:cubicBezTo>
                      <a:pt x="21430" y="19756"/>
                      <a:pt x="21402" y="19793"/>
                      <a:pt x="21365" y="19841"/>
                    </a:cubicBezTo>
                    <a:cubicBezTo>
                      <a:pt x="21337" y="19878"/>
                      <a:pt x="21309" y="19914"/>
                      <a:pt x="21282" y="19951"/>
                    </a:cubicBezTo>
                    <a:cubicBezTo>
                      <a:pt x="21223" y="20002"/>
                      <a:pt x="21167" y="20075"/>
                      <a:pt x="21099" y="20139"/>
                    </a:cubicBezTo>
                    <a:cubicBezTo>
                      <a:pt x="21038" y="20169"/>
                      <a:pt x="21162" y="20032"/>
                      <a:pt x="21156" y="19989"/>
                    </a:cubicBezTo>
                    <a:cubicBezTo>
                      <a:pt x="21036" y="20071"/>
                      <a:pt x="21069" y="20154"/>
                      <a:pt x="21011" y="20129"/>
                    </a:cubicBezTo>
                    <a:cubicBezTo>
                      <a:pt x="20995" y="20175"/>
                      <a:pt x="20998" y="20196"/>
                      <a:pt x="21050" y="20178"/>
                    </a:cubicBezTo>
                    <a:cubicBezTo>
                      <a:pt x="21022" y="20215"/>
                      <a:pt x="20994" y="20251"/>
                      <a:pt x="20976" y="20275"/>
                    </a:cubicBezTo>
                    <a:cubicBezTo>
                      <a:pt x="20936" y="20302"/>
                      <a:pt x="20908" y="20339"/>
                      <a:pt x="20889" y="20363"/>
                    </a:cubicBezTo>
                    <a:cubicBezTo>
                      <a:pt x="20831" y="20415"/>
                      <a:pt x="20772" y="20466"/>
                      <a:pt x="20704" y="20530"/>
                    </a:cubicBezTo>
                    <a:cubicBezTo>
                      <a:pt x="20698" y="20563"/>
                      <a:pt x="20670" y="20600"/>
                      <a:pt x="20633" y="20649"/>
                    </a:cubicBezTo>
                    <a:cubicBezTo>
                      <a:pt x="20614" y="20673"/>
                      <a:pt x="20583" y="20688"/>
                      <a:pt x="20565" y="20712"/>
                    </a:cubicBezTo>
                    <a:cubicBezTo>
                      <a:pt x="20546" y="20737"/>
                      <a:pt x="20516" y="20752"/>
                      <a:pt x="20497" y="20776"/>
                    </a:cubicBezTo>
                    <a:cubicBezTo>
                      <a:pt x="20476" y="20779"/>
                      <a:pt x="20503" y="20742"/>
                      <a:pt x="20522" y="20718"/>
                    </a:cubicBezTo>
                    <a:cubicBezTo>
                      <a:pt x="20541" y="20694"/>
                      <a:pt x="20571" y="20679"/>
                      <a:pt x="20611" y="20651"/>
                    </a:cubicBezTo>
                    <a:cubicBezTo>
                      <a:pt x="20630" y="20627"/>
                      <a:pt x="20618" y="20618"/>
                      <a:pt x="20618" y="20618"/>
                    </a:cubicBezTo>
                    <a:cubicBezTo>
                      <a:pt x="20627" y="20606"/>
                      <a:pt x="20624" y="20584"/>
                      <a:pt x="20633" y="20572"/>
                    </a:cubicBezTo>
                    <a:cubicBezTo>
                      <a:pt x="20575" y="20624"/>
                      <a:pt x="20531" y="20706"/>
                      <a:pt x="20448" y="20739"/>
                    </a:cubicBezTo>
                    <a:cubicBezTo>
                      <a:pt x="20467" y="20714"/>
                      <a:pt x="20486" y="20690"/>
                      <a:pt x="20495" y="20678"/>
                    </a:cubicBezTo>
                    <a:cubicBezTo>
                      <a:pt x="20526" y="20663"/>
                      <a:pt x="20544" y="20639"/>
                      <a:pt x="20553" y="20627"/>
                    </a:cubicBezTo>
                    <a:cubicBezTo>
                      <a:pt x="20560" y="20593"/>
                      <a:pt x="20541" y="20617"/>
                      <a:pt x="20501" y="20644"/>
                    </a:cubicBezTo>
                    <a:cubicBezTo>
                      <a:pt x="20473" y="20681"/>
                      <a:pt x="20433" y="20708"/>
                      <a:pt x="20415" y="20732"/>
                    </a:cubicBezTo>
                    <a:cubicBezTo>
                      <a:pt x="20493" y="20580"/>
                      <a:pt x="20276" y="20838"/>
                      <a:pt x="20175" y="20896"/>
                    </a:cubicBezTo>
                    <a:cubicBezTo>
                      <a:pt x="20199" y="20914"/>
                      <a:pt x="20196" y="20969"/>
                      <a:pt x="20128" y="21033"/>
                    </a:cubicBezTo>
                    <a:cubicBezTo>
                      <a:pt x="20150" y="20953"/>
                      <a:pt x="20063" y="21041"/>
                      <a:pt x="20039" y="21023"/>
                    </a:cubicBezTo>
                    <a:cubicBezTo>
                      <a:pt x="20030" y="21035"/>
                      <a:pt x="20011" y="21059"/>
                      <a:pt x="19990" y="21062"/>
                    </a:cubicBezTo>
                    <a:cubicBezTo>
                      <a:pt x="20045" y="21066"/>
                      <a:pt x="19916" y="21159"/>
                      <a:pt x="19921" y="21202"/>
                    </a:cubicBezTo>
                    <a:cubicBezTo>
                      <a:pt x="19872" y="21242"/>
                      <a:pt x="19709" y="21329"/>
                      <a:pt x="19616" y="21450"/>
                    </a:cubicBezTo>
                    <a:cubicBezTo>
                      <a:pt x="19555" y="21481"/>
                      <a:pt x="19601" y="21420"/>
                      <a:pt x="19598" y="21398"/>
                    </a:cubicBezTo>
                    <a:cubicBezTo>
                      <a:pt x="19488" y="21468"/>
                      <a:pt x="19398" y="21534"/>
                      <a:pt x="19325" y="21555"/>
                    </a:cubicBezTo>
                    <a:cubicBezTo>
                      <a:pt x="19306" y="21579"/>
                      <a:pt x="19288" y="21604"/>
                      <a:pt x="19260" y="21640"/>
                    </a:cubicBezTo>
                    <a:cubicBezTo>
                      <a:pt x="19355" y="21616"/>
                      <a:pt x="19355" y="21616"/>
                      <a:pt x="19355" y="21616"/>
                    </a:cubicBezTo>
                    <a:cubicBezTo>
                      <a:pt x="19408" y="21522"/>
                      <a:pt x="19493" y="21511"/>
                      <a:pt x="19552" y="21459"/>
                    </a:cubicBezTo>
                    <a:cubicBezTo>
                      <a:pt x="19487" y="21544"/>
                      <a:pt x="19383" y="21580"/>
                      <a:pt x="19305" y="21656"/>
                    </a:cubicBezTo>
                    <a:cubicBezTo>
                      <a:pt x="19290" y="21625"/>
                      <a:pt x="19241" y="21664"/>
                      <a:pt x="19171" y="21707"/>
                    </a:cubicBezTo>
                    <a:cubicBezTo>
                      <a:pt x="19131" y="21734"/>
                      <a:pt x="19091" y="21761"/>
                      <a:pt x="19051" y="21788"/>
                    </a:cubicBezTo>
                    <a:cubicBezTo>
                      <a:pt x="19011" y="21815"/>
                      <a:pt x="18971" y="21843"/>
                      <a:pt x="18928" y="21848"/>
                    </a:cubicBezTo>
                    <a:cubicBezTo>
                      <a:pt x="18989" y="21818"/>
                      <a:pt x="19038" y="21779"/>
                      <a:pt x="19100" y="21749"/>
                    </a:cubicBezTo>
                    <a:cubicBezTo>
                      <a:pt x="19085" y="21718"/>
                      <a:pt x="18946" y="21824"/>
                      <a:pt x="18888" y="21876"/>
                    </a:cubicBezTo>
                    <a:cubicBezTo>
                      <a:pt x="18878" y="21888"/>
                      <a:pt x="18891" y="21897"/>
                      <a:pt x="18875" y="21943"/>
                    </a:cubicBezTo>
                    <a:cubicBezTo>
                      <a:pt x="18776" y="22021"/>
                      <a:pt x="18798" y="21942"/>
                      <a:pt x="18758" y="21969"/>
                    </a:cubicBezTo>
                    <a:cubicBezTo>
                      <a:pt x="18740" y="21994"/>
                      <a:pt x="18709" y="22009"/>
                      <a:pt x="18688" y="22012"/>
                    </a:cubicBezTo>
                    <a:cubicBezTo>
                      <a:pt x="18691" y="22033"/>
                      <a:pt x="18672" y="22057"/>
                      <a:pt x="18641" y="22072"/>
                    </a:cubicBezTo>
                    <a:cubicBezTo>
                      <a:pt x="18601" y="22100"/>
                      <a:pt x="18561" y="22127"/>
                      <a:pt x="18497" y="22135"/>
                    </a:cubicBezTo>
                    <a:cubicBezTo>
                      <a:pt x="18573" y="22136"/>
                      <a:pt x="18478" y="22160"/>
                      <a:pt x="18404" y="22257"/>
                    </a:cubicBezTo>
                    <a:cubicBezTo>
                      <a:pt x="18278" y="22296"/>
                      <a:pt x="18531" y="22142"/>
                      <a:pt x="18374" y="22196"/>
                    </a:cubicBezTo>
                    <a:cubicBezTo>
                      <a:pt x="18361" y="22263"/>
                      <a:pt x="18288" y="22283"/>
                      <a:pt x="18253" y="22354"/>
                    </a:cubicBezTo>
                    <a:cubicBezTo>
                      <a:pt x="18137" y="22380"/>
                      <a:pt x="18349" y="22253"/>
                      <a:pt x="18306" y="22259"/>
                    </a:cubicBezTo>
                    <a:cubicBezTo>
                      <a:pt x="18214" y="22304"/>
                      <a:pt x="18196" y="22329"/>
                      <a:pt x="18149" y="22389"/>
                    </a:cubicBezTo>
                    <a:cubicBezTo>
                      <a:pt x="18054" y="22413"/>
                      <a:pt x="18208" y="22338"/>
                      <a:pt x="18174" y="22331"/>
                    </a:cubicBezTo>
                    <a:cubicBezTo>
                      <a:pt x="17987" y="22400"/>
                      <a:pt x="17953" y="22470"/>
                      <a:pt x="17793" y="22579"/>
                    </a:cubicBezTo>
                    <a:cubicBezTo>
                      <a:pt x="17729" y="22588"/>
                      <a:pt x="17747" y="22563"/>
                      <a:pt x="17674" y="22584"/>
                    </a:cubicBezTo>
                    <a:cubicBezTo>
                      <a:pt x="17596" y="22660"/>
                      <a:pt x="17501" y="22684"/>
                      <a:pt x="17421" y="22738"/>
                    </a:cubicBezTo>
                    <a:cubicBezTo>
                      <a:pt x="17388" y="22732"/>
                      <a:pt x="17428" y="22705"/>
                      <a:pt x="17404" y="22686"/>
                    </a:cubicBezTo>
                    <a:cubicBezTo>
                      <a:pt x="17434" y="22671"/>
                      <a:pt x="17465" y="22656"/>
                      <a:pt x="17484" y="22632"/>
                    </a:cubicBezTo>
                    <a:cubicBezTo>
                      <a:pt x="17557" y="22611"/>
                      <a:pt x="17499" y="22662"/>
                      <a:pt x="17489" y="22674"/>
                    </a:cubicBezTo>
                    <a:cubicBezTo>
                      <a:pt x="17621" y="22602"/>
                      <a:pt x="17637" y="22556"/>
                      <a:pt x="17781" y="22493"/>
                    </a:cubicBezTo>
                    <a:cubicBezTo>
                      <a:pt x="17699" y="22526"/>
                      <a:pt x="17604" y="22550"/>
                      <a:pt x="17514" y="22617"/>
                    </a:cubicBezTo>
                    <a:cubicBezTo>
                      <a:pt x="17441" y="22637"/>
                      <a:pt x="17637" y="22556"/>
                      <a:pt x="17552" y="22568"/>
                    </a:cubicBezTo>
                    <a:cubicBezTo>
                      <a:pt x="17656" y="22532"/>
                      <a:pt x="17736" y="22478"/>
                      <a:pt x="17828" y="22433"/>
                    </a:cubicBezTo>
                    <a:cubicBezTo>
                      <a:pt x="17837" y="22420"/>
                      <a:pt x="17806" y="22435"/>
                      <a:pt x="17825" y="22411"/>
                    </a:cubicBezTo>
                    <a:cubicBezTo>
                      <a:pt x="17884" y="22360"/>
                      <a:pt x="17859" y="22418"/>
                      <a:pt x="17932" y="22397"/>
                    </a:cubicBezTo>
                    <a:cubicBezTo>
                      <a:pt x="17960" y="22360"/>
                      <a:pt x="17991" y="22345"/>
                      <a:pt x="18021" y="22330"/>
                    </a:cubicBezTo>
                    <a:cubicBezTo>
                      <a:pt x="18010" y="22245"/>
                      <a:pt x="18215" y="22228"/>
                      <a:pt x="18299" y="22118"/>
                    </a:cubicBezTo>
                    <a:cubicBezTo>
                      <a:pt x="18372" y="22098"/>
                      <a:pt x="18295" y="22173"/>
                      <a:pt x="18396" y="22116"/>
                    </a:cubicBezTo>
                    <a:cubicBezTo>
                      <a:pt x="18443" y="22055"/>
                      <a:pt x="18348" y="22079"/>
                      <a:pt x="18394" y="22018"/>
                    </a:cubicBezTo>
                    <a:cubicBezTo>
                      <a:pt x="18342" y="22036"/>
                      <a:pt x="18305" y="22085"/>
                      <a:pt x="18241" y="22094"/>
                    </a:cubicBezTo>
                    <a:cubicBezTo>
                      <a:pt x="18222" y="22118"/>
                      <a:pt x="18274" y="22100"/>
                      <a:pt x="18296" y="22097"/>
                    </a:cubicBezTo>
                    <a:cubicBezTo>
                      <a:pt x="18228" y="22161"/>
                      <a:pt x="18166" y="22191"/>
                      <a:pt x="18105" y="22221"/>
                    </a:cubicBezTo>
                    <a:cubicBezTo>
                      <a:pt x="18081" y="22202"/>
                      <a:pt x="18164" y="22169"/>
                      <a:pt x="18170" y="22136"/>
                    </a:cubicBezTo>
                    <a:cubicBezTo>
                      <a:pt x="18229" y="22084"/>
                      <a:pt x="18312" y="22051"/>
                      <a:pt x="18379" y="21988"/>
                    </a:cubicBezTo>
                    <a:cubicBezTo>
                      <a:pt x="18462" y="21955"/>
                      <a:pt x="18385" y="22031"/>
                      <a:pt x="18474" y="21964"/>
                    </a:cubicBezTo>
                    <a:cubicBezTo>
                      <a:pt x="18552" y="21812"/>
                      <a:pt x="18982" y="21601"/>
                      <a:pt x="19198" y="21420"/>
                    </a:cubicBezTo>
                    <a:cubicBezTo>
                      <a:pt x="19231" y="21426"/>
                      <a:pt x="19154" y="21502"/>
                      <a:pt x="19197" y="21496"/>
                    </a:cubicBezTo>
                    <a:cubicBezTo>
                      <a:pt x="18979" y="21656"/>
                      <a:pt x="18742" y="21764"/>
                      <a:pt x="18524" y="21925"/>
                    </a:cubicBezTo>
                    <a:cubicBezTo>
                      <a:pt x="18508" y="21970"/>
                      <a:pt x="18619" y="21901"/>
                      <a:pt x="18634" y="21855"/>
                    </a:cubicBezTo>
                    <a:cubicBezTo>
                      <a:pt x="18708" y="21834"/>
                      <a:pt x="18776" y="21771"/>
                      <a:pt x="18711" y="21856"/>
                    </a:cubicBezTo>
                    <a:cubicBezTo>
                      <a:pt x="18769" y="21804"/>
                      <a:pt x="18819" y="21765"/>
                      <a:pt x="18889" y="21723"/>
                    </a:cubicBezTo>
                    <a:cubicBezTo>
                      <a:pt x="18911" y="21720"/>
                      <a:pt x="18855" y="21793"/>
                      <a:pt x="18947" y="21748"/>
                    </a:cubicBezTo>
                    <a:cubicBezTo>
                      <a:pt x="18991" y="21666"/>
                      <a:pt x="19012" y="21663"/>
                      <a:pt x="19092" y="21608"/>
                    </a:cubicBezTo>
                    <a:cubicBezTo>
                      <a:pt x="19175" y="21575"/>
                      <a:pt x="19098" y="21651"/>
                      <a:pt x="19168" y="21609"/>
                    </a:cubicBezTo>
                    <a:cubicBezTo>
                      <a:pt x="19310" y="21524"/>
                      <a:pt x="19455" y="21385"/>
                      <a:pt x="19520" y="21300"/>
                    </a:cubicBezTo>
                    <a:cubicBezTo>
                      <a:pt x="19511" y="21312"/>
                      <a:pt x="19563" y="21294"/>
                      <a:pt x="19544" y="21318"/>
                    </a:cubicBezTo>
                    <a:cubicBezTo>
                      <a:pt x="19507" y="21367"/>
                      <a:pt x="19529" y="21288"/>
                      <a:pt x="19486" y="21370"/>
                    </a:cubicBezTo>
                    <a:cubicBezTo>
                      <a:pt x="19587" y="21313"/>
                      <a:pt x="19692" y="21200"/>
                      <a:pt x="19803" y="21131"/>
                    </a:cubicBezTo>
                    <a:cubicBezTo>
                      <a:pt x="19831" y="21095"/>
                      <a:pt x="19868" y="21046"/>
                      <a:pt x="19893" y="20988"/>
                    </a:cubicBezTo>
                    <a:cubicBezTo>
                      <a:pt x="19936" y="20982"/>
                      <a:pt x="19948" y="20992"/>
                      <a:pt x="20019" y="20949"/>
                    </a:cubicBezTo>
                    <a:cubicBezTo>
                      <a:pt x="20071" y="20855"/>
                      <a:pt x="19954" y="20958"/>
                      <a:pt x="19921" y="20952"/>
                    </a:cubicBezTo>
                    <a:cubicBezTo>
                      <a:pt x="19977" y="20879"/>
                      <a:pt x="20065" y="20889"/>
                      <a:pt x="20118" y="20794"/>
                    </a:cubicBezTo>
                    <a:cubicBezTo>
                      <a:pt x="20198" y="20740"/>
                      <a:pt x="20077" y="20898"/>
                      <a:pt x="20188" y="20828"/>
                    </a:cubicBezTo>
                    <a:cubicBezTo>
                      <a:pt x="20197" y="20816"/>
                      <a:pt x="20166" y="20831"/>
                      <a:pt x="20154" y="20822"/>
                    </a:cubicBezTo>
                    <a:cubicBezTo>
                      <a:pt x="20269" y="20698"/>
                      <a:pt x="20407" y="20592"/>
                      <a:pt x="20534" y="20477"/>
                    </a:cubicBezTo>
                    <a:cubicBezTo>
                      <a:pt x="20577" y="20394"/>
                      <a:pt x="20467" y="20464"/>
                      <a:pt x="20411" y="20537"/>
                    </a:cubicBezTo>
                    <a:cubicBezTo>
                      <a:pt x="20467" y="20464"/>
                      <a:pt x="20474" y="20354"/>
                      <a:pt x="20557" y="20321"/>
                    </a:cubicBezTo>
                    <a:cubicBezTo>
                      <a:pt x="20599" y="20315"/>
                      <a:pt x="20501" y="20394"/>
                      <a:pt x="20522" y="20391"/>
                    </a:cubicBezTo>
                    <a:cubicBezTo>
                      <a:pt x="20574" y="20373"/>
                      <a:pt x="20578" y="20318"/>
                      <a:pt x="20630" y="20300"/>
                    </a:cubicBezTo>
                    <a:cubicBezTo>
                      <a:pt x="20646" y="20254"/>
                      <a:pt x="20606" y="20281"/>
                      <a:pt x="20680" y="20184"/>
                    </a:cubicBezTo>
                    <a:cubicBezTo>
                      <a:pt x="20720" y="20157"/>
                      <a:pt x="20732" y="20166"/>
                      <a:pt x="20707" y="20224"/>
                    </a:cubicBezTo>
                    <a:cubicBezTo>
                      <a:pt x="20806" y="20146"/>
                      <a:pt x="20745" y="20099"/>
                      <a:pt x="20835" y="20033"/>
                    </a:cubicBezTo>
                    <a:cubicBezTo>
                      <a:pt x="20877" y="20027"/>
                      <a:pt x="20785" y="20148"/>
                      <a:pt x="20865" y="20094"/>
                    </a:cubicBezTo>
                    <a:cubicBezTo>
                      <a:pt x="20899" y="20024"/>
                      <a:pt x="20877" y="20027"/>
                      <a:pt x="20915" y="19978"/>
                    </a:cubicBezTo>
                    <a:cubicBezTo>
                      <a:pt x="20933" y="19954"/>
                      <a:pt x="20940" y="19920"/>
                      <a:pt x="20970" y="19905"/>
                    </a:cubicBezTo>
                    <a:cubicBezTo>
                      <a:pt x="20982" y="19915"/>
                      <a:pt x="20899" y="20024"/>
                      <a:pt x="20942" y="20018"/>
                    </a:cubicBezTo>
                    <a:cubicBezTo>
                      <a:pt x="21007" y="19933"/>
                      <a:pt x="21000" y="19967"/>
                      <a:pt x="21102" y="19909"/>
                    </a:cubicBezTo>
                    <a:cubicBezTo>
                      <a:pt x="21256" y="19758"/>
                      <a:pt x="21371" y="19557"/>
                      <a:pt x="21464" y="19436"/>
                    </a:cubicBezTo>
                    <a:cubicBezTo>
                      <a:pt x="21451" y="19503"/>
                      <a:pt x="21498" y="19442"/>
                      <a:pt x="21593" y="19342"/>
                    </a:cubicBezTo>
                    <a:cubicBezTo>
                      <a:pt x="21631" y="19293"/>
                      <a:pt x="21677" y="19232"/>
                      <a:pt x="21714" y="19184"/>
                    </a:cubicBezTo>
                    <a:cubicBezTo>
                      <a:pt x="21751" y="19135"/>
                      <a:pt x="21788" y="19087"/>
                      <a:pt x="21816" y="19050"/>
                    </a:cubicBezTo>
                    <a:cubicBezTo>
                      <a:pt x="21831" y="19081"/>
                      <a:pt x="21686" y="19220"/>
                      <a:pt x="21655" y="19312"/>
                    </a:cubicBezTo>
                    <a:cubicBezTo>
                      <a:pt x="21791" y="19184"/>
                      <a:pt x="21844" y="19014"/>
                      <a:pt x="21943" y="18935"/>
                    </a:cubicBezTo>
                    <a:cubicBezTo>
                      <a:pt x="21949" y="18901"/>
                      <a:pt x="21921" y="18938"/>
                      <a:pt x="21891" y="18953"/>
                    </a:cubicBezTo>
                    <a:cubicBezTo>
                      <a:pt x="21913" y="18874"/>
                      <a:pt x="21965" y="18856"/>
                      <a:pt x="21978" y="18789"/>
                    </a:cubicBezTo>
                    <a:cubicBezTo>
                      <a:pt x="22129" y="18692"/>
                      <a:pt x="22195" y="18454"/>
                      <a:pt x="22297" y="18397"/>
                    </a:cubicBezTo>
                    <a:cubicBezTo>
                      <a:pt x="22312" y="18351"/>
                      <a:pt x="22340" y="18315"/>
                      <a:pt x="22356" y="18269"/>
                    </a:cubicBezTo>
                    <a:cubicBezTo>
                      <a:pt x="22384" y="18232"/>
                      <a:pt x="22390" y="18199"/>
                      <a:pt x="22418" y="18162"/>
                    </a:cubicBezTo>
                    <a:cubicBezTo>
                      <a:pt x="22453" y="18092"/>
                      <a:pt x="22499" y="18032"/>
                      <a:pt x="22521" y="17952"/>
                    </a:cubicBezTo>
                    <a:cubicBezTo>
                      <a:pt x="22475" y="18013"/>
                      <a:pt x="22500" y="17955"/>
                      <a:pt x="22453" y="18016"/>
                    </a:cubicBezTo>
                    <a:cubicBezTo>
                      <a:pt x="22551" y="17763"/>
                      <a:pt x="22636" y="17751"/>
                      <a:pt x="22682" y="17767"/>
                    </a:cubicBezTo>
                    <a:cubicBezTo>
                      <a:pt x="22695" y="17700"/>
                      <a:pt x="22643" y="17718"/>
                      <a:pt x="22637" y="17675"/>
                    </a:cubicBezTo>
                    <a:cubicBezTo>
                      <a:pt x="22702" y="17590"/>
                      <a:pt x="22734" y="17498"/>
                      <a:pt x="22790" y="17426"/>
                    </a:cubicBezTo>
                    <a:cubicBezTo>
                      <a:pt x="22830" y="17398"/>
                      <a:pt x="22761" y="17538"/>
                      <a:pt x="22745" y="17584"/>
                    </a:cubicBezTo>
                    <a:cubicBezTo>
                      <a:pt x="22724" y="17587"/>
                      <a:pt x="22925" y="17298"/>
                      <a:pt x="22938" y="17231"/>
                    </a:cubicBezTo>
                    <a:cubicBezTo>
                      <a:pt x="22975" y="17182"/>
                      <a:pt x="23000" y="17201"/>
                      <a:pt x="22972" y="17237"/>
                    </a:cubicBezTo>
                    <a:cubicBezTo>
                      <a:pt x="22996" y="17256"/>
                      <a:pt x="22994" y="17158"/>
                      <a:pt x="23022" y="17122"/>
                    </a:cubicBezTo>
                    <a:cubicBezTo>
                      <a:pt x="23028" y="17088"/>
                      <a:pt x="23000" y="17125"/>
                      <a:pt x="22982" y="17149"/>
                    </a:cubicBezTo>
                    <a:cubicBezTo>
                      <a:pt x="23013" y="17057"/>
                      <a:pt x="23088" y="16960"/>
                      <a:pt x="23150" y="16854"/>
                    </a:cubicBezTo>
                    <a:cubicBezTo>
                      <a:pt x="23212" y="16747"/>
                      <a:pt x="23271" y="16619"/>
                      <a:pt x="23297" y="16485"/>
                    </a:cubicBezTo>
                    <a:cubicBezTo>
                      <a:pt x="23316" y="16461"/>
                      <a:pt x="23344" y="16424"/>
                      <a:pt x="23362" y="16400"/>
                    </a:cubicBezTo>
                    <a:cubicBezTo>
                      <a:pt x="23378" y="16354"/>
                      <a:pt x="23406" y="16318"/>
                      <a:pt x="23410" y="16263"/>
                    </a:cubicBezTo>
                    <a:cubicBezTo>
                      <a:pt x="23530" y="16105"/>
                      <a:pt x="23536" y="15897"/>
                      <a:pt x="23666" y="15727"/>
                    </a:cubicBezTo>
                    <a:cubicBezTo>
                      <a:pt x="23673" y="15617"/>
                      <a:pt x="23705" y="15525"/>
                      <a:pt x="23736" y="15434"/>
                    </a:cubicBezTo>
                    <a:cubicBezTo>
                      <a:pt x="23761" y="15376"/>
                      <a:pt x="23777" y="15330"/>
                      <a:pt x="23793" y="15285"/>
                    </a:cubicBezTo>
                    <a:cubicBezTo>
                      <a:pt x="23820" y="15248"/>
                      <a:pt x="23845" y="15190"/>
                      <a:pt x="23861" y="15144"/>
                    </a:cubicBezTo>
                    <a:cubicBezTo>
                      <a:pt x="23848" y="15212"/>
                      <a:pt x="23854" y="15254"/>
                      <a:pt x="23857" y="15276"/>
                    </a:cubicBezTo>
                    <a:cubicBezTo>
                      <a:pt x="23850" y="15309"/>
                      <a:pt x="23853" y="15331"/>
                      <a:pt x="23850" y="15386"/>
                    </a:cubicBezTo>
                    <a:cubicBezTo>
                      <a:pt x="23865" y="15340"/>
                      <a:pt x="23878" y="15273"/>
                      <a:pt x="23882" y="15218"/>
                    </a:cubicBezTo>
                    <a:cubicBezTo>
                      <a:pt x="23898" y="15172"/>
                      <a:pt x="23911" y="15105"/>
                      <a:pt x="23905" y="15062"/>
                    </a:cubicBezTo>
                    <a:cubicBezTo>
                      <a:pt x="23924" y="14962"/>
                      <a:pt x="23956" y="14870"/>
                      <a:pt x="23984" y="14834"/>
                    </a:cubicBezTo>
                    <a:cubicBezTo>
                      <a:pt x="23938" y="14818"/>
                      <a:pt x="23949" y="14653"/>
                      <a:pt x="23875" y="14674"/>
                    </a:cubicBezTo>
                    <a:cubicBezTo>
                      <a:pt x="23891" y="14628"/>
                      <a:pt x="23916" y="14570"/>
                      <a:pt x="23932" y="14524"/>
                    </a:cubicBezTo>
                    <a:cubicBezTo>
                      <a:pt x="23935" y="14469"/>
                      <a:pt x="23961" y="14412"/>
                      <a:pt x="23976" y="14366"/>
                    </a:cubicBezTo>
                    <a:cubicBezTo>
                      <a:pt x="23943" y="14359"/>
                      <a:pt x="23923" y="14460"/>
                      <a:pt x="23892" y="14552"/>
                    </a:cubicBezTo>
                    <a:cubicBezTo>
                      <a:pt x="23888" y="14607"/>
                      <a:pt x="23872" y="14652"/>
                      <a:pt x="23854" y="14677"/>
                    </a:cubicBezTo>
                    <a:cubicBezTo>
                      <a:pt x="23838" y="14722"/>
                      <a:pt x="23829" y="14735"/>
                      <a:pt x="23807" y="14737"/>
                    </a:cubicBezTo>
                    <a:cubicBezTo>
                      <a:pt x="23799" y="14673"/>
                      <a:pt x="23839" y="14646"/>
                      <a:pt x="23867" y="14610"/>
                    </a:cubicBezTo>
                    <a:cubicBezTo>
                      <a:pt x="23830" y="14582"/>
                      <a:pt x="23896" y="14420"/>
                      <a:pt x="23873" y="14325"/>
                    </a:cubicBezTo>
                    <a:cubicBezTo>
                      <a:pt x="23897" y="14344"/>
                      <a:pt x="23921" y="14362"/>
                      <a:pt x="23950" y="14249"/>
                    </a:cubicBezTo>
                    <a:cubicBezTo>
                      <a:pt x="23929" y="14252"/>
                      <a:pt x="23929" y="14176"/>
                      <a:pt x="23927" y="14078"/>
                    </a:cubicBezTo>
                    <a:cubicBezTo>
                      <a:pt x="23974" y="14017"/>
                      <a:pt x="24012" y="13892"/>
                      <a:pt x="23978" y="13886"/>
                    </a:cubicBezTo>
                    <a:cubicBezTo>
                      <a:pt x="24010" y="13794"/>
                      <a:pt x="24028" y="13847"/>
                      <a:pt x="24038" y="13758"/>
                    </a:cubicBezTo>
                    <a:cubicBezTo>
                      <a:pt x="24065" y="13722"/>
                      <a:pt x="24050" y="13767"/>
                      <a:pt x="24058" y="13832"/>
                    </a:cubicBezTo>
                    <a:cubicBezTo>
                      <a:pt x="24078" y="13731"/>
                      <a:pt x="24097" y="13630"/>
                      <a:pt x="24095" y="13532"/>
                    </a:cubicBezTo>
                    <a:cubicBezTo>
                      <a:pt x="24129" y="13462"/>
                      <a:pt x="24118" y="13627"/>
                      <a:pt x="24153" y="13557"/>
                    </a:cubicBezTo>
                    <a:cubicBezTo>
                      <a:pt x="24147" y="13514"/>
                      <a:pt x="24108" y="13465"/>
                      <a:pt x="24152" y="13383"/>
                    </a:cubicBezTo>
                    <a:cubicBezTo>
                      <a:pt x="24127" y="13364"/>
                      <a:pt x="24119" y="13300"/>
                      <a:pt x="24099" y="13401"/>
                    </a:cubicBezTo>
                    <a:cubicBezTo>
                      <a:pt x="24092" y="13260"/>
                      <a:pt x="24095" y="13282"/>
                      <a:pt x="24065" y="13220"/>
                    </a:cubicBezTo>
                    <a:cubicBezTo>
                      <a:pt x="24059" y="13177"/>
                      <a:pt x="24108" y="13138"/>
                      <a:pt x="24090" y="13086"/>
                    </a:cubicBezTo>
                    <a:cubicBezTo>
                      <a:pt x="24076" y="12979"/>
                      <a:pt x="24065" y="13144"/>
                      <a:pt x="24047" y="13168"/>
                    </a:cubicBezTo>
                    <a:cubicBezTo>
                      <a:pt x="24050" y="13113"/>
                      <a:pt x="24076" y="13055"/>
                      <a:pt x="24067" y="12991"/>
                    </a:cubicBezTo>
                    <a:cubicBezTo>
                      <a:pt x="24083" y="12945"/>
                      <a:pt x="24090" y="13086"/>
                      <a:pt x="24113" y="13007"/>
                    </a:cubicBezTo>
                    <a:cubicBezTo>
                      <a:pt x="24086" y="12967"/>
                      <a:pt x="24124" y="12842"/>
                      <a:pt x="24129" y="12884"/>
                    </a:cubicBezTo>
                    <a:cubicBezTo>
                      <a:pt x="24088" y="12737"/>
                      <a:pt x="24124" y="12514"/>
                      <a:pt x="24184" y="12310"/>
                    </a:cubicBezTo>
                    <a:cubicBezTo>
                      <a:pt x="24163" y="12313"/>
                      <a:pt x="24154" y="12249"/>
                      <a:pt x="24142" y="12239"/>
                    </a:cubicBezTo>
                    <a:cubicBezTo>
                      <a:pt x="24123" y="12340"/>
                      <a:pt x="24126" y="12285"/>
                      <a:pt x="24095" y="12377"/>
                    </a:cubicBezTo>
                    <a:cubicBezTo>
                      <a:pt x="24103" y="12441"/>
                      <a:pt x="24107" y="12386"/>
                      <a:pt x="24135" y="12349"/>
                    </a:cubicBezTo>
                    <a:cubicBezTo>
                      <a:pt x="24139" y="12545"/>
                      <a:pt x="24088" y="12737"/>
                      <a:pt x="24046" y="12917"/>
                    </a:cubicBezTo>
                    <a:cubicBezTo>
                      <a:pt x="24045" y="12743"/>
                      <a:pt x="24102" y="12594"/>
                      <a:pt x="24082" y="12444"/>
                    </a:cubicBezTo>
                    <a:cubicBezTo>
                      <a:pt x="24081" y="12520"/>
                      <a:pt x="24059" y="12600"/>
                      <a:pt x="24049" y="12688"/>
                    </a:cubicBezTo>
                    <a:cubicBezTo>
                      <a:pt x="24035" y="12581"/>
                      <a:pt x="24069" y="12511"/>
                      <a:pt x="24033" y="12407"/>
                    </a:cubicBezTo>
                    <a:cubicBezTo>
                      <a:pt x="24049" y="12361"/>
                      <a:pt x="24060" y="12447"/>
                      <a:pt x="24083" y="12367"/>
                    </a:cubicBezTo>
                    <a:cubicBezTo>
                      <a:pt x="24077" y="12325"/>
                      <a:pt x="24083" y="12291"/>
                      <a:pt x="24069" y="12260"/>
                    </a:cubicBezTo>
                    <a:cubicBezTo>
                      <a:pt x="24081" y="12193"/>
                      <a:pt x="24087" y="12236"/>
                      <a:pt x="24093" y="12279"/>
                    </a:cubicBezTo>
                    <a:cubicBezTo>
                      <a:pt x="24109" y="12233"/>
                      <a:pt x="24091" y="12181"/>
                      <a:pt x="24119" y="12145"/>
                    </a:cubicBezTo>
                    <a:cubicBezTo>
                      <a:pt x="24082" y="12117"/>
                      <a:pt x="24096" y="11973"/>
                      <a:pt x="24060" y="11945"/>
                    </a:cubicBezTo>
                    <a:cubicBezTo>
                      <a:pt x="24088" y="11832"/>
                      <a:pt x="24105" y="11961"/>
                      <a:pt x="24115" y="11872"/>
                    </a:cubicBezTo>
                    <a:cubicBezTo>
                      <a:pt x="24119" y="11817"/>
                      <a:pt x="24120" y="11741"/>
                      <a:pt x="24123" y="11686"/>
                    </a:cubicBezTo>
                    <a:cubicBezTo>
                      <a:pt x="24124" y="11610"/>
                      <a:pt x="24128" y="11555"/>
                      <a:pt x="24149" y="11552"/>
                    </a:cubicBezTo>
                    <a:cubicBezTo>
                      <a:pt x="24108" y="11405"/>
                      <a:pt x="24154" y="11420"/>
                      <a:pt x="24125" y="11282"/>
                    </a:cubicBezTo>
                    <a:cubicBezTo>
                      <a:pt x="24150" y="11225"/>
                      <a:pt x="24133" y="11347"/>
                      <a:pt x="24157" y="11365"/>
                    </a:cubicBezTo>
                    <a:cubicBezTo>
                      <a:pt x="24174" y="11243"/>
                      <a:pt x="24145" y="11105"/>
                      <a:pt x="24149" y="10974"/>
                    </a:cubicBezTo>
                    <a:cubicBezTo>
                      <a:pt x="24122" y="10934"/>
                      <a:pt x="24119" y="10913"/>
                      <a:pt x="24086" y="10906"/>
                    </a:cubicBezTo>
                    <a:cubicBezTo>
                      <a:pt x="24087" y="10830"/>
                      <a:pt x="24057" y="10692"/>
                      <a:pt x="24024" y="10686"/>
                    </a:cubicBezTo>
                    <a:cubicBezTo>
                      <a:pt x="24031" y="10576"/>
                      <a:pt x="24063" y="10735"/>
                      <a:pt x="24061" y="10637"/>
                    </a:cubicBezTo>
                    <a:cubicBezTo>
                      <a:pt x="24055" y="10594"/>
                      <a:pt x="24053" y="10573"/>
                      <a:pt x="24047" y="10530"/>
                    </a:cubicBezTo>
                    <a:cubicBezTo>
                      <a:pt x="24032" y="10499"/>
                      <a:pt x="24038" y="10466"/>
                      <a:pt x="24045" y="10432"/>
                    </a:cubicBezTo>
                    <a:cubicBezTo>
                      <a:pt x="24012" y="10349"/>
                      <a:pt x="24008" y="10404"/>
                      <a:pt x="23997" y="10318"/>
                    </a:cubicBezTo>
                    <a:cubicBezTo>
                      <a:pt x="23998" y="10242"/>
                      <a:pt x="24054" y="10420"/>
                      <a:pt x="24063" y="10408"/>
                    </a:cubicBezTo>
                    <a:cubicBezTo>
                      <a:pt x="24093" y="10469"/>
                      <a:pt x="24044" y="10508"/>
                      <a:pt x="24083" y="10558"/>
                    </a:cubicBezTo>
                    <a:cubicBezTo>
                      <a:pt x="24114" y="10543"/>
                      <a:pt x="24079" y="10362"/>
                      <a:pt x="24056" y="10267"/>
                    </a:cubicBezTo>
                    <a:cubicBezTo>
                      <a:pt x="24044" y="10181"/>
                      <a:pt x="24074" y="10243"/>
                      <a:pt x="24066" y="10178"/>
                    </a:cubicBezTo>
                    <a:cubicBezTo>
                      <a:pt x="24048" y="10126"/>
                      <a:pt x="24025" y="10031"/>
                      <a:pt x="24004" y="9958"/>
                    </a:cubicBezTo>
                    <a:cubicBezTo>
                      <a:pt x="23993" y="9872"/>
                      <a:pt x="23984" y="9808"/>
                      <a:pt x="23993" y="9796"/>
                    </a:cubicBezTo>
                    <a:cubicBezTo>
                      <a:pt x="23988" y="9753"/>
                      <a:pt x="23966" y="9756"/>
                      <a:pt x="23957" y="9768"/>
                    </a:cubicBezTo>
                    <a:cubicBezTo>
                      <a:pt x="23946" y="9682"/>
                      <a:pt x="23925" y="9609"/>
                      <a:pt x="23935" y="9520"/>
                    </a:cubicBezTo>
                    <a:cubicBezTo>
                      <a:pt x="23896" y="9471"/>
                      <a:pt x="23900" y="9416"/>
                      <a:pt x="23870" y="9354"/>
                    </a:cubicBezTo>
                    <a:cubicBezTo>
                      <a:pt x="23905" y="9459"/>
                      <a:pt x="23865" y="9562"/>
                      <a:pt x="23922" y="9664"/>
                    </a:cubicBezTo>
                    <a:cubicBezTo>
                      <a:pt x="23909" y="9731"/>
                      <a:pt x="23873" y="9627"/>
                      <a:pt x="23884" y="9789"/>
                    </a:cubicBezTo>
                    <a:cubicBezTo>
                      <a:pt x="23824" y="9666"/>
                      <a:pt x="23852" y="9629"/>
                      <a:pt x="23858" y="9596"/>
                    </a:cubicBezTo>
                    <a:cubicBezTo>
                      <a:pt x="23813" y="9504"/>
                      <a:pt x="23848" y="9684"/>
                      <a:pt x="23814" y="9678"/>
                    </a:cubicBezTo>
                    <a:cubicBezTo>
                      <a:pt x="23854" y="9727"/>
                      <a:pt x="23859" y="9770"/>
                      <a:pt x="23844" y="9816"/>
                    </a:cubicBezTo>
                    <a:cubicBezTo>
                      <a:pt x="23873" y="9877"/>
                      <a:pt x="23870" y="9932"/>
                      <a:pt x="23891" y="9929"/>
                    </a:cubicBezTo>
                    <a:cubicBezTo>
                      <a:pt x="23892" y="9853"/>
                      <a:pt x="23874" y="9801"/>
                      <a:pt x="23908" y="9807"/>
                    </a:cubicBezTo>
                    <a:cubicBezTo>
                      <a:pt x="23938" y="9869"/>
                      <a:pt x="23901" y="9917"/>
                      <a:pt x="23930" y="9979"/>
                    </a:cubicBezTo>
                    <a:cubicBezTo>
                      <a:pt x="23924" y="10012"/>
                      <a:pt x="23888" y="9908"/>
                      <a:pt x="23896" y="10049"/>
                    </a:cubicBezTo>
                    <a:cubicBezTo>
                      <a:pt x="23933" y="10000"/>
                      <a:pt x="23920" y="10144"/>
                      <a:pt x="23931" y="10229"/>
                    </a:cubicBezTo>
                    <a:cubicBezTo>
                      <a:pt x="23922" y="10241"/>
                      <a:pt x="23885" y="10214"/>
                      <a:pt x="23889" y="10159"/>
                    </a:cubicBezTo>
                    <a:cubicBezTo>
                      <a:pt x="23897" y="10223"/>
                      <a:pt x="23871" y="10357"/>
                      <a:pt x="23898" y="10474"/>
                    </a:cubicBezTo>
                    <a:cubicBezTo>
                      <a:pt x="23876" y="10553"/>
                      <a:pt x="23917" y="10700"/>
                      <a:pt x="23870" y="10761"/>
                    </a:cubicBezTo>
                    <a:cubicBezTo>
                      <a:pt x="23897" y="10877"/>
                      <a:pt x="23927" y="10862"/>
                      <a:pt x="23932" y="10981"/>
                    </a:cubicBezTo>
                    <a:cubicBezTo>
                      <a:pt x="23926" y="11015"/>
                      <a:pt x="23905" y="10941"/>
                      <a:pt x="23890" y="10911"/>
                    </a:cubicBezTo>
                    <a:cubicBezTo>
                      <a:pt x="23874" y="10956"/>
                      <a:pt x="23871" y="11011"/>
                      <a:pt x="23889" y="11064"/>
                    </a:cubicBezTo>
                    <a:cubicBezTo>
                      <a:pt x="23885" y="11119"/>
                      <a:pt x="23891" y="11161"/>
                      <a:pt x="23887" y="11216"/>
                    </a:cubicBezTo>
                    <a:cubicBezTo>
                      <a:pt x="23902" y="11247"/>
                      <a:pt x="23899" y="11226"/>
                      <a:pt x="23903" y="11171"/>
                    </a:cubicBezTo>
                    <a:cubicBezTo>
                      <a:pt x="23933" y="11232"/>
                      <a:pt x="23913" y="11333"/>
                      <a:pt x="23956" y="11327"/>
                    </a:cubicBezTo>
                    <a:cubicBezTo>
                      <a:pt x="23947" y="11339"/>
                      <a:pt x="23916" y="11354"/>
                      <a:pt x="23925" y="11418"/>
                    </a:cubicBezTo>
                    <a:cubicBezTo>
                      <a:pt x="23909" y="11464"/>
                      <a:pt x="23912" y="11409"/>
                      <a:pt x="23892" y="11336"/>
                    </a:cubicBezTo>
                    <a:cubicBezTo>
                      <a:pt x="23875" y="11458"/>
                      <a:pt x="23914" y="11583"/>
                      <a:pt x="23864" y="11699"/>
                    </a:cubicBezTo>
                    <a:cubicBezTo>
                      <a:pt x="23936" y="11755"/>
                      <a:pt x="23841" y="11855"/>
                      <a:pt x="23900" y="11978"/>
                    </a:cubicBezTo>
                    <a:cubicBezTo>
                      <a:pt x="23852" y="11941"/>
                      <a:pt x="23890" y="12066"/>
                      <a:pt x="23860" y="12081"/>
                    </a:cubicBezTo>
                    <a:cubicBezTo>
                      <a:pt x="23848" y="11996"/>
                      <a:pt x="23837" y="11910"/>
                      <a:pt x="23871" y="11840"/>
                    </a:cubicBezTo>
                    <a:cubicBezTo>
                      <a:pt x="23817" y="11760"/>
                      <a:pt x="23844" y="11549"/>
                      <a:pt x="23879" y="11403"/>
                    </a:cubicBezTo>
                    <a:cubicBezTo>
                      <a:pt x="23857" y="11406"/>
                      <a:pt x="23833" y="11387"/>
                      <a:pt x="23810" y="11292"/>
                    </a:cubicBezTo>
                    <a:cubicBezTo>
                      <a:pt x="23845" y="11396"/>
                      <a:pt x="23834" y="11561"/>
                      <a:pt x="23824" y="11726"/>
                    </a:cubicBezTo>
                    <a:cubicBezTo>
                      <a:pt x="23810" y="11870"/>
                      <a:pt x="23799" y="12035"/>
                      <a:pt x="23868" y="12146"/>
                    </a:cubicBezTo>
                    <a:cubicBezTo>
                      <a:pt x="23854" y="12289"/>
                      <a:pt x="23862" y="12430"/>
                      <a:pt x="23827" y="12576"/>
                    </a:cubicBezTo>
                    <a:cubicBezTo>
                      <a:pt x="23842" y="12607"/>
                      <a:pt x="23851" y="12595"/>
                      <a:pt x="23864" y="12528"/>
                    </a:cubicBezTo>
                    <a:cubicBezTo>
                      <a:pt x="23870" y="12570"/>
                      <a:pt x="23866" y="12625"/>
                      <a:pt x="23884" y="12678"/>
                    </a:cubicBezTo>
                    <a:cubicBezTo>
                      <a:pt x="23890" y="12720"/>
                      <a:pt x="23883" y="12754"/>
                      <a:pt x="23867" y="12800"/>
                    </a:cubicBezTo>
                    <a:cubicBezTo>
                      <a:pt x="23847" y="12726"/>
                      <a:pt x="23872" y="12668"/>
                      <a:pt x="23851" y="12595"/>
                    </a:cubicBezTo>
                    <a:cubicBezTo>
                      <a:pt x="23826" y="12653"/>
                      <a:pt x="23825" y="12729"/>
                      <a:pt x="23800" y="12787"/>
                    </a:cubicBezTo>
                    <a:cubicBezTo>
                      <a:pt x="23815" y="12818"/>
                      <a:pt x="23821" y="12861"/>
                      <a:pt x="23824" y="12882"/>
                    </a:cubicBezTo>
                    <a:cubicBezTo>
                      <a:pt x="23817" y="12916"/>
                      <a:pt x="23823" y="12958"/>
                      <a:pt x="23816" y="12992"/>
                    </a:cubicBezTo>
                    <a:cubicBezTo>
                      <a:pt x="23789" y="13028"/>
                      <a:pt x="23783" y="12986"/>
                      <a:pt x="23774" y="12921"/>
                    </a:cubicBezTo>
                    <a:cubicBezTo>
                      <a:pt x="23751" y="13077"/>
                      <a:pt x="23819" y="13013"/>
                      <a:pt x="23778" y="13193"/>
                    </a:cubicBezTo>
                    <a:cubicBezTo>
                      <a:pt x="23781" y="13215"/>
                      <a:pt x="23802" y="13212"/>
                      <a:pt x="23808" y="13178"/>
                    </a:cubicBezTo>
                    <a:cubicBezTo>
                      <a:pt x="23826" y="13230"/>
                      <a:pt x="23832" y="13273"/>
                      <a:pt x="23816" y="13319"/>
                    </a:cubicBezTo>
                    <a:cubicBezTo>
                      <a:pt x="23798" y="13267"/>
                      <a:pt x="23773" y="13325"/>
                      <a:pt x="23742" y="13416"/>
                    </a:cubicBezTo>
                    <a:cubicBezTo>
                      <a:pt x="23720" y="13496"/>
                      <a:pt x="23691" y="13608"/>
                      <a:pt x="23666" y="13666"/>
                    </a:cubicBezTo>
                    <a:cubicBezTo>
                      <a:pt x="23679" y="13599"/>
                      <a:pt x="23707" y="13486"/>
                      <a:pt x="23705" y="13388"/>
                    </a:cubicBezTo>
                    <a:cubicBezTo>
                      <a:pt x="23716" y="13300"/>
                      <a:pt x="23726" y="13211"/>
                      <a:pt x="23704" y="13214"/>
                    </a:cubicBezTo>
                    <a:cubicBezTo>
                      <a:pt x="23709" y="13083"/>
                      <a:pt x="23747" y="12958"/>
                      <a:pt x="23751" y="12826"/>
                    </a:cubicBezTo>
                    <a:cubicBezTo>
                      <a:pt x="23739" y="12817"/>
                      <a:pt x="23732" y="12851"/>
                      <a:pt x="23729" y="12906"/>
                    </a:cubicBezTo>
                    <a:cubicBezTo>
                      <a:pt x="23713" y="12951"/>
                      <a:pt x="23722" y="13016"/>
                      <a:pt x="23703" y="13040"/>
                    </a:cubicBezTo>
                    <a:cubicBezTo>
                      <a:pt x="23710" y="12930"/>
                      <a:pt x="23710" y="12930"/>
                      <a:pt x="23690" y="12856"/>
                    </a:cubicBezTo>
                    <a:cubicBezTo>
                      <a:pt x="23748" y="12805"/>
                      <a:pt x="23694" y="12725"/>
                      <a:pt x="23755" y="12695"/>
                    </a:cubicBezTo>
                    <a:cubicBezTo>
                      <a:pt x="23738" y="12566"/>
                      <a:pt x="23713" y="12624"/>
                      <a:pt x="23695" y="12649"/>
                    </a:cubicBezTo>
                    <a:cubicBezTo>
                      <a:pt x="23683" y="12563"/>
                      <a:pt x="23717" y="12569"/>
                      <a:pt x="23733" y="12524"/>
                    </a:cubicBezTo>
                    <a:cubicBezTo>
                      <a:pt x="23715" y="12471"/>
                      <a:pt x="23731" y="12426"/>
                      <a:pt x="23713" y="12374"/>
                    </a:cubicBezTo>
                    <a:cubicBezTo>
                      <a:pt x="23723" y="12285"/>
                      <a:pt x="23732" y="12349"/>
                      <a:pt x="23744" y="12282"/>
                    </a:cubicBezTo>
                    <a:cubicBezTo>
                      <a:pt x="23721" y="12187"/>
                      <a:pt x="23748" y="12227"/>
                      <a:pt x="23758" y="12139"/>
                    </a:cubicBezTo>
                    <a:cubicBezTo>
                      <a:pt x="23732" y="12022"/>
                      <a:pt x="23751" y="11921"/>
                      <a:pt x="23737" y="11814"/>
                    </a:cubicBezTo>
                    <a:cubicBezTo>
                      <a:pt x="23747" y="11726"/>
                      <a:pt x="23761" y="11833"/>
                      <a:pt x="23768" y="11799"/>
                    </a:cubicBezTo>
                    <a:cubicBezTo>
                      <a:pt x="23782" y="11906"/>
                      <a:pt x="23765" y="12105"/>
                      <a:pt x="23807" y="12099"/>
                    </a:cubicBezTo>
                    <a:cubicBezTo>
                      <a:pt x="23820" y="12032"/>
                      <a:pt x="23790" y="11971"/>
                      <a:pt x="23782" y="11906"/>
                    </a:cubicBezTo>
                    <a:cubicBezTo>
                      <a:pt x="23794" y="11916"/>
                      <a:pt x="23803" y="11904"/>
                      <a:pt x="23810" y="11870"/>
                    </a:cubicBezTo>
                    <a:cubicBezTo>
                      <a:pt x="23774" y="11766"/>
                      <a:pt x="23784" y="11754"/>
                      <a:pt x="23794" y="11665"/>
                    </a:cubicBezTo>
                    <a:cubicBezTo>
                      <a:pt x="23777" y="11536"/>
                      <a:pt x="23751" y="11671"/>
                      <a:pt x="23725" y="11554"/>
                    </a:cubicBezTo>
                    <a:cubicBezTo>
                      <a:pt x="23722" y="11533"/>
                      <a:pt x="23719" y="11512"/>
                      <a:pt x="23716" y="11490"/>
                    </a:cubicBezTo>
                    <a:cubicBezTo>
                      <a:pt x="23726" y="11402"/>
                      <a:pt x="23747" y="11475"/>
                      <a:pt x="23759" y="11484"/>
                    </a:cubicBezTo>
                    <a:cubicBezTo>
                      <a:pt x="23796" y="11436"/>
                      <a:pt x="23766" y="11374"/>
                      <a:pt x="23779" y="11307"/>
                    </a:cubicBezTo>
                    <a:cubicBezTo>
                      <a:pt x="23773" y="11264"/>
                      <a:pt x="23764" y="11277"/>
                      <a:pt x="23758" y="11310"/>
                    </a:cubicBezTo>
                    <a:cubicBezTo>
                      <a:pt x="23729" y="11172"/>
                      <a:pt x="23788" y="11044"/>
                      <a:pt x="23716" y="10912"/>
                    </a:cubicBezTo>
                    <a:cubicBezTo>
                      <a:pt x="23711" y="10793"/>
                      <a:pt x="23697" y="10686"/>
                      <a:pt x="23683" y="10579"/>
                    </a:cubicBezTo>
                    <a:cubicBezTo>
                      <a:pt x="23681" y="10481"/>
                      <a:pt x="23669" y="10395"/>
                      <a:pt x="23677" y="10285"/>
                    </a:cubicBezTo>
                    <a:cubicBezTo>
                      <a:pt x="23635" y="10215"/>
                      <a:pt x="23648" y="10148"/>
                      <a:pt x="23627" y="10074"/>
                    </a:cubicBezTo>
                    <a:cubicBezTo>
                      <a:pt x="23591" y="10046"/>
                      <a:pt x="23593" y="10068"/>
                      <a:pt x="23564" y="10006"/>
                    </a:cubicBezTo>
                    <a:cubicBezTo>
                      <a:pt x="23544" y="10107"/>
                      <a:pt x="23566" y="10104"/>
                      <a:pt x="23531" y="10174"/>
                    </a:cubicBezTo>
                    <a:cubicBezTo>
                      <a:pt x="23570" y="10223"/>
                      <a:pt x="23565" y="10180"/>
                      <a:pt x="23598" y="10263"/>
                    </a:cubicBezTo>
                    <a:cubicBezTo>
                      <a:pt x="23621" y="10358"/>
                      <a:pt x="23623" y="10456"/>
                      <a:pt x="23668" y="10548"/>
                    </a:cubicBezTo>
                    <a:cubicBezTo>
                      <a:pt x="23643" y="10606"/>
                      <a:pt x="23602" y="10459"/>
                      <a:pt x="23577" y="10440"/>
                    </a:cubicBezTo>
                    <a:cubicBezTo>
                      <a:pt x="23574" y="10495"/>
                      <a:pt x="23606" y="10655"/>
                      <a:pt x="23581" y="10636"/>
                    </a:cubicBezTo>
                    <a:cubicBezTo>
                      <a:pt x="23580" y="10789"/>
                      <a:pt x="23642" y="10933"/>
                      <a:pt x="23607" y="11080"/>
                    </a:cubicBezTo>
                    <a:cubicBezTo>
                      <a:pt x="23575" y="10997"/>
                      <a:pt x="23573" y="10899"/>
                      <a:pt x="23549" y="10804"/>
                    </a:cubicBezTo>
                    <a:cubicBezTo>
                      <a:pt x="23558" y="10868"/>
                      <a:pt x="23566" y="10933"/>
                      <a:pt x="23541" y="10990"/>
                    </a:cubicBezTo>
                    <a:cubicBezTo>
                      <a:pt x="23565" y="11009"/>
                      <a:pt x="23568" y="11030"/>
                      <a:pt x="23552" y="11076"/>
                    </a:cubicBezTo>
                    <a:cubicBezTo>
                      <a:pt x="23558" y="11119"/>
                      <a:pt x="23573" y="11150"/>
                      <a:pt x="23579" y="11192"/>
                    </a:cubicBezTo>
                    <a:cubicBezTo>
                      <a:pt x="23575" y="11247"/>
                      <a:pt x="23581" y="11290"/>
                      <a:pt x="23574" y="11324"/>
                    </a:cubicBezTo>
                    <a:cubicBezTo>
                      <a:pt x="23564" y="11412"/>
                      <a:pt x="23563" y="11489"/>
                      <a:pt x="23575" y="11575"/>
                    </a:cubicBezTo>
                    <a:cubicBezTo>
                      <a:pt x="23565" y="11663"/>
                      <a:pt x="23550" y="11556"/>
                      <a:pt x="23535" y="11525"/>
                    </a:cubicBezTo>
                    <a:cubicBezTo>
                      <a:pt x="23510" y="11583"/>
                      <a:pt x="23540" y="11645"/>
                      <a:pt x="23537" y="11700"/>
                    </a:cubicBezTo>
                    <a:cubicBezTo>
                      <a:pt x="23543" y="11666"/>
                      <a:pt x="23577" y="11672"/>
                      <a:pt x="23593" y="11550"/>
                    </a:cubicBezTo>
                    <a:cubicBezTo>
                      <a:pt x="23605" y="11560"/>
                      <a:pt x="23617" y="11569"/>
                      <a:pt x="23630" y="11578"/>
                    </a:cubicBezTo>
                    <a:cubicBezTo>
                      <a:pt x="23626" y="11633"/>
                      <a:pt x="23622" y="11688"/>
                      <a:pt x="23628" y="11731"/>
                    </a:cubicBezTo>
                    <a:cubicBezTo>
                      <a:pt x="23609" y="11755"/>
                      <a:pt x="23601" y="11691"/>
                      <a:pt x="23591" y="11780"/>
                    </a:cubicBezTo>
                    <a:cubicBezTo>
                      <a:pt x="23597" y="11822"/>
                      <a:pt x="23618" y="11819"/>
                      <a:pt x="23621" y="11841"/>
                    </a:cubicBezTo>
                    <a:cubicBezTo>
                      <a:pt x="23614" y="11874"/>
                      <a:pt x="23608" y="11908"/>
                      <a:pt x="23623" y="11939"/>
                    </a:cubicBezTo>
                    <a:cubicBezTo>
                      <a:pt x="23595" y="11975"/>
                      <a:pt x="23605" y="11887"/>
                      <a:pt x="23584" y="11890"/>
                    </a:cubicBezTo>
                    <a:cubicBezTo>
                      <a:pt x="23563" y="11816"/>
                      <a:pt x="23609" y="11755"/>
                      <a:pt x="23567" y="11685"/>
                    </a:cubicBezTo>
                    <a:cubicBezTo>
                      <a:pt x="23570" y="12360"/>
                      <a:pt x="23529" y="13042"/>
                      <a:pt x="23375" y="13695"/>
                    </a:cubicBezTo>
                    <a:cubicBezTo>
                      <a:pt x="23427" y="13753"/>
                      <a:pt x="23366" y="13957"/>
                      <a:pt x="23326" y="13985"/>
                    </a:cubicBezTo>
                    <a:cubicBezTo>
                      <a:pt x="23344" y="14037"/>
                      <a:pt x="23381" y="13988"/>
                      <a:pt x="23399" y="14040"/>
                    </a:cubicBezTo>
                    <a:cubicBezTo>
                      <a:pt x="23383" y="14162"/>
                      <a:pt x="23346" y="14135"/>
                      <a:pt x="23342" y="14266"/>
                    </a:cubicBezTo>
                    <a:cubicBezTo>
                      <a:pt x="23323" y="14290"/>
                      <a:pt x="23327" y="14235"/>
                      <a:pt x="23324" y="14214"/>
                    </a:cubicBezTo>
                    <a:cubicBezTo>
                      <a:pt x="23295" y="14327"/>
                      <a:pt x="23310" y="14434"/>
                      <a:pt x="23269" y="14537"/>
                    </a:cubicBezTo>
                    <a:cubicBezTo>
                      <a:pt x="23228" y="14390"/>
                      <a:pt x="23169" y="14769"/>
                      <a:pt x="23069" y="14924"/>
                    </a:cubicBezTo>
                    <a:cubicBezTo>
                      <a:pt x="23071" y="15022"/>
                      <a:pt x="23103" y="14930"/>
                      <a:pt x="23121" y="14906"/>
                    </a:cubicBezTo>
                    <a:cubicBezTo>
                      <a:pt x="23077" y="15065"/>
                      <a:pt x="23090" y="14998"/>
                      <a:pt x="23033" y="15147"/>
                    </a:cubicBezTo>
                    <a:cubicBezTo>
                      <a:pt x="23036" y="15168"/>
                      <a:pt x="23070" y="15098"/>
                      <a:pt x="23064" y="15132"/>
                    </a:cubicBezTo>
                    <a:cubicBezTo>
                      <a:pt x="23058" y="15165"/>
                      <a:pt x="23042" y="15211"/>
                      <a:pt x="23014" y="15248"/>
                    </a:cubicBezTo>
                    <a:cubicBezTo>
                      <a:pt x="23026" y="15257"/>
                      <a:pt x="23041" y="15288"/>
                      <a:pt x="23028" y="15355"/>
                    </a:cubicBezTo>
                    <a:cubicBezTo>
                      <a:pt x="23018" y="15443"/>
                      <a:pt x="22979" y="15394"/>
                      <a:pt x="22984" y="15513"/>
                    </a:cubicBezTo>
                    <a:cubicBezTo>
                      <a:pt x="22965" y="15538"/>
                      <a:pt x="22950" y="15507"/>
                      <a:pt x="22954" y="15452"/>
                    </a:cubicBezTo>
                    <a:cubicBezTo>
                      <a:pt x="22947" y="15486"/>
                      <a:pt x="22929" y="15510"/>
                      <a:pt x="22932" y="15531"/>
                    </a:cubicBezTo>
                    <a:cubicBezTo>
                      <a:pt x="22913" y="15556"/>
                      <a:pt x="22916" y="15577"/>
                      <a:pt x="22906" y="15589"/>
                    </a:cubicBezTo>
                    <a:cubicBezTo>
                      <a:pt x="22879" y="15626"/>
                      <a:pt x="22872" y="15659"/>
                      <a:pt x="22854" y="15684"/>
                    </a:cubicBezTo>
                    <a:cubicBezTo>
                      <a:pt x="22829" y="15741"/>
                      <a:pt x="22816" y="15809"/>
                      <a:pt x="22759" y="15958"/>
                    </a:cubicBezTo>
                    <a:cubicBezTo>
                      <a:pt x="22750" y="15970"/>
                      <a:pt x="22738" y="15961"/>
                      <a:pt x="22744" y="15927"/>
                    </a:cubicBezTo>
                    <a:cubicBezTo>
                      <a:pt x="22740" y="15982"/>
                      <a:pt x="22725" y="16028"/>
                      <a:pt x="22709" y="16074"/>
                    </a:cubicBezTo>
                    <a:cubicBezTo>
                      <a:pt x="22693" y="16119"/>
                      <a:pt x="22677" y="16165"/>
                      <a:pt x="22652" y="16223"/>
                    </a:cubicBezTo>
                    <a:cubicBezTo>
                      <a:pt x="22609" y="16305"/>
                      <a:pt x="22577" y="16397"/>
                      <a:pt x="22558" y="16497"/>
                    </a:cubicBezTo>
                    <a:cubicBezTo>
                      <a:pt x="22536" y="16500"/>
                      <a:pt x="22527" y="16512"/>
                      <a:pt x="22524" y="16491"/>
                    </a:cubicBezTo>
                    <a:cubicBezTo>
                      <a:pt x="22490" y="16561"/>
                      <a:pt x="22480" y="16650"/>
                      <a:pt x="22467" y="16717"/>
                    </a:cubicBezTo>
                    <a:cubicBezTo>
                      <a:pt x="22433" y="16787"/>
                      <a:pt x="22421" y="16777"/>
                      <a:pt x="22433" y="16710"/>
                    </a:cubicBezTo>
                    <a:cubicBezTo>
                      <a:pt x="22383" y="16826"/>
                      <a:pt x="22321" y="16933"/>
                      <a:pt x="22271" y="17048"/>
                    </a:cubicBezTo>
                    <a:cubicBezTo>
                      <a:pt x="22200" y="17167"/>
                      <a:pt x="22137" y="17274"/>
                      <a:pt x="22112" y="17408"/>
                    </a:cubicBezTo>
                    <a:cubicBezTo>
                      <a:pt x="22056" y="17481"/>
                      <a:pt x="22097" y="17377"/>
                      <a:pt x="22050" y="17438"/>
                    </a:cubicBezTo>
                    <a:cubicBezTo>
                      <a:pt x="22044" y="17395"/>
                      <a:pt x="22084" y="17368"/>
                      <a:pt x="22088" y="17313"/>
                    </a:cubicBezTo>
                    <a:cubicBezTo>
                      <a:pt x="22016" y="17508"/>
                      <a:pt x="21916" y="17739"/>
                      <a:pt x="21758" y="17946"/>
                    </a:cubicBezTo>
                    <a:cubicBezTo>
                      <a:pt x="21763" y="17989"/>
                      <a:pt x="21860" y="17812"/>
                      <a:pt x="21822" y="17937"/>
                    </a:cubicBezTo>
                    <a:cubicBezTo>
                      <a:pt x="21735" y="18025"/>
                      <a:pt x="21668" y="18089"/>
                      <a:pt x="21624" y="18171"/>
                    </a:cubicBezTo>
                    <a:cubicBezTo>
                      <a:pt x="21623" y="18248"/>
                      <a:pt x="21680" y="18098"/>
                      <a:pt x="21729" y="18059"/>
                    </a:cubicBezTo>
                    <a:cubicBezTo>
                      <a:pt x="21707" y="18138"/>
                      <a:pt x="21648" y="18190"/>
                      <a:pt x="21605" y="18272"/>
                    </a:cubicBezTo>
                    <a:cubicBezTo>
                      <a:pt x="21592" y="18263"/>
                      <a:pt x="21587" y="18220"/>
                      <a:pt x="21593" y="18186"/>
                    </a:cubicBezTo>
                    <a:cubicBezTo>
                      <a:pt x="21540" y="18281"/>
                      <a:pt x="21487" y="18375"/>
                      <a:pt x="21444" y="18457"/>
                    </a:cubicBezTo>
                    <a:cubicBezTo>
                      <a:pt x="21400" y="18539"/>
                      <a:pt x="21347" y="18634"/>
                      <a:pt x="21261" y="18722"/>
                    </a:cubicBezTo>
                    <a:cubicBezTo>
                      <a:pt x="21251" y="18734"/>
                      <a:pt x="21267" y="18688"/>
                      <a:pt x="21249" y="18712"/>
                    </a:cubicBezTo>
                    <a:cubicBezTo>
                      <a:pt x="21218" y="18727"/>
                      <a:pt x="21190" y="18764"/>
                      <a:pt x="21159" y="18779"/>
                    </a:cubicBezTo>
                    <a:cubicBezTo>
                      <a:pt x="21137" y="18858"/>
                      <a:pt x="21165" y="18822"/>
                      <a:pt x="21112" y="18916"/>
                    </a:cubicBezTo>
                    <a:cubicBezTo>
                      <a:pt x="21100" y="18907"/>
                      <a:pt x="21091" y="18919"/>
                      <a:pt x="21041" y="18958"/>
                    </a:cubicBezTo>
                    <a:cubicBezTo>
                      <a:pt x="20976" y="19043"/>
                      <a:pt x="20911" y="19128"/>
                      <a:pt x="20846" y="19213"/>
                    </a:cubicBezTo>
                    <a:cubicBezTo>
                      <a:pt x="20806" y="19241"/>
                      <a:pt x="20868" y="19134"/>
                      <a:pt x="20890" y="19131"/>
                    </a:cubicBezTo>
                    <a:cubicBezTo>
                      <a:pt x="20807" y="19164"/>
                      <a:pt x="20732" y="19338"/>
                      <a:pt x="20710" y="19417"/>
                    </a:cubicBezTo>
                    <a:cubicBezTo>
                      <a:pt x="20633" y="19493"/>
                      <a:pt x="20685" y="19399"/>
                      <a:pt x="20710" y="19341"/>
                    </a:cubicBezTo>
                    <a:cubicBezTo>
                      <a:pt x="20605" y="19453"/>
                      <a:pt x="20549" y="19602"/>
                      <a:pt x="20432" y="19705"/>
                    </a:cubicBezTo>
                    <a:cubicBezTo>
                      <a:pt x="20392" y="19733"/>
                      <a:pt x="20454" y="19626"/>
                      <a:pt x="20487" y="19632"/>
                    </a:cubicBezTo>
                    <a:cubicBezTo>
                      <a:pt x="20454" y="19626"/>
                      <a:pt x="20386" y="19690"/>
                      <a:pt x="20318" y="19753"/>
                    </a:cubicBezTo>
                    <a:cubicBezTo>
                      <a:pt x="20337" y="19729"/>
                      <a:pt x="20393" y="19656"/>
                      <a:pt x="20334" y="19708"/>
                    </a:cubicBezTo>
                    <a:cubicBezTo>
                      <a:pt x="20350" y="19662"/>
                      <a:pt x="20393" y="19656"/>
                      <a:pt x="20408" y="19610"/>
                    </a:cubicBezTo>
                    <a:cubicBezTo>
                      <a:pt x="20347" y="19640"/>
                      <a:pt x="20313" y="19711"/>
                      <a:pt x="20251" y="19741"/>
                    </a:cubicBezTo>
                    <a:cubicBezTo>
                      <a:pt x="20285" y="19747"/>
                      <a:pt x="20260" y="19805"/>
                      <a:pt x="20201" y="19856"/>
                    </a:cubicBezTo>
                    <a:cubicBezTo>
                      <a:pt x="20192" y="19869"/>
                      <a:pt x="20229" y="19820"/>
                      <a:pt x="20250" y="19817"/>
                    </a:cubicBezTo>
                    <a:cubicBezTo>
                      <a:pt x="20195" y="19890"/>
                      <a:pt x="20148" y="19951"/>
                      <a:pt x="20117" y="20042"/>
                    </a:cubicBezTo>
                    <a:cubicBezTo>
                      <a:pt x="20027" y="20109"/>
                      <a:pt x="20120" y="19987"/>
                      <a:pt x="20050" y="20029"/>
                    </a:cubicBezTo>
                    <a:cubicBezTo>
                      <a:pt x="20031" y="20054"/>
                      <a:pt x="20003" y="20090"/>
                      <a:pt x="19987" y="20136"/>
                    </a:cubicBezTo>
                    <a:cubicBezTo>
                      <a:pt x="19969" y="20160"/>
                      <a:pt x="19950" y="20184"/>
                      <a:pt x="19962" y="20194"/>
                    </a:cubicBezTo>
                    <a:cubicBezTo>
                      <a:pt x="19814" y="20312"/>
                      <a:pt x="19657" y="20442"/>
                      <a:pt x="19571" y="20530"/>
                    </a:cubicBezTo>
                    <a:cubicBezTo>
                      <a:pt x="19583" y="20539"/>
                      <a:pt x="19604" y="20536"/>
                      <a:pt x="19549" y="20609"/>
                    </a:cubicBezTo>
                    <a:cubicBezTo>
                      <a:pt x="19475" y="20630"/>
                      <a:pt x="19559" y="20521"/>
                      <a:pt x="19411" y="20639"/>
                    </a:cubicBezTo>
                    <a:cubicBezTo>
                      <a:pt x="19457" y="20578"/>
                      <a:pt x="19509" y="20560"/>
                      <a:pt x="19537" y="20524"/>
                    </a:cubicBezTo>
                    <a:cubicBezTo>
                      <a:pt x="19522" y="20493"/>
                      <a:pt x="19401" y="20651"/>
                      <a:pt x="19331" y="20693"/>
                    </a:cubicBezTo>
                    <a:cubicBezTo>
                      <a:pt x="19321" y="20705"/>
                      <a:pt x="19352" y="20690"/>
                      <a:pt x="19324" y="20727"/>
                    </a:cubicBezTo>
                    <a:cubicBezTo>
                      <a:pt x="19275" y="20766"/>
                      <a:pt x="19235" y="20793"/>
                      <a:pt x="19183" y="20811"/>
                    </a:cubicBezTo>
                    <a:cubicBezTo>
                      <a:pt x="19115" y="20875"/>
                      <a:pt x="19176" y="20845"/>
                      <a:pt x="19121" y="20918"/>
                    </a:cubicBezTo>
                    <a:cubicBezTo>
                      <a:pt x="19071" y="20957"/>
                      <a:pt x="18992" y="20935"/>
                      <a:pt x="18921" y="21054"/>
                    </a:cubicBezTo>
                    <a:cubicBezTo>
                      <a:pt x="18869" y="21071"/>
                      <a:pt x="18918" y="21032"/>
                      <a:pt x="18835" y="21065"/>
                    </a:cubicBezTo>
                    <a:cubicBezTo>
                      <a:pt x="18872" y="21016"/>
                      <a:pt x="18924" y="20999"/>
                      <a:pt x="18964" y="20971"/>
                    </a:cubicBezTo>
                    <a:cubicBezTo>
                      <a:pt x="18881" y="21004"/>
                      <a:pt x="18811" y="21047"/>
                      <a:pt x="18731" y="21101"/>
                    </a:cubicBezTo>
                    <a:cubicBezTo>
                      <a:pt x="18691" y="21128"/>
                      <a:pt x="18654" y="21177"/>
                      <a:pt x="18602" y="21195"/>
                    </a:cubicBezTo>
                    <a:cubicBezTo>
                      <a:pt x="18562" y="21222"/>
                      <a:pt x="18522" y="21249"/>
                      <a:pt x="18472" y="21288"/>
                    </a:cubicBezTo>
                    <a:cubicBezTo>
                      <a:pt x="18392" y="21343"/>
                      <a:pt x="18303" y="21409"/>
                      <a:pt x="18214" y="21476"/>
                    </a:cubicBezTo>
                    <a:cubicBezTo>
                      <a:pt x="18174" y="21503"/>
                      <a:pt x="18124" y="21542"/>
                      <a:pt x="18084" y="21570"/>
                    </a:cubicBezTo>
                    <a:cubicBezTo>
                      <a:pt x="18044" y="21597"/>
                      <a:pt x="17992" y="21615"/>
                      <a:pt x="17952" y="21642"/>
                    </a:cubicBezTo>
                    <a:cubicBezTo>
                      <a:pt x="17949" y="21620"/>
                      <a:pt x="17968" y="21596"/>
                      <a:pt x="18005" y="21547"/>
                    </a:cubicBezTo>
                    <a:cubicBezTo>
                      <a:pt x="17944" y="21578"/>
                      <a:pt x="17876" y="21641"/>
                      <a:pt x="17802" y="21662"/>
                    </a:cubicBezTo>
                    <a:cubicBezTo>
                      <a:pt x="17765" y="21711"/>
                      <a:pt x="17787" y="21708"/>
                      <a:pt x="17799" y="21717"/>
                    </a:cubicBezTo>
                    <a:cubicBezTo>
                      <a:pt x="17768" y="21732"/>
                      <a:pt x="17719" y="21771"/>
                      <a:pt x="17667" y="21789"/>
                    </a:cubicBezTo>
                    <a:cubicBezTo>
                      <a:pt x="17605" y="21819"/>
                      <a:pt x="17544" y="21849"/>
                      <a:pt x="17492" y="21867"/>
                    </a:cubicBezTo>
                    <a:cubicBezTo>
                      <a:pt x="17369" y="21928"/>
                      <a:pt x="17258" y="21997"/>
                      <a:pt x="17193" y="22082"/>
                    </a:cubicBezTo>
                    <a:cubicBezTo>
                      <a:pt x="17129" y="22091"/>
                      <a:pt x="17252" y="22031"/>
                      <a:pt x="17227" y="22012"/>
                    </a:cubicBezTo>
                    <a:cubicBezTo>
                      <a:pt x="17197" y="22027"/>
                      <a:pt x="17178" y="22051"/>
                      <a:pt x="17157" y="22054"/>
                    </a:cubicBezTo>
                    <a:cubicBezTo>
                      <a:pt x="17135" y="22057"/>
                      <a:pt x="17117" y="22081"/>
                      <a:pt x="17095" y="22084"/>
                    </a:cubicBezTo>
                    <a:cubicBezTo>
                      <a:pt x="17065" y="22099"/>
                      <a:pt x="17034" y="22114"/>
                      <a:pt x="16982" y="22132"/>
                    </a:cubicBezTo>
                    <a:cubicBezTo>
                      <a:pt x="16972" y="22144"/>
                      <a:pt x="16994" y="22142"/>
                      <a:pt x="16975" y="22166"/>
                    </a:cubicBezTo>
                    <a:cubicBezTo>
                      <a:pt x="16855" y="22247"/>
                      <a:pt x="16620" y="22279"/>
                      <a:pt x="16564" y="22352"/>
                    </a:cubicBezTo>
                    <a:cubicBezTo>
                      <a:pt x="16521" y="22358"/>
                      <a:pt x="16540" y="22334"/>
                      <a:pt x="16454" y="22345"/>
                    </a:cubicBezTo>
                    <a:cubicBezTo>
                      <a:pt x="16405" y="22384"/>
                      <a:pt x="16355" y="22424"/>
                      <a:pt x="16291" y="22432"/>
                    </a:cubicBezTo>
                    <a:cubicBezTo>
                      <a:pt x="16273" y="22457"/>
                      <a:pt x="16242" y="22472"/>
                      <a:pt x="16211" y="22487"/>
                    </a:cubicBezTo>
                    <a:cubicBezTo>
                      <a:pt x="16181" y="22502"/>
                      <a:pt x="16159" y="22505"/>
                      <a:pt x="16150" y="22517"/>
                    </a:cubicBezTo>
                    <a:cubicBezTo>
                      <a:pt x="16128" y="22520"/>
                      <a:pt x="16098" y="22535"/>
                      <a:pt x="16076" y="22538"/>
                    </a:cubicBezTo>
                    <a:cubicBezTo>
                      <a:pt x="15981" y="22561"/>
                      <a:pt x="15877" y="22597"/>
                      <a:pt x="15806" y="22639"/>
                    </a:cubicBezTo>
                    <a:cubicBezTo>
                      <a:pt x="15816" y="22627"/>
                      <a:pt x="15730" y="22639"/>
                      <a:pt x="15761" y="22624"/>
                    </a:cubicBezTo>
                    <a:cubicBezTo>
                      <a:pt x="15709" y="22642"/>
                      <a:pt x="15669" y="22669"/>
                      <a:pt x="15616" y="22687"/>
                    </a:cubicBezTo>
                    <a:cubicBezTo>
                      <a:pt x="15564" y="22705"/>
                      <a:pt x="15512" y="22723"/>
                      <a:pt x="15467" y="22707"/>
                    </a:cubicBezTo>
                    <a:cubicBezTo>
                      <a:pt x="15427" y="22734"/>
                      <a:pt x="15387" y="22761"/>
                      <a:pt x="15344" y="22767"/>
                    </a:cubicBezTo>
                    <a:cubicBezTo>
                      <a:pt x="15344" y="22767"/>
                      <a:pt x="15332" y="22758"/>
                      <a:pt x="15298" y="22751"/>
                    </a:cubicBezTo>
                    <a:cubicBezTo>
                      <a:pt x="15292" y="22785"/>
                      <a:pt x="15175" y="22812"/>
                      <a:pt x="15215" y="22784"/>
                    </a:cubicBezTo>
                    <a:cubicBezTo>
                      <a:pt x="15185" y="22799"/>
                      <a:pt x="15154" y="22815"/>
                      <a:pt x="15102" y="22832"/>
                    </a:cubicBezTo>
                    <a:cubicBezTo>
                      <a:pt x="15050" y="22850"/>
                      <a:pt x="14995" y="22847"/>
                      <a:pt x="14943" y="22865"/>
                    </a:cubicBezTo>
                    <a:cubicBezTo>
                      <a:pt x="14967" y="22883"/>
                      <a:pt x="14915" y="22901"/>
                      <a:pt x="14841" y="22922"/>
                    </a:cubicBezTo>
                    <a:cubicBezTo>
                      <a:pt x="14820" y="22925"/>
                      <a:pt x="14860" y="22898"/>
                      <a:pt x="14869" y="22886"/>
                    </a:cubicBezTo>
                    <a:cubicBezTo>
                      <a:pt x="14783" y="22897"/>
                      <a:pt x="14679" y="22933"/>
                      <a:pt x="14572" y="22947"/>
                    </a:cubicBezTo>
                    <a:cubicBezTo>
                      <a:pt x="14643" y="22905"/>
                      <a:pt x="14679" y="22933"/>
                      <a:pt x="14716" y="22884"/>
                    </a:cubicBezTo>
                    <a:cubicBezTo>
                      <a:pt x="14652" y="22893"/>
                      <a:pt x="14588" y="22902"/>
                      <a:pt x="14536" y="22920"/>
                    </a:cubicBezTo>
                    <a:cubicBezTo>
                      <a:pt x="14502" y="22913"/>
                      <a:pt x="14554" y="22895"/>
                      <a:pt x="14585" y="22880"/>
                    </a:cubicBezTo>
                    <a:cubicBezTo>
                      <a:pt x="14658" y="22859"/>
                      <a:pt x="14738" y="22881"/>
                      <a:pt x="14818" y="22827"/>
                    </a:cubicBezTo>
                    <a:cubicBezTo>
                      <a:pt x="14723" y="22851"/>
                      <a:pt x="14760" y="22802"/>
                      <a:pt x="14665" y="22826"/>
                    </a:cubicBezTo>
                    <a:cubicBezTo>
                      <a:pt x="14641" y="22807"/>
                      <a:pt x="14714" y="22787"/>
                      <a:pt x="14788" y="22766"/>
                    </a:cubicBezTo>
                    <a:cubicBezTo>
                      <a:pt x="14821" y="22772"/>
                      <a:pt x="14769" y="22790"/>
                      <a:pt x="14772" y="22811"/>
                    </a:cubicBezTo>
                    <a:cubicBezTo>
                      <a:pt x="14848" y="22812"/>
                      <a:pt x="14876" y="22776"/>
                      <a:pt x="14904" y="22739"/>
                    </a:cubicBezTo>
                    <a:cubicBezTo>
                      <a:pt x="14938" y="22746"/>
                      <a:pt x="14968" y="22730"/>
                      <a:pt x="14999" y="22715"/>
                    </a:cubicBezTo>
                    <a:cubicBezTo>
                      <a:pt x="15020" y="22713"/>
                      <a:pt x="15042" y="22710"/>
                      <a:pt x="15063" y="22707"/>
                    </a:cubicBezTo>
                    <a:cubicBezTo>
                      <a:pt x="15063" y="22707"/>
                      <a:pt x="15085" y="22704"/>
                      <a:pt x="15106" y="22701"/>
                    </a:cubicBezTo>
                    <a:cubicBezTo>
                      <a:pt x="15075" y="22716"/>
                      <a:pt x="15045" y="22731"/>
                      <a:pt x="15023" y="22734"/>
                    </a:cubicBezTo>
                    <a:cubicBezTo>
                      <a:pt x="15002" y="22737"/>
                      <a:pt x="14993" y="22749"/>
                      <a:pt x="14983" y="22761"/>
                    </a:cubicBezTo>
                    <a:cubicBezTo>
                      <a:pt x="14962" y="22764"/>
                      <a:pt x="14943" y="22788"/>
                      <a:pt x="14879" y="22797"/>
                    </a:cubicBezTo>
                    <a:cubicBezTo>
                      <a:pt x="14851" y="22833"/>
                      <a:pt x="15017" y="22768"/>
                      <a:pt x="14894" y="22828"/>
                    </a:cubicBezTo>
                    <a:cubicBezTo>
                      <a:pt x="14823" y="22870"/>
                      <a:pt x="14900" y="22794"/>
                      <a:pt x="14830" y="22836"/>
                    </a:cubicBezTo>
                    <a:cubicBezTo>
                      <a:pt x="14738" y="22881"/>
                      <a:pt x="14820" y="22849"/>
                      <a:pt x="14875" y="22852"/>
                    </a:cubicBezTo>
                    <a:cubicBezTo>
                      <a:pt x="14845" y="22867"/>
                      <a:pt x="14823" y="22870"/>
                      <a:pt x="14793" y="22885"/>
                    </a:cubicBezTo>
                    <a:cubicBezTo>
                      <a:pt x="14835" y="22879"/>
                      <a:pt x="14930" y="22856"/>
                      <a:pt x="15025" y="22832"/>
                    </a:cubicBezTo>
                    <a:cubicBezTo>
                      <a:pt x="15077" y="22814"/>
                      <a:pt x="15117" y="22787"/>
                      <a:pt x="15160" y="22781"/>
                    </a:cubicBezTo>
                    <a:cubicBezTo>
                      <a:pt x="15212" y="22763"/>
                      <a:pt x="15255" y="22757"/>
                      <a:pt x="15298" y="22751"/>
                    </a:cubicBezTo>
                    <a:cubicBezTo>
                      <a:pt x="15250" y="22714"/>
                      <a:pt x="15369" y="22709"/>
                      <a:pt x="15366" y="22688"/>
                    </a:cubicBezTo>
                    <a:cubicBezTo>
                      <a:pt x="15283" y="22721"/>
                      <a:pt x="15188" y="22744"/>
                      <a:pt x="15096" y="22790"/>
                    </a:cubicBezTo>
                    <a:cubicBezTo>
                      <a:pt x="15033" y="22722"/>
                      <a:pt x="15372" y="22654"/>
                      <a:pt x="15462" y="22588"/>
                    </a:cubicBezTo>
                    <a:cubicBezTo>
                      <a:pt x="15614" y="22589"/>
                      <a:pt x="15482" y="22661"/>
                      <a:pt x="15580" y="22659"/>
                    </a:cubicBezTo>
                    <a:cubicBezTo>
                      <a:pt x="15574" y="22616"/>
                      <a:pt x="15718" y="22630"/>
                      <a:pt x="15764" y="22569"/>
                    </a:cubicBezTo>
                    <a:cubicBezTo>
                      <a:pt x="15703" y="22599"/>
                      <a:pt x="15534" y="22643"/>
                      <a:pt x="15581" y="22583"/>
                    </a:cubicBezTo>
                    <a:cubicBezTo>
                      <a:pt x="15712" y="22587"/>
                      <a:pt x="15682" y="22525"/>
                      <a:pt x="15842" y="22493"/>
                    </a:cubicBezTo>
                    <a:cubicBezTo>
                      <a:pt x="15918" y="22494"/>
                      <a:pt x="15826" y="22539"/>
                      <a:pt x="15911" y="22527"/>
                    </a:cubicBezTo>
                    <a:cubicBezTo>
                      <a:pt x="16013" y="22470"/>
                      <a:pt x="16013" y="22470"/>
                      <a:pt x="16013" y="22470"/>
                    </a:cubicBezTo>
                    <a:cubicBezTo>
                      <a:pt x="15970" y="22476"/>
                      <a:pt x="15936" y="22469"/>
                      <a:pt x="15958" y="22466"/>
                    </a:cubicBezTo>
                    <a:cubicBezTo>
                      <a:pt x="15998" y="22439"/>
                      <a:pt x="16050" y="22421"/>
                      <a:pt x="16090" y="22394"/>
                    </a:cubicBezTo>
                    <a:cubicBezTo>
                      <a:pt x="16142" y="22376"/>
                      <a:pt x="16182" y="22349"/>
                      <a:pt x="16222" y="22322"/>
                    </a:cubicBezTo>
                    <a:cubicBezTo>
                      <a:pt x="16305" y="22289"/>
                      <a:pt x="16409" y="22253"/>
                      <a:pt x="16489" y="22199"/>
                    </a:cubicBezTo>
                    <a:cubicBezTo>
                      <a:pt x="16425" y="22207"/>
                      <a:pt x="16376" y="22247"/>
                      <a:pt x="16311" y="22255"/>
                    </a:cubicBezTo>
                    <a:cubicBezTo>
                      <a:pt x="16413" y="22198"/>
                      <a:pt x="16606" y="22096"/>
                      <a:pt x="16664" y="22121"/>
                    </a:cubicBezTo>
                    <a:cubicBezTo>
                      <a:pt x="16633" y="22136"/>
                      <a:pt x="16603" y="22151"/>
                      <a:pt x="16581" y="22154"/>
                    </a:cubicBezTo>
                    <a:cubicBezTo>
                      <a:pt x="16563" y="22178"/>
                      <a:pt x="16532" y="22193"/>
                      <a:pt x="16513" y="22217"/>
                    </a:cubicBezTo>
                    <a:cubicBezTo>
                      <a:pt x="16495" y="22241"/>
                      <a:pt x="16608" y="22193"/>
                      <a:pt x="16581" y="22230"/>
                    </a:cubicBezTo>
                    <a:cubicBezTo>
                      <a:pt x="16691" y="22161"/>
                      <a:pt x="16787" y="22060"/>
                      <a:pt x="16888" y="22080"/>
                    </a:cubicBezTo>
                    <a:cubicBezTo>
                      <a:pt x="16925" y="22031"/>
                      <a:pt x="16968" y="22025"/>
                      <a:pt x="17010" y="22019"/>
                    </a:cubicBezTo>
                    <a:cubicBezTo>
                      <a:pt x="17008" y="21998"/>
                      <a:pt x="17048" y="21971"/>
                      <a:pt x="17026" y="21974"/>
                    </a:cubicBezTo>
                    <a:cubicBezTo>
                      <a:pt x="17100" y="21953"/>
                      <a:pt x="17180" y="21899"/>
                      <a:pt x="17260" y="21844"/>
                    </a:cubicBezTo>
                    <a:cubicBezTo>
                      <a:pt x="17352" y="21799"/>
                      <a:pt x="17423" y="21757"/>
                      <a:pt x="17477" y="21760"/>
                    </a:cubicBezTo>
                    <a:cubicBezTo>
                      <a:pt x="17508" y="21745"/>
                      <a:pt x="17548" y="21718"/>
                      <a:pt x="17588" y="21691"/>
                    </a:cubicBezTo>
                    <a:cubicBezTo>
                      <a:pt x="17696" y="21600"/>
                      <a:pt x="17696" y="21600"/>
                      <a:pt x="17696" y="21600"/>
                    </a:cubicBezTo>
                    <a:cubicBezTo>
                      <a:pt x="17699" y="21621"/>
                      <a:pt x="17702" y="21643"/>
                      <a:pt x="17692" y="21655"/>
                    </a:cubicBezTo>
                    <a:cubicBezTo>
                      <a:pt x="17763" y="21613"/>
                      <a:pt x="17730" y="21606"/>
                      <a:pt x="17767" y="21558"/>
                    </a:cubicBezTo>
                    <a:cubicBezTo>
                      <a:pt x="17852" y="21546"/>
                      <a:pt x="17815" y="21595"/>
                      <a:pt x="17787" y="21631"/>
                    </a:cubicBezTo>
                    <a:cubicBezTo>
                      <a:pt x="17879" y="21586"/>
                      <a:pt x="17978" y="21508"/>
                      <a:pt x="18024" y="21523"/>
                    </a:cubicBezTo>
                    <a:cubicBezTo>
                      <a:pt x="18030" y="21490"/>
                      <a:pt x="17957" y="21510"/>
                      <a:pt x="18034" y="21435"/>
                    </a:cubicBezTo>
                    <a:cubicBezTo>
                      <a:pt x="17911" y="21495"/>
                      <a:pt x="18012" y="21514"/>
                      <a:pt x="17855" y="21568"/>
                    </a:cubicBezTo>
                    <a:cubicBezTo>
                      <a:pt x="17822" y="21561"/>
                      <a:pt x="17850" y="21525"/>
                      <a:pt x="17908" y="21473"/>
                    </a:cubicBezTo>
                    <a:cubicBezTo>
                      <a:pt x="17979" y="21431"/>
                      <a:pt x="18052" y="21410"/>
                      <a:pt x="18123" y="21368"/>
                    </a:cubicBezTo>
                    <a:cubicBezTo>
                      <a:pt x="18185" y="21338"/>
                      <a:pt x="18267" y="21305"/>
                      <a:pt x="18326" y="21254"/>
                    </a:cubicBezTo>
                    <a:cubicBezTo>
                      <a:pt x="18390" y="21245"/>
                      <a:pt x="18279" y="21314"/>
                      <a:pt x="18230" y="21354"/>
                    </a:cubicBezTo>
                    <a:cubicBezTo>
                      <a:pt x="18304" y="21333"/>
                      <a:pt x="18350" y="21272"/>
                      <a:pt x="18409" y="21221"/>
                    </a:cubicBezTo>
                    <a:cubicBezTo>
                      <a:pt x="18397" y="21211"/>
                      <a:pt x="18387" y="21223"/>
                      <a:pt x="18366" y="21226"/>
                    </a:cubicBezTo>
                    <a:cubicBezTo>
                      <a:pt x="18403" y="21178"/>
                      <a:pt x="18427" y="21196"/>
                      <a:pt x="18425" y="21175"/>
                    </a:cubicBezTo>
                    <a:cubicBezTo>
                      <a:pt x="18486" y="21145"/>
                      <a:pt x="18523" y="21096"/>
                      <a:pt x="18572" y="21057"/>
                    </a:cubicBezTo>
                    <a:cubicBezTo>
                      <a:pt x="18612" y="21030"/>
                      <a:pt x="18662" y="20990"/>
                      <a:pt x="18726" y="20982"/>
                    </a:cubicBezTo>
                    <a:cubicBezTo>
                      <a:pt x="18720" y="20939"/>
                      <a:pt x="18859" y="20833"/>
                      <a:pt x="18883" y="20851"/>
                    </a:cubicBezTo>
                    <a:cubicBezTo>
                      <a:pt x="18899" y="20806"/>
                      <a:pt x="18957" y="20754"/>
                      <a:pt x="19007" y="20715"/>
                    </a:cubicBezTo>
                    <a:cubicBezTo>
                      <a:pt x="19053" y="20654"/>
                      <a:pt x="19124" y="20612"/>
                      <a:pt x="19173" y="20573"/>
                    </a:cubicBezTo>
                    <a:cubicBezTo>
                      <a:pt x="19213" y="20545"/>
                      <a:pt x="19192" y="20548"/>
                      <a:pt x="19198" y="20515"/>
                    </a:cubicBezTo>
                    <a:cubicBezTo>
                      <a:pt x="19290" y="20470"/>
                      <a:pt x="19377" y="20382"/>
                      <a:pt x="19404" y="20422"/>
                    </a:cubicBezTo>
                    <a:cubicBezTo>
                      <a:pt x="19429" y="20364"/>
                      <a:pt x="19457" y="20327"/>
                      <a:pt x="19494" y="20279"/>
                    </a:cubicBezTo>
                    <a:cubicBezTo>
                      <a:pt x="19593" y="20200"/>
                      <a:pt x="19481" y="20346"/>
                      <a:pt x="19552" y="20304"/>
                    </a:cubicBezTo>
                    <a:cubicBezTo>
                      <a:pt x="19595" y="20221"/>
                      <a:pt x="19675" y="20167"/>
                      <a:pt x="19755" y="20113"/>
                    </a:cubicBezTo>
                    <a:cubicBezTo>
                      <a:pt x="19740" y="20082"/>
                      <a:pt x="19796" y="20009"/>
                      <a:pt x="19803" y="19975"/>
                    </a:cubicBezTo>
                    <a:cubicBezTo>
                      <a:pt x="19855" y="19957"/>
                      <a:pt x="19753" y="20091"/>
                      <a:pt x="19845" y="20046"/>
                    </a:cubicBezTo>
                    <a:cubicBezTo>
                      <a:pt x="19815" y="19985"/>
                      <a:pt x="19997" y="19797"/>
                      <a:pt x="20108" y="19727"/>
                    </a:cubicBezTo>
                    <a:cubicBezTo>
                      <a:pt x="20136" y="19691"/>
                      <a:pt x="20142" y="19657"/>
                      <a:pt x="20161" y="19633"/>
                    </a:cubicBezTo>
                    <a:cubicBezTo>
                      <a:pt x="20179" y="19609"/>
                      <a:pt x="20176" y="19587"/>
                      <a:pt x="20226" y="19548"/>
                    </a:cubicBezTo>
                    <a:cubicBezTo>
                      <a:pt x="20228" y="19569"/>
                      <a:pt x="20206" y="19649"/>
                      <a:pt x="20281" y="19551"/>
                    </a:cubicBezTo>
                    <a:cubicBezTo>
                      <a:pt x="20302" y="19548"/>
                      <a:pt x="20277" y="19606"/>
                      <a:pt x="20252" y="19664"/>
                    </a:cubicBezTo>
                    <a:cubicBezTo>
                      <a:pt x="20252" y="19664"/>
                      <a:pt x="20261" y="19652"/>
                      <a:pt x="20270" y="19640"/>
                    </a:cubicBezTo>
                    <a:cubicBezTo>
                      <a:pt x="20280" y="19628"/>
                      <a:pt x="20301" y="19625"/>
                      <a:pt x="20310" y="19613"/>
                    </a:cubicBezTo>
                    <a:cubicBezTo>
                      <a:pt x="20336" y="19555"/>
                      <a:pt x="20296" y="19582"/>
                      <a:pt x="20330" y="19512"/>
                    </a:cubicBezTo>
                    <a:cubicBezTo>
                      <a:pt x="20383" y="19418"/>
                      <a:pt x="20422" y="19467"/>
                      <a:pt x="20499" y="19391"/>
                    </a:cubicBezTo>
                    <a:cubicBezTo>
                      <a:pt x="20533" y="19321"/>
                      <a:pt x="20616" y="19288"/>
                      <a:pt x="20651" y="19218"/>
                    </a:cubicBezTo>
                    <a:cubicBezTo>
                      <a:pt x="20568" y="19251"/>
                      <a:pt x="20533" y="19321"/>
                      <a:pt x="20478" y="19394"/>
                    </a:cubicBezTo>
                    <a:cubicBezTo>
                      <a:pt x="20466" y="19385"/>
                      <a:pt x="20426" y="19412"/>
                      <a:pt x="20386" y="19439"/>
                    </a:cubicBezTo>
                    <a:cubicBezTo>
                      <a:pt x="20454" y="19375"/>
                      <a:pt x="20420" y="19369"/>
                      <a:pt x="20509" y="19302"/>
                    </a:cubicBezTo>
                    <a:cubicBezTo>
                      <a:pt x="20565" y="19230"/>
                      <a:pt x="20457" y="19320"/>
                      <a:pt x="20513" y="19247"/>
                    </a:cubicBezTo>
                    <a:cubicBezTo>
                      <a:pt x="20531" y="19223"/>
                      <a:pt x="20553" y="19220"/>
                      <a:pt x="20581" y="19184"/>
                    </a:cubicBezTo>
                    <a:cubicBezTo>
                      <a:pt x="20611" y="19169"/>
                      <a:pt x="20630" y="19144"/>
                      <a:pt x="20658" y="19108"/>
                    </a:cubicBezTo>
                    <a:cubicBezTo>
                      <a:pt x="20704" y="19047"/>
                      <a:pt x="20760" y="18974"/>
                      <a:pt x="20819" y="18923"/>
                    </a:cubicBezTo>
                    <a:cubicBezTo>
                      <a:pt x="20816" y="18901"/>
                      <a:pt x="20720" y="19002"/>
                      <a:pt x="20704" y="19047"/>
                    </a:cubicBezTo>
                    <a:cubicBezTo>
                      <a:pt x="20637" y="19034"/>
                      <a:pt x="20780" y="18874"/>
                      <a:pt x="20847" y="18810"/>
                    </a:cubicBezTo>
                    <a:cubicBezTo>
                      <a:pt x="20909" y="18780"/>
                      <a:pt x="20754" y="18931"/>
                      <a:pt x="20804" y="18892"/>
                    </a:cubicBezTo>
                    <a:cubicBezTo>
                      <a:pt x="20905" y="18835"/>
                      <a:pt x="20847" y="18810"/>
                      <a:pt x="20915" y="18746"/>
                    </a:cubicBezTo>
                    <a:cubicBezTo>
                      <a:pt x="20889" y="18881"/>
                      <a:pt x="21098" y="18482"/>
                      <a:pt x="21230" y="18410"/>
                    </a:cubicBezTo>
                    <a:cubicBezTo>
                      <a:pt x="21243" y="18342"/>
                      <a:pt x="21312" y="18202"/>
                      <a:pt x="21353" y="18099"/>
                    </a:cubicBezTo>
                    <a:cubicBezTo>
                      <a:pt x="21380" y="18139"/>
                      <a:pt x="21545" y="17822"/>
                      <a:pt x="21549" y="17767"/>
                    </a:cubicBezTo>
                    <a:cubicBezTo>
                      <a:pt x="21567" y="17743"/>
                      <a:pt x="21586" y="17718"/>
                      <a:pt x="21579" y="17752"/>
                    </a:cubicBezTo>
                    <a:cubicBezTo>
                      <a:pt x="21583" y="17697"/>
                      <a:pt x="21642" y="17646"/>
                      <a:pt x="21673" y="17554"/>
                    </a:cubicBezTo>
                    <a:cubicBezTo>
                      <a:pt x="21704" y="17539"/>
                      <a:pt x="21732" y="17503"/>
                      <a:pt x="21747" y="17457"/>
                    </a:cubicBezTo>
                    <a:cubicBezTo>
                      <a:pt x="21763" y="17411"/>
                      <a:pt x="21767" y="17356"/>
                      <a:pt x="21801" y="17286"/>
                    </a:cubicBezTo>
                    <a:cubicBezTo>
                      <a:pt x="21832" y="17271"/>
                      <a:pt x="21816" y="17317"/>
                      <a:pt x="21863" y="17256"/>
                    </a:cubicBezTo>
                    <a:cubicBezTo>
                      <a:pt x="21913" y="17140"/>
                      <a:pt x="21953" y="17037"/>
                      <a:pt x="21997" y="16954"/>
                    </a:cubicBezTo>
                    <a:cubicBezTo>
                      <a:pt x="22050" y="16860"/>
                      <a:pt x="22094" y="16778"/>
                      <a:pt x="22141" y="16641"/>
                    </a:cubicBezTo>
                    <a:cubicBezTo>
                      <a:pt x="22172" y="16626"/>
                      <a:pt x="22156" y="16671"/>
                      <a:pt x="22190" y="16601"/>
                    </a:cubicBezTo>
                    <a:cubicBezTo>
                      <a:pt x="22154" y="16574"/>
                      <a:pt x="22237" y="16464"/>
                      <a:pt x="22296" y="16413"/>
                    </a:cubicBezTo>
                    <a:cubicBezTo>
                      <a:pt x="22244" y="16431"/>
                      <a:pt x="22270" y="16296"/>
                      <a:pt x="22323" y="16202"/>
                    </a:cubicBezTo>
                    <a:cubicBezTo>
                      <a:pt x="22363" y="16175"/>
                      <a:pt x="22273" y="16318"/>
                      <a:pt x="22315" y="16312"/>
                    </a:cubicBezTo>
                    <a:cubicBezTo>
                      <a:pt x="22334" y="16288"/>
                      <a:pt x="22350" y="16242"/>
                      <a:pt x="22368" y="16218"/>
                    </a:cubicBezTo>
                    <a:cubicBezTo>
                      <a:pt x="22363" y="16175"/>
                      <a:pt x="22326" y="16223"/>
                      <a:pt x="22369" y="16141"/>
                    </a:cubicBezTo>
                    <a:cubicBezTo>
                      <a:pt x="22378" y="16129"/>
                      <a:pt x="22356" y="16208"/>
                      <a:pt x="22384" y="16172"/>
                    </a:cubicBezTo>
                    <a:cubicBezTo>
                      <a:pt x="22446" y="16065"/>
                      <a:pt x="22450" y="16010"/>
                      <a:pt x="22429" y="16013"/>
                    </a:cubicBezTo>
                    <a:cubicBezTo>
                      <a:pt x="22448" y="15913"/>
                      <a:pt x="22453" y="16032"/>
                      <a:pt x="22494" y="15928"/>
                    </a:cubicBezTo>
                    <a:cubicBezTo>
                      <a:pt x="22460" y="15922"/>
                      <a:pt x="22482" y="15843"/>
                      <a:pt x="22502" y="15742"/>
                    </a:cubicBezTo>
                    <a:cubicBezTo>
                      <a:pt x="22544" y="15736"/>
                      <a:pt x="22527" y="15684"/>
                      <a:pt x="22573" y="15623"/>
                    </a:cubicBezTo>
                    <a:cubicBezTo>
                      <a:pt x="22549" y="15605"/>
                      <a:pt x="22590" y="15501"/>
                      <a:pt x="22627" y="15452"/>
                    </a:cubicBezTo>
                    <a:cubicBezTo>
                      <a:pt x="22639" y="15462"/>
                      <a:pt x="22611" y="15498"/>
                      <a:pt x="22642" y="15483"/>
                    </a:cubicBezTo>
                    <a:cubicBezTo>
                      <a:pt x="22615" y="15443"/>
                      <a:pt x="22749" y="15142"/>
                      <a:pt x="22676" y="15162"/>
                    </a:cubicBezTo>
                    <a:cubicBezTo>
                      <a:pt x="22722" y="15102"/>
                      <a:pt x="22687" y="14997"/>
                      <a:pt x="22733" y="14937"/>
                    </a:cubicBezTo>
                    <a:cubicBezTo>
                      <a:pt x="22770" y="14888"/>
                      <a:pt x="22732" y="15013"/>
                      <a:pt x="22741" y="15077"/>
                    </a:cubicBezTo>
                    <a:cubicBezTo>
                      <a:pt x="22775" y="15007"/>
                      <a:pt x="22776" y="14931"/>
                      <a:pt x="22810" y="14861"/>
                    </a:cubicBezTo>
                    <a:cubicBezTo>
                      <a:pt x="22747" y="14793"/>
                      <a:pt x="22853" y="14528"/>
                      <a:pt x="22854" y="14452"/>
                    </a:cubicBezTo>
                    <a:cubicBezTo>
                      <a:pt x="22866" y="14461"/>
                      <a:pt x="22847" y="14562"/>
                      <a:pt x="22853" y="14604"/>
                    </a:cubicBezTo>
                    <a:cubicBezTo>
                      <a:pt x="22837" y="14650"/>
                      <a:pt x="22834" y="14629"/>
                      <a:pt x="22840" y="14595"/>
                    </a:cubicBezTo>
                    <a:cubicBezTo>
                      <a:pt x="22797" y="14677"/>
                      <a:pt x="22840" y="14672"/>
                      <a:pt x="22820" y="14772"/>
                    </a:cubicBezTo>
                    <a:cubicBezTo>
                      <a:pt x="22855" y="14626"/>
                      <a:pt x="22853" y="14604"/>
                      <a:pt x="22936" y="14495"/>
                    </a:cubicBezTo>
                    <a:cubicBezTo>
                      <a:pt x="22937" y="14419"/>
                      <a:pt x="22906" y="14510"/>
                      <a:pt x="22900" y="14467"/>
                    </a:cubicBezTo>
                    <a:cubicBezTo>
                      <a:pt x="22918" y="14443"/>
                      <a:pt x="22922" y="14388"/>
                      <a:pt x="22947" y="14330"/>
                    </a:cubicBezTo>
                    <a:cubicBezTo>
                      <a:pt x="22960" y="14263"/>
                      <a:pt x="22970" y="14174"/>
                      <a:pt x="22992" y="14095"/>
                    </a:cubicBezTo>
                    <a:cubicBezTo>
                      <a:pt x="22993" y="14019"/>
                      <a:pt x="23015" y="13939"/>
                      <a:pt x="23016" y="13863"/>
                    </a:cubicBezTo>
                    <a:cubicBezTo>
                      <a:pt x="23029" y="13796"/>
                      <a:pt x="23042" y="13729"/>
                      <a:pt x="23058" y="13683"/>
                    </a:cubicBezTo>
                    <a:cubicBezTo>
                      <a:pt x="23055" y="13661"/>
                      <a:pt x="23057" y="13509"/>
                      <a:pt x="23031" y="13566"/>
                    </a:cubicBezTo>
                    <a:cubicBezTo>
                      <a:pt x="23005" y="13450"/>
                      <a:pt x="23082" y="13374"/>
                      <a:pt x="23025" y="13349"/>
                    </a:cubicBezTo>
                    <a:cubicBezTo>
                      <a:pt x="23050" y="13291"/>
                      <a:pt x="23070" y="13365"/>
                      <a:pt x="23080" y="13353"/>
                    </a:cubicBezTo>
                    <a:cubicBezTo>
                      <a:pt x="23085" y="13396"/>
                      <a:pt x="23057" y="13432"/>
                      <a:pt x="23051" y="13466"/>
                    </a:cubicBezTo>
                    <a:cubicBezTo>
                      <a:pt x="23059" y="13530"/>
                      <a:pt x="23088" y="13417"/>
                      <a:pt x="23074" y="13561"/>
                    </a:cubicBezTo>
                    <a:cubicBezTo>
                      <a:pt x="23099" y="13503"/>
                      <a:pt x="23084" y="13472"/>
                      <a:pt x="23091" y="13439"/>
                    </a:cubicBezTo>
                    <a:cubicBezTo>
                      <a:pt x="23085" y="13396"/>
                      <a:pt x="23092" y="13362"/>
                      <a:pt x="23083" y="13298"/>
                    </a:cubicBezTo>
                    <a:cubicBezTo>
                      <a:pt x="23083" y="13298"/>
                      <a:pt x="23092" y="13286"/>
                      <a:pt x="23111" y="13261"/>
                    </a:cubicBezTo>
                    <a:cubicBezTo>
                      <a:pt x="23090" y="13188"/>
                      <a:pt x="23095" y="13307"/>
                      <a:pt x="23068" y="13267"/>
                    </a:cubicBezTo>
                    <a:cubicBezTo>
                      <a:pt x="23060" y="13203"/>
                      <a:pt x="23085" y="13145"/>
                      <a:pt x="23064" y="13071"/>
                    </a:cubicBezTo>
                    <a:cubicBezTo>
                      <a:pt x="23054" y="13160"/>
                      <a:pt x="23032" y="13239"/>
                      <a:pt x="23019" y="13306"/>
                    </a:cubicBezTo>
                    <a:cubicBezTo>
                      <a:pt x="23009" y="13395"/>
                      <a:pt x="22987" y="13474"/>
                      <a:pt x="22986" y="13551"/>
                    </a:cubicBezTo>
                    <a:cubicBezTo>
                      <a:pt x="22941" y="13709"/>
                      <a:pt x="22930" y="13874"/>
                      <a:pt x="22895" y="14021"/>
                    </a:cubicBezTo>
                    <a:cubicBezTo>
                      <a:pt x="22864" y="14112"/>
                      <a:pt x="22878" y="13969"/>
                      <a:pt x="22855" y="14048"/>
                    </a:cubicBezTo>
                    <a:cubicBezTo>
                      <a:pt x="22833" y="14127"/>
                      <a:pt x="22852" y="14103"/>
                      <a:pt x="22860" y="14167"/>
                    </a:cubicBezTo>
                    <a:cubicBezTo>
                      <a:pt x="22826" y="14237"/>
                      <a:pt x="22818" y="14097"/>
                      <a:pt x="22819" y="14020"/>
                    </a:cubicBezTo>
                    <a:cubicBezTo>
                      <a:pt x="22813" y="13977"/>
                      <a:pt x="22829" y="13932"/>
                      <a:pt x="22845" y="13886"/>
                    </a:cubicBezTo>
                    <a:cubicBezTo>
                      <a:pt x="22861" y="13840"/>
                      <a:pt x="22876" y="13794"/>
                      <a:pt x="22880" y="13739"/>
                    </a:cubicBezTo>
                    <a:cubicBezTo>
                      <a:pt x="22911" y="13648"/>
                      <a:pt x="22931" y="13547"/>
                      <a:pt x="22926" y="13428"/>
                    </a:cubicBezTo>
                    <a:cubicBezTo>
                      <a:pt x="22932" y="13394"/>
                      <a:pt x="22939" y="13361"/>
                      <a:pt x="22957" y="13337"/>
                    </a:cubicBezTo>
                    <a:cubicBezTo>
                      <a:pt x="22955" y="13315"/>
                      <a:pt x="22961" y="13282"/>
                      <a:pt x="22968" y="13248"/>
                    </a:cubicBezTo>
                    <a:cubicBezTo>
                      <a:pt x="22930" y="13297"/>
                      <a:pt x="22940" y="13284"/>
                      <a:pt x="22956" y="13162"/>
                    </a:cubicBezTo>
                    <a:cubicBezTo>
                      <a:pt x="22957" y="13086"/>
                      <a:pt x="22944" y="13153"/>
                      <a:pt x="22926" y="13101"/>
                    </a:cubicBezTo>
                    <a:cubicBezTo>
                      <a:pt x="22995" y="12961"/>
                      <a:pt x="22956" y="12912"/>
                      <a:pt x="22972" y="12789"/>
                    </a:cubicBezTo>
                    <a:cubicBezTo>
                      <a:pt x="22985" y="12722"/>
                      <a:pt x="22994" y="12787"/>
                      <a:pt x="23016" y="12707"/>
                    </a:cubicBezTo>
                    <a:cubicBezTo>
                      <a:pt x="22982" y="12701"/>
                      <a:pt x="22974" y="12637"/>
                      <a:pt x="22984" y="12548"/>
                    </a:cubicBezTo>
                    <a:cubicBezTo>
                      <a:pt x="23000" y="12502"/>
                      <a:pt x="23010" y="12664"/>
                      <a:pt x="23030" y="12564"/>
                    </a:cubicBezTo>
                    <a:cubicBezTo>
                      <a:pt x="23015" y="12533"/>
                      <a:pt x="23021" y="12499"/>
                      <a:pt x="23031" y="12487"/>
                    </a:cubicBezTo>
                    <a:cubicBezTo>
                      <a:pt x="23018" y="12478"/>
                      <a:pt x="23003" y="12447"/>
                      <a:pt x="22998" y="12404"/>
                    </a:cubicBezTo>
                    <a:cubicBezTo>
                      <a:pt x="23004" y="12371"/>
                      <a:pt x="23020" y="12325"/>
                      <a:pt x="23014" y="12282"/>
                    </a:cubicBezTo>
                    <a:cubicBezTo>
                      <a:pt x="23021" y="12249"/>
                      <a:pt x="23018" y="12227"/>
                      <a:pt x="23024" y="12194"/>
                    </a:cubicBezTo>
                    <a:cubicBezTo>
                      <a:pt x="23037" y="12127"/>
                      <a:pt x="23041" y="12072"/>
                      <a:pt x="23054" y="12004"/>
                    </a:cubicBezTo>
                    <a:cubicBezTo>
                      <a:pt x="23005" y="11967"/>
                      <a:pt x="23068" y="11861"/>
                      <a:pt x="23044" y="11766"/>
                    </a:cubicBezTo>
                    <a:cubicBezTo>
                      <a:pt x="23060" y="11720"/>
                      <a:pt x="23043" y="11842"/>
                      <a:pt x="23070" y="11882"/>
                    </a:cubicBezTo>
                    <a:cubicBezTo>
                      <a:pt x="23065" y="11839"/>
                      <a:pt x="23071" y="11806"/>
                      <a:pt x="23066" y="11763"/>
                    </a:cubicBezTo>
                    <a:cubicBezTo>
                      <a:pt x="23060" y="11720"/>
                      <a:pt x="23066" y="11687"/>
                      <a:pt x="23073" y="11653"/>
                    </a:cubicBezTo>
                    <a:cubicBezTo>
                      <a:pt x="23067" y="11610"/>
                      <a:pt x="23028" y="11561"/>
                      <a:pt x="23044" y="11515"/>
                    </a:cubicBezTo>
                    <a:cubicBezTo>
                      <a:pt x="23004" y="11542"/>
                      <a:pt x="23010" y="11509"/>
                      <a:pt x="22975" y="11405"/>
                    </a:cubicBezTo>
                    <a:cubicBezTo>
                      <a:pt x="22985" y="11567"/>
                      <a:pt x="22951" y="11637"/>
                      <a:pt x="22989" y="11762"/>
                    </a:cubicBezTo>
                    <a:cubicBezTo>
                      <a:pt x="22955" y="11832"/>
                      <a:pt x="22971" y="11710"/>
                      <a:pt x="22937" y="11780"/>
                    </a:cubicBezTo>
                    <a:cubicBezTo>
                      <a:pt x="22970" y="11863"/>
                      <a:pt x="22982" y="11872"/>
                      <a:pt x="23001" y="11848"/>
                    </a:cubicBezTo>
                    <a:cubicBezTo>
                      <a:pt x="23006" y="11891"/>
                      <a:pt x="23003" y="11946"/>
                      <a:pt x="23020" y="11998"/>
                    </a:cubicBezTo>
                    <a:cubicBezTo>
                      <a:pt x="22978" y="12004"/>
                      <a:pt x="22995" y="12132"/>
                      <a:pt x="23003" y="12197"/>
                    </a:cubicBezTo>
                    <a:cubicBezTo>
                      <a:pt x="22978" y="12255"/>
                      <a:pt x="22980" y="12102"/>
                      <a:pt x="22946" y="12095"/>
                    </a:cubicBezTo>
                    <a:cubicBezTo>
                      <a:pt x="22945" y="12172"/>
                      <a:pt x="22957" y="12181"/>
                      <a:pt x="22972" y="12212"/>
                    </a:cubicBezTo>
                    <a:cubicBezTo>
                      <a:pt x="22975" y="12233"/>
                      <a:pt x="22966" y="12245"/>
                      <a:pt x="22959" y="12279"/>
                    </a:cubicBezTo>
                    <a:cubicBezTo>
                      <a:pt x="22944" y="12325"/>
                      <a:pt x="22937" y="12358"/>
                      <a:pt x="22934" y="12413"/>
                    </a:cubicBezTo>
                    <a:cubicBezTo>
                      <a:pt x="22946" y="12422"/>
                      <a:pt x="22966" y="12496"/>
                      <a:pt x="22975" y="12560"/>
                    </a:cubicBezTo>
                    <a:cubicBezTo>
                      <a:pt x="22944" y="12575"/>
                      <a:pt x="22929" y="12545"/>
                      <a:pt x="22907" y="12624"/>
                    </a:cubicBezTo>
                    <a:cubicBezTo>
                      <a:pt x="22925" y="12676"/>
                      <a:pt x="22900" y="12734"/>
                      <a:pt x="22896" y="12789"/>
                    </a:cubicBezTo>
                    <a:cubicBezTo>
                      <a:pt x="22881" y="12758"/>
                      <a:pt x="22865" y="12804"/>
                      <a:pt x="22853" y="12795"/>
                    </a:cubicBezTo>
                    <a:cubicBezTo>
                      <a:pt x="22846" y="12905"/>
                      <a:pt x="22839" y="13015"/>
                      <a:pt x="22831" y="13125"/>
                    </a:cubicBezTo>
                    <a:cubicBezTo>
                      <a:pt x="22812" y="13225"/>
                      <a:pt x="22795" y="13347"/>
                      <a:pt x="22776" y="13448"/>
                    </a:cubicBezTo>
                    <a:cubicBezTo>
                      <a:pt x="22793" y="13577"/>
                      <a:pt x="22722" y="13695"/>
                      <a:pt x="22739" y="13824"/>
                    </a:cubicBezTo>
                    <a:cubicBezTo>
                      <a:pt x="22686" y="13918"/>
                      <a:pt x="22669" y="14040"/>
                      <a:pt x="22643" y="14175"/>
                    </a:cubicBezTo>
                    <a:cubicBezTo>
                      <a:pt x="22640" y="14230"/>
                      <a:pt x="22636" y="14285"/>
                      <a:pt x="22623" y="14352"/>
                    </a:cubicBezTo>
                    <a:cubicBezTo>
                      <a:pt x="22607" y="14398"/>
                      <a:pt x="22592" y="14443"/>
                      <a:pt x="22552" y="14470"/>
                    </a:cubicBezTo>
                    <a:cubicBezTo>
                      <a:pt x="22569" y="14523"/>
                      <a:pt x="22551" y="14547"/>
                      <a:pt x="22556" y="14590"/>
                    </a:cubicBezTo>
                    <a:cubicBezTo>
                      <a:pt x="22519" y="14638"/>
                      <a:pt x="22504" y="14684"/>
                      <a:pt x="22478" y="14742"/>
                    </a:cubicBezTo>
                    <a:cubicBezTo>
                      <a:pt x="22489" y="14653"/>
                      <a:pt x="22526" y="14605"/>
                      <a:pt x="22496" y="14543"/>
                    </a:cubicBezTo>
                    <a:cubicBezTo>
                      <a:pt x="22514" y="14596"/>
                      <a:pt x="22524" y="14507"/>
                      <a:pt x="22537" y="14440"/>
                    </a:cubicBezTo>
                    <a:cubicBezTo>
                      <a:pt x="22528" y="14376"/>
                      <a:pt x="22518" y="14464"/>
                      <a:pt x="22502" y="14510"/>
                    </a:cubicBezTo>
                    <a:cubicBezTo>
                      <a:pt x="22506" y="14455"/>
                      <a:pt x="22500" y="14412"/>
                      <a:pt x="22516" y="14366"/>
                    </a:cubicBezTo>
                    <a:cubicBezTo>
                      <a:pt x="22532" y="14321"/>
                      <a:pt x="22547" y="14275"/>
                      <a:pt x="22551" y="14220"/>
                    </a:cubicBezTo>
                    <a:cubicBezTo>
                      <a:pt x="22570" y="14196"/>
                      <a:pt x="22553" y="14318"/>
                      <a:pt x="22547" y="14351"/>
                    </a:cubicBezTo>
                    <a:cubicBezTo>
                      <a:pt x="22577" y="14336"/>
                      <a:pt x="22592" y="14116"/>
                      <a:pt x="22611" y="14015"/>
                    </a:cubicBezTo>
                    <a:cubicBezTo>
                      <a:pt x="22583" y="14052"/>
                      <a:pt x="22601" y="14104"/>
                      <a:pt x="22564" y="14153"/>
                    </a:cubicBezTo>
                    <a:cubicBezTo>
                      <a:pt x="22596" y="14061"/>
                      <a:pt x="22596" y="13985"/>
                      <a:pt x="22600" y="13930"/>
                    </a:cubicBezTo>
                    <a:cubicBezTo>
                      <a:pt x="22606" y="13896"/>
                      <a:pt x="22604" y="13875"/>
                      <a:pt x="22598" y="13832"/>
                    </a:cubicBezTo>
                    <a:cubicBezTo>
                      <a:pt x="22604" y="13798"/>
                      <a:pt x="22611" y="13765"/>
                      <a:pt x="22614" y="13710"/>
                    </a:cubicBezTo>
                    <a:cubicBezTo>
                      <a:pt x="22630" y="13664"/>
                      <a:pt x="22622" y="13850"/>
                      <a:pt x="22654" y="13759"/>
                    </a:cubicBezTo>
                    <a:cubicBezTo>
                      <a:pt x="22648" y="13716"/>
                      <a:pt x="22645" y="13695"/>
                      <a:pt x="22642" y="13673"/>
                    </a:cubicBezTo>
                    <a:cubicBezTo>
                      <a:pt x="22674" y="13582"/>
                      <a:pt x="22672" y="13484"/>
                      <a:pt x="22682" y="13395"/>
                    </a:cubicBezTo>
                    <a:cubicBezTo>
                      <a:pt x="22688" y="13362"/>
                      <a:pt x="22698" y="13350"/>
                      <a:pt x="22695" y="13328"/>
                    </a:cubicBezTo>
                    <a:cubicBezTo>
                      <a:pt x="22692" y="13307"/>
                      <a:pt x="22689" y="13285"/>
                      <a:pt x="22686" y="13264"/>
                    </a:cubicBezTo>
                    <a:cubicBezTo>
                      <a:pt x="22693" y="13230"/>
                      <a:pt x="22687" y="13188"/>
                      <a:pt x="22694" y="13154"/>
                    </a:cubicBezTo>
                    <a:cubicBezTo>
                      <a:pt x="22711" y="13283"/>
                      <a:pt x="22728" y="13084"/>
                      <a:pt x="22735" y="12974"/>
                    </a:cubicBezTo>
                    <a:cubicBezTo>
                      <a:pt x="22723" y="12965"/>
                      <a:pt x="22705" y="12913"/>
                      <a:pt x="22704" y="12989"/>
                    </a:cubicBezTo>
                    <a:cubicBezTo>
                      <a:pt x="22663" y="12842"/>
                      <a:pt x="22749" y="12830"/>
                      <a:pt x="22711" y="12705"/>
                    </a:cubicBezTo>
                    <a:cubicBezTo>
                      <a:pt x="22736" y="12647"/>
                      <a:pt x="22751" y="12678"/>
                      <a:pt x="22775" y="12696"/>
                    </a:cubicBezTo>
                    <a:cubicBezTo>
                      <a:pt x="22778" y="12641"/>
                      <a:pt x="22755" y="12546"/>
                      <a:pt x="22734" y="12549"/>
                    </a:cubicBezTo>
                    <a:cubicBezTo>
                      <a:pt x="22722" y="12463"/>
                      <a:pt x="22788" y="12302"/>
                      <a:pt x="22742" y="12286"/>
                    </a:cubicBezTo>
                    <a:cubicBezTo>
                      <a:pt x="22737" y="12243"/>
                      <a:pt x="22763" y="12109"/>
                      <a:pt x="22778" y="12140"/>
                    </a:cubicBezTo>
                    <a:cubicBezTo>
                      <a:pt x="22763" y="12109"/>
                      <a:pt x="22751" y="12023"/>
                      <a:pt x="22740" y="11938"/>
                    </a:cubicBezTo>
                    <a:cubicBezTo>
                      <a:pt x="22734" y="11895"/>
                      <a:pt x="22750" y="11849"/>
                      <a:pt x="22754" y="11794"/>
                    </a:cubicBezTo>
                    <a:cubicBezTo>
                      <a:pt x="22748" y="11751"/>
                      <a:pt x="22752" y="11696"/>
                      <a:pt x="22746" y="11653"/>
                    </a:cubicBezTo>
                    <a:cubicBezTo>
                      <a:pt x="22772" y="11770"/>
                      <a:pt x="22769" y="11748"/>
                      <a:pt x="22805" y="11853"/>
                    </a:cubicBezTo>
                    <a:cubicBezTo>
                      <a:pt x="22827" y="11773"/>
                      <a:pt x="22819" y="11709"/>
                      <a:pt x="22832" y="11642"/>
                    </a:cubicBezTo>
                    <a:cubicBezTo>
                      <a:pt x="22823" y="11578"/>
                      <a:pt x="22785" y="11703"/>
                      <a:pt x="22807" y="11623"/>
                    </a:cubicBezTo>
                    <a:cubicBezTo>
                      <a:pt x="22768" y="11574"/>
                      <a:pt x="22809" y="11721"/>
                      <a:pt x="22812" y="11743"/>
                    </a:cubicBezTo>
                    <a:cubicBezTo>
                      <a:pt x="22769" y="11748"/>
                      <a:pt x="22738" y="11513"/>
                      <a:pt x="22770" y="11421"/>
                    </a:cubicBezTo>
                    <a:cubicBezTo>
                      <a:pt x="22764" y="11378"/>
                      <a:pt x="22758" y="11336"/>
                      <a:pt x="22756" y="11314"/>
                    </a:cubicBezTo>
                    <a:cubicBezTo>
                      <a:pt x="22750" y="11271"/>
                      <a:pt x="22735" y="11241"/>
                      <a:pt x="22720" y="11210"/>
                    </a:cubicBezTo>
                    <a:cubicBezTo>
                      <a:pt x="22699" y="11136"/>
                      <a:pt x="22691" y="11072"/>
                      <a:pt x="22704" y="11005"/>
                    </a:cubicBezTo>
                    <a:cubicBezTo>
                      <a:pt x="22689" y="10974"/>
                      <a:pt x="22674" y="10944"/>
                      <a:pt x="22671" y="10922"/>
                    </a:cubicBezTo>
                    <a:cubicBezTo>
                      <a:pt x="22672" y="10846"/>
                      <a:pt x="22693" y="10919"/>
                      <a:pt x="22705" y="10929"/>
                    </a:cubicBezTo>
                    <a:cubicBezTo>
                      <a:pt x="22699" y="10886"/>
                      <a:pt x="22693" y="10843"/>
                      <a:pt x="22688" y="10800"/>
                    </a:cubicBezTo>
                    <a:cubicBezTo>
                      <a:pt x="22676" y="10791"/>
                      <a:pt x="22661" y="10760"/>
                      <a:pt x="22658" y="10739"/>
                    </a:cubicBezTo>
                    <a:cubicBezTo>
                      <a:pt x="22655" y="10717"/>
                      <a:pt x="22664" y="10705"/>
                      <a:pt x="22661" y="10684"/>
                    </a:cubicBezTo>
                    <a:cubicBezTo>
                      <a:pt x="22677" y="10638"/>
                      <a:pt x="22694" y="10767"/>
                      <a:pt x="22706" y="10776"/>
                    </a:cubicBezTo>
                    <a:cubicBezTo>
                      <a:pt x="22701" y="10733"/>
                      <a:pt x="22692" y="10669"/>
                      <a:pt x="22674" y="10617"/>
                    </a:cubicBezTo>
                    <a:cubicBezTo>
                      <a:pt x="22656" y="10564"/>
                      <a:pt x="22660" y="10509"/>
                      <a:pt x="22642" y="10457"/>
                    </a:cubicBezTo>
                    <a:cubicBezTo>
                      <a:pt x="22619" y="10362"/>
                      <a:pt x="22617" y="10265"/>
                      <a:pt x="22630" y="10197"/>
                    </a:cubicBezTo>
                    <a:cubicBezTo>
                      <a:pt x="22621" y="10133"/>
                      <a:pt x="22601" y="10060"/>
                      <a:pt x="22571" y="9998"/>
                    </a:cubicBezTo>
                    <a:cubicBezTo>
                      <a:pt x="22567" y="10053"/>
                      <a:pt x="22558" y="10065"/>
                      <a:pt x="22540" y="10013"/>
                    </a:cubicBezTo>
                    <a:cubicBezTo>
                      <a:pt x="22547" y="9980"/>
                      <a:pt x="22526" y="9906"/>
                      <a:pt x="22515" y="9820"/>
                    </a:cubicBezTo>
                    <a:cubicBezTo>
                      <a:pt x="22509" y="9778"/>
                      <a:pt x="22503" y="9735"/>
                      <a:pt x="22488" y="9704"/>
                    </a:cubicBezTo>
                    <a:cubicBezTo>
                      <a:pt x="22470" y="9652"/>
                      <a:pt x="22477" y="9618"/>
                      <a:pt x="22471" y="9576"/>
                    </a:cubicBezTo>
                    <a:cubicBezTo>
                      <a:pt x="22498" y="9615"/>
                      <a:pt x="22538" y="9665"/>
                      <a:pt x="22522" y="9710"/>
                    </a:cubicBezTo>
                    <a:cubicBezTo>
                      <a:pt x="22538" y="9665"/>
                      <a:pt x="22479" y="9466"/>
                      <a:pt x="22464" y="9358"/>
                    </a:cubicBezTo>
                    <a:cubicBezTo>
                      <a:pt x="22407" y="9257"/>
                      <a:pt x="22473" y="9423"/>
                      <a:pt x="22454" y="9447"/>
                    </a:cubicBezTo>
                    <a:cubicBezTo>
                      <a:pt x="22415" y="9398"/>
                      <a:pt x="22416" y="9321"/>
                      <a:pt x="22386" y="9260"/>
                    </a:cubicBezTo>
                    <a:cubicBezTo>
                      <a:pt x="22377" y="9272"/>
                      <a:pt x="22367" y="9284"/>
                      <a:pt x="22340" y="9244"/>
                    </a:cubicBezTo>
                    <a:cubicBezTo>
                      <a:pt x="22337" y="9299"/>
                      <a:pt x="22361" y="9318"/>
                      <a:pt x="22340" y="9321"/>
                    </a:cubicBezTo>
                    <a:cubicBezTo>
                      <a:pt x="22337" y="9299"/>
                      <a:pt x="22322" y="9269"/>
                      <a:pt x="22298" y="9250"/>
                    </a:cubicBezTo>
                    <a:cubicBezTo>
                      <a:pt x="22326" y="9137"/>
                      <a:pt x="22302" y="9119"/>
                      <a:pt x="22285" y="8990"/>
                    </a:cubicBezTo>
                    <a:cubicBezTo>
                      <a:pt x="22336" y="9049"/>
                      <a:pt x="22314" y="9128"/>
                      <a:pt x="22365" y="9186"/>
                    </a:cubicBezTo>
                    <a:cubicBezTo>
                      <a:pt x="22369" y="9131"/>
                      <a:pt x="22342" y="9091"/>
                      <a:pt x="22346" y="9036"/>
                    </a:cubicBezTo>
                    <a:cubicBezTo>
                      <a:pt x="22342" y="9091"/>
                      <a:pt x="22264" y="8917"/>
                      <a:pt x="22244" y="8843"/>
                    </a:cubicBezTo>
                    <a:cubicBezTo>
                      <a:pt x="22250" y="8809"/>
                      <a:pt x="22256" y="8852"/>
                      <a:pt x="22280" y="8871"/>
                    </a:cubicBezTo>
                    <a:cubicBezTo>
                      <a:pt x="22293" y="8804"/>
                      <a:pt x="22245" y="8767"/>
                      <a:pt x="22257" y="8699"/>
                    </a:cubicBezTo>
                    <a:cubicBezTo>
                      <a:pt x="22233" y="8681"/>
                      <a:pt x="22245" y="8767"/>
                      <a:pt x="22232" y="8757"/>
                    </a:cubicBezTo>
                    <a:cubicBezTo>
                      <a:pt x="22202" y="8696"/>
                      <a:pt x="22182" y="8622"/>
                      <a:pt x="22161" y="8549"/>
                    </a:cubicBezTo>
                    <a:cubicBezTo>
                      <a:pt x="22131" y="8488"/>
                      <a:pt x="22111" y="8414"/>
                      <a:pt x="22081" y="8353"/>
                    </a:cubicBezTo>
                    <a:cubicBezTo>
                      <a:pt x="22059" y="8355"/>
                      <a:pt x="22126" y="8445"/>
                      <a:pt x="22122" y="8500"/>
                    </a:cubicBezTo>
                    <a:cubicBezTo>
                      <a:pt x="22125" y="8521"/>
                      <a:pt x="22113" y="8512"/>
                      <a:pt x="22116" y="8533"/>
                    </a:cubicBezTo>
                    <a:cubicBezTo>
                      <a:pt x="22101" y="8426"/>
                      <a:pt x="22056" y="8410"/>
                      <a:pt x="22008" y="8297"/>
                    </a:cubicBezTo>
                    <a:cubicBezTo>
                      <a:pt x="21977" y="8312"/>
                      <a:pt x="22022" y="8404"/>
                      <a:pt x="22059" y="8432"/>
                    </a:cubicBezTo>
                    <a:cubicBezTo>
                      <a:pt x="22082" y="8527"/>
                      <a:pt x="21995" y="8364"/>
                      <a:pt x="22043" y="8478"/>
                    </a:cubicBezTo>
                    <a:cubicBezTo>
                      <a:pt x="22004" y="8428"/>
                      <a:pt x="21944" y="8306"/>
                      <a:pt x="21946" y="8403"/>
                    </a:cubicBezTo>
                  </a:path>
                </a:pathLst>
              </a:custGeom>
              <a:blipFill>
                <a:blip r:embed="rId5"/>
                <a:stretch>
                  <a:fillRect l="-45" t="-24713" r="-45" b="-2457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grpSp>
        <p:cxnSp>
          <p:nvCxnSpPr>
            <p:cNvPr id="8" name="直接连接符 7">
              <a:extLst>
                <a:ext uri="{FF2B5EF4-FFF2-40B4-BE49-F238E27FC236}">
                  <a16:creationId xmlns:a16="http://schemas.microsoft.com/office/drawing/2014/main" id="{1CC6F4BE-FB0C-4115-BDFD-2DFF6EC86454}"/>
                </a:ext>
              </a:extLst>
            </p:cNvPr>
            <p:cNvCxnSpPr/>
            <p:nvPr/>
          </p:nvCxnSpPr>
          <p:spPr>
            <a:xfrm>
              <a:off x="6359227" y="3134003"/>
              <a:ext cx="473638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9" name="îṣḷiḋè">
              <a:extLst>
                <a:ext uri="{FF2B5EF4-FFF2-40B4-BE49-F238E27FC236}">
                  <a16:creationId xmlns:a16="http://schemas.microsoft.com/office/drawing/2014/main" id="{3E2513DF-DDFA-4B65-85D9-D3C8D9765288}"/>
                </a:ext>
              </a:extLst>
            </p:cNvPr>
            <p:cNvGrpSpPr/>
            <p:nvPr/>
          </p:nvGrpSpPr>
          <p:grpSpPr>
            <a:xfrm>
              <a:off x="5694078" y="2232716"/>
              <a:ext cx="4553071" cy="801419"/>
              <a:chOff x="5696809" y="2232716"/>
              <a:chExt cx="4553071" cy="801419"/>
            </a:xfrm>
          </p:grpSpPr>
          <p:grpSp>
            <p:nvGrpSpPr>
              <p:cNvPr id="21" name="ïṧľîďê">
                <a:extLst>
                  <a:ext uri="{FF2B5EF4-FFF2-40B4-BE49-F238E27FC236}">
                    <a16:creationId xmlns:a16="http://schemas.microsoft.com/office/drawing/2014/main" id="{04E61C6A-BDCA-4044-9242-40B3E352F105}"/>
                  </a:ext>
                </a:extLst>
              </p:cNvPr>
              <p:cNvGrpSpPr/>
              <p:nvPr/>
            </p:nvGrpSpPr>
            <p:grpSpPr>
              <a:xfrm>
                <a:off x="6267492" y="2232716"/>
                <a:ext cx="3982388" cy="801419"/>
                <a:chOff x="6267492" y="2541280"/>
                <a:chExt cx="3982388" cy="801419"/>
              </a:xfrm>
            </p:grpSpPr>
            <p:sp>
              <p:nvSpPr>
                <p:cNvPr id="23" name="iṧḷîḋé">
                  <a:extLst>
                    <a:ext uri="{FF2B5EF4-FFF2-40B4-BE49-F238E27FC236}">
                      <a16:creationId xmlns:a16="http://schemas.microsoft.com/office/drawing/2014/main" id="{3495B739-E5A7-4F4A-95FD-24BDFE4B18B1}"/>
                    </a:ext>
                  </a:extLst>
                </p:cNvPr>
                <p:cNvSpPr txBox="1"/>
                <p:nvPr/>
              </p:nvSpPr>
              <p:spPr bwMode="auto">
                <a:xfrm>
                  <a:off x="6267492" y="2541280"/>
                  <a:ext cx="3982388" cy="3924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92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spcBef>
                      <a:spcPct val="0"/>
                    </a:spcBef>
                  </a:pPr>
                  <a:r>
                    <a:rPr lang="zh-CN" altLang="en-US" b="1" dirty="0"/>
                    <a:t>编程</a:t>
                  </a:r>
                  <a:endParaRPr lang="en-US" altLang="zh-CN" b="1" dirty="0"/>
                </a:p>
              </p:txBody>
            </p:sp>
            <p:sp>
              <p:nvSpPr>
                <p:cNvPr id="24" name="î$liḍe">
                  <a:extLst>
                    <a:ext uri="{FF2B5EF4-FFF2-40B4-BE49-F238E27FC236}">
                      <a16:creationId xmlns:a16="http://schemas.microsoft.com/office/drawing/2014/main" id="{AC321F9B-F99D-44D6-95EE-4CF3F8A760F8}"/>
                    </a:ext>
                  </a:extLst>
                </p:cNvPr>
                <p:cNvSpPr/>
                <p:nvPr/>
              </p:nvSpPr>
              <p:spPr bwMode="auto">
                <a:xfrm>
                  <a:off x="6267492" y="2933682"/>
                  <a:ext cx="3982388" cy="40901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t>函数式编程是一种全新的编程思维方式</a:t>
                  </a:r>
                  <a:endParaRPr lang="en-US" altLang="zh-CN" sz="1100" dirty="0"/>
                </a:p>
              </p:txBody>
            </p:sp>
          </p:grpSp>
          <p:sp>
            <p:nvSpPr>
              <p:cNvPr id="22" name="îṩľïḍe">
                <a:extLst>
                  <a:ext uri="{FF2B5EF4-FFF2-40B4-BE49-F238E27FC236}">
                    <a16:creationId xmlns:a16="http://schemas.microsoft.com/office/drawing/2014/main" id="{25B4E86B-62E8-411D-A990-AF25C4CAC194}"/>
                  </a:ext>
                </a:extLst>
              </p:cNvPr>
              <p:cNvSpPr/>
              <p:nvPr/>
            </p:nvSpPr>
            <p:spPr>
              <a:xfrm>
                <a:off x="5696809" y="2371896"/>
                <a:ext cx="523058" cy="523058"/>
              </a:xfrm>
              <a:prstGeom prst="ellipse">
                <a:avLst/>
              </a:prstGeom>
              <a:noFill/>
              <a:ln w="22225">
                <a:solidFill>
                  <a:schemeClr val="bg1">
                    <a:lumMod val="75000"/>
                  </a:schemeClr>
                </a:solidFill>
              </a:ln>
            </p:spPr>
            <p:txBody>
              <a:bodyPr rot="0" spcFirstLastPara="0" vert="horz" wrap="square" lIns="91440" tIns="45720" rIns="91440" bIns="45720" numCol="1" spcCol="0" rtlCol="0" fromWordArt="0" anchor="ctr" anchorCtr="0" forceAA="0" compatLnSpc="1">
                <a:prstTxWarp prst="textNoShape">
                  <a:avLst/>
                </a:prstTxWarp>
                <a:normAutofit fontScale="6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buSzPct val="25000"/>
                </a:pPr>
                <a:r>
                  <a:rPr lang="en-US" altLang="zh-CN" b="1" i="1"/>
                  <a:t>0</a:t>
                </a:r>
                <a:r>
                  <a:rPr lang="en-US" altLang="zh-CN" sz="100" b="1" i="1"/>
                  <a:t> </a:t>
                </a:r>
                <a:r>
                  <a:rPr lang="en-US" altLang="zh-CN" b="1" i="1"/>
                  <a:t>1</a:t>
                </a:r>
                <a:endParaRPr lang="zh-CN" altLang="en-US" b="1" i="1" dirty="0"/>
              </a:p>
            </p:txBody>
          </p:sp>
        </p:grpSp>
        <p:grpSp>
          <p:nvGrpSpPr>
            <p:cNvPr id="10" name="ï$1îďe">
              <a:extLst>
                <a:ext uri="{FF2B5EF4-FFF2-40B4-BE49-F238E27FC236}">
                  <a16:creationId xmlns:a16="http://schemas.microsoft.com/office/drawing/2014/main" id="{37D220C2-86B4-48E2-8E23-ECEF73FFF604}"/>
                </a:ext>
              </a:extLst>
            </p:cNvPr>
            <p:cNvGrpSpPr/>
            <p:nvPr/>
          </p:nvGrpSpPr>
          <p:grpSpPr>
            <a:xfrm>
              <a:off x="5694078" y="3233871"/>
              <a:ext cx="4553071" cy="801419"/>
              <a:chOff x="5696809" y="3233871"/>
              <a:chExt cx="4553071" cy="801419"/>
            </a:xfrm>
          </p:grpSpPr>
          <p:grpSp>
            <p:nvGrpSpPr>
              <p:cNvPr id="17" name="ïśḷiḋè">
                <a:extLst>
                  <a:ext uri="{FF2B5EF4-FFF2-40B4-BE49-F238E27FC236}">
                    <a16:creationId xmlns:a16="http://schemas.microsoft.com/office/drawing/2014/main" id="{842F461F-C4C5-4495-9350-7F80B60EB77D}"/>
                  </a:ext>
                </a:extLst>
              </p:cNvPr>
              <p:cNvGrpSpPr/>
              <p:nvPr/>
            </p:nvGrpSpPr>
            <p:grpSpPr>
              <a:xfrm>
                <a:off x="6267492" y="3233871"/>
                <a:ext cx="3982388" cy="801419"/>
                <a:chOff x="6267492" y="3590043"/>
                <a:chExt cx="3982388" cy="801419"/>
              </a:xfrm>
            </p:grpSpPr>
            <p:sp>
              <p:nvSpPr>
                <p:cNvPr id="19" name="îš1îḍè">
                  <a:extLst>
                    <a:ext uri="{FF2B5EF4-FFF2-40B4-BE49-F238E27FC236}">
                      <a16:creationId xmlns:a16="http://schemas.microsoft.com/office/drawing/2014/main" id="{3495B739-E5A7-4F4A-95FD-24BDFE4B18B1}"/>
                    </a:ext>
                  </a:extLst>
                </p:cNvPr>
                <p:cNvSpPr txBox="1"/>
                <p:nvPr/>
              </p:nvSpPr>
              <p:spPr bwMode="auto">
                <a:xfrm>
                  <a:off x="6267492" y="3590043"/>
                  <a:ext cx="3982388" cy="3924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92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spcBef>
                      <a:spcPct val="0"/>
                    </a:spcBef>
                  </a:pPr>
                  <a:r>
                    <a:rPr lang="zh-CN" altLang="en-US" b="1" dirty="0"/>
                    <a:t>兼容性</a:t>
                  </a:r>
                  <a:endParaRPr lang="en-US" altLang="zh-CN" b="1" dirty="0"/>
                </a:p>
              </p:txBody>
            </p:sp>
            <p:sp>
              <p:nvSpPr>
                <p:cNvPr id="20" name="iŝḷîḍe">
                  <a:extLst>
                    <a:ext uri="{FF2B5EF4-FFF2-40B4-BE49-F238E27FC236}">
                      <a16:creationId xmlns:a16="http://schemas.microsoft.com/office/drawing/2014/main" id="{AC321F9B-F99D-44D6-95EE-4CF3F8A760F8}"/>
                    </a:ext>
                  </a:extLst>
                </p:cNvPr>
                <p:cNvSpPr/>
                <p:nvPr/>
              </p:nvSpPr>
              <p:spPr bwMode="auto">
                <a:xfrm>
                  <a:off x="6267492" y="3982445"/>
                  <a:ext cx="3982388" cy="40901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dirty="0"/>
                    <a:t>java</a:t>
                  </a:r>
                  <a:r>
                    <a:rPr lang="zh-CN" altLang="en-US" sz="1100" dirty="0"/>
                    <a:t>从 </a:t>
                  </a:r>
                  <a:r>
                    <a:rPr lang="en-US" altLang="zh-CN" sz="1100" dirty="0"/>
                    <a:t>jdk1.8</a:t>
                  </a:r>
                  <a:r>
                    <a:rPr lang="zh-CN" altLang="en-US" sz="1100" dirty="0"/>
                    <a:t>开始引入函数式编程，与公司规定</a:t>
                  </a:r>
                  <a:r>
                    <a:rPr lang="en-US" altLang="zh-CN" sz="1100" dirty="0"/>
                    <a:t>java</a:t>
                  </a:r>
                  <a:r>
                    <a:rPr lang="zh-CN" altLang="en-US" sz="1100" dirty="0"/>
                    <a:t>版本一致</a:t>
                  </a:r>
                  <a:endParaRPr lang="en-US" altLang="zh-CN" sz="1100" dirty="0"/>
                </a:p>
              </p:txBody>
            </p:sp>
          </p:grpSp>
          <p:sp>
            <p:nvSpPr>
              <p:cNvPr id="18" name="ïslïḓè">
                <a:extLst>
                  <a:ext uri="{FF2B5EF4-FFF2-40B4-BE49-F238E27FC236}">
                    <a16:creationId xmlns:a16="http://schemas.microsoft.com/office/drawing/2014/main" id="{FEC79A6A-C7FB-4A98-A570-7E3D1469B2D6}"/>
                  </a:ext>
                </a:extLst>
              </p:cNvPr>
              <p:cNvSpPr/>
              <p:nvPr/>
            </p:nvSpPr>
            <p:spPr>
              <a:xfrm>
                <a:off x="5696809" y="3373051"/>
                <a:ext cx="523058" cy="523058"/>
              </a:xfrm>
              <a:prstGeom prst="ellipse">
                <a:avLst/>
              </a:prstGeom>
              <a:noFill/>
              <a:ln w="22225">
                <a:solidFill>
                  <a:schemeClr val="accent1"/>
                </a:solidFill>
              </a:ln>
            </p:spPr>
            <p:txBody>
              <a:bodyPr rot="0" spcFirstLastPara="0" vert="horz" wrap="square" lIns="91440" tIns="45720" rIns="91440" bIns="45720" numCol="1" spcCol="0" rtlCol="0" fromWordArt="0" anchor="ctr" anchorCtr="0" forceAA="0" compatLnSpc="1">
                <a:prstTxWarp prst="textNoShape">
                  <a:avLst/>
                </a:prstTxWarp>
                <a:normAutofit fontScale="6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buSzPct val="25000"/>
                </a:pPr>
                <a:r>
                  <a:rPr lang="en-US" altLang="zh-CN" b="1" i="1"/>
                  <a:t>0</a:t>
                </a:r>
                <a:r>
                  <a:rPr lang="en-US" altLang="zh-CN" sz="100" b="1" i="1"/>
                  <a:t> </a:t>
                </a:r>
                <a:r>
                  <a:rPr lang="en-US" altLang="zh-CN" b="1" i="1"/>
                  <a:t>2</a:t>
                </a:r>
                <a:endParaRPr lang="zh-CN" altLang="en-US" b="1" i="1" dirty="0"/>
              </a:p>
            </p:txBody>
          </p:sp>
        </p:grpSp>
        <p:grpSp>
          <p:nvGrpSpPr>
            <p:cNvPr id="11" name="iṡļíḍé">
              <a:extLst>
                <a:ext uri="{FF2B5EF4-FFF2-40B4-BE49-F238E27FC236}">
                  <a16:creationId xmlns:a16="http://schemas.microsoft.com/office/drawing/2014/main" id="{CFB834AE-471D-4854-9911-6F27B9638C36}"/>
                </a:ext>
              </a:extLst>
            </p:cNvPr>
            <p:cNvGrpSpPr/>
            <p:nvPr/>
          </p:nvGrpSpPr>
          <p:grpSpPr>
            <a:xfrm>
              <a:off x="5694078" y="4235027"/>
              <a:ext cx="4553071" cy="801419"/>
              <a:chOff x="5696809" y="4235027"/>
              <a:chExt cx="4553071" cy="801419"/>
            </a:xfrm>
          </p:grpSpPr>
          <p:sp>
            <p:nvSpPr>
              <p:cNvPr id="13" name="îṡḷiḋê">
                <a:extLst>
                  <a:ext uri="{FF2B5EF4-FFF2-40B4-BE49-F238E27FC236}">
                    <a16:creationId xmlns:a16="http://schemas.microsoft.com/office/drawing/2014/main" id="{88955E3B-3DD8-4A1B-948C-4B304DE7A6C4}"/>
                  </a:ext>
                </a:extLst>
              </p:cNvPr>
              <p:cNvSpPr/>
              <p:nvPr/>
            </p:nvSpPr>
            <p:spPr>
              <a:xfrm>
                <a:off x="5696809" y="4374207"/>
                <a:ext cx="523058" cy="523058"/>
              </a:xfrm>
              <a:prstGeom prst="ellipse">
                <a:avLst/>
              </a:prstGeom>
              <a:noFill/>
              <a:ln w="22225">
                <a:solidFill>
                  <a:schemeClr val="bg1">
                    <a:lumMod val="75000"/>
                  </a:schemeClr>
                </a:solidFill>
              </a:ln>
            </p:spPr>
            <p:txBody>
              <a:bodyPr rot="0" spcFirstLastPara="0" vert="horz" wrap="square" lIns="91440" tIns="45720" rIns="91440" bIns="45720" numCol="1" spcCol="0" rtlCol="0" fromWordArt="0" anchor="ctr" anchorCtr="0" forceAA="0" compatLnSpc="1">
                <a:prstTxWarp prst="textNoShape">
                  <a:avLst/>
                </a:prstTxWarp>
                <a:normAutofit fontScale="6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buSzPct val="25000"/>
                </a:pPr>
                <a:r>
                  <a:rPr lang="en-US" altLang="zh-CN" b="1" i="1"/>
                  <a:t>0</a:t>
                </a:r>
                <a:r>
                  <a:rPr lang="en-US" altLang="zh-CN" sz="100" b="1" i="1"/>
                  <a:t> </a:t>
                </a:r>
                <a:r>
                  <a:rPr lang="en-US" altLang="zh-CN" b="1" i="1"/>
                  <a:t>3</a:t>
                </a:r>
                <a:endParaRPr lang="zh-CN" altLang="en-US" b="1" i="1" dirty="0"/>
              </a:p>
            </p:txBody>
          </p:sp>
          <p:grpSp>
            <p:nvGrpSpPr>
              <p:cNvPr id="14" name="íš1ídé">
                <a:extLst>
                  <a:ext uri="{FF2B5EF4-FFF2-40B4-BE49-F238E27FC236}">
                    <a16:creationId xmlns:a16="http://schemas.microsoft.com/office/drawing/2014/main" id="{64D17AEB-5341-4BD1-B9D5-0105CC9FCA76}"/>
                  </a:ext>
                </a:extLst>
              </p:cNvPr>
              <p:cNvGrpSpPr/>
              <p:nvPr/>
            </p:nvGrpSpPr>
            <p:grpSpPr>
              <a:xfrm>
                <a:off x="6267492" y="4235027"/>
                <a:ext cx="3982388" cy="801419"/>
                <a:chOff x="6267492" y="3590043"/>
                <a:chExt cx="3982388" cy="801419"/>
              </a:xfrm>
            </p:grpSpPr>
            <p:sp>
              <p:nvSpPr>
                <p:cNvPr id="15" name="íşḷíḋe">
                  <a:extLst>
                    <a:ext uri="{FF2B5EF4-FFF2-40B4-BE49-F238E27FC236}">
                      <a16:creationId xmlns:a16="http://schemas.microsoft.com/office/drawing/2014/main" id="{3495B739-E5A7-4F4A-95FD-24BDFE4B18B1}"/>
                    </a:ext>
                  </a:extLst>
                </p:cNvPr>
                <p:cNvSpPr txBox="1"/>
                <p:nvPr/>
              </p:nvSpPr>
              <p:spPr bwMode="auto">
                <a:xfrm>
                  <a:off x="6267492" y="3590043"/>
                  <a:ext cx="3982388" cy="39240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fontScale="92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spcBef>
                      <a:spcPct val="0"/>
                    </a:spcBef>
                  </a:pPr>
                  <a:r>
                    <a:rPr lang="zh-CN" altLang="en-US" b="1" dirty="0"/>
                    <a:t>能力</a:t>
                  </a:r>
                  <a:endParaRPr lang="en-US" altLang="zh-CN" b="1" dirty="0"/>
                </a:p>
              </p:txBody>
            </p:sp>
            <p:sp>
              <p:nvSpPr>
                <p:cNvPr id="16" name="ïṩľîdé">
                  <a:extLst>
                    <a:ext uri="{FF2B5EF4-FFF2-40B4-BE49-F238E27FC236}">
                      <a16:creationId xmlns:a16="http://schemas.microsoft.com/office/drawing/2014/main" id="{AC321F9B-F99D-44D6-95EE-4CF3F8A760F8}"/>
                    </a:ext>
                  </a:extLst>
                </p:cNvPr>
                <p:cNvSpPr/>
                <p:nvPr/>
              </p:nvSpPr>
              <p:spPr bwMode="auto">
                <a:xfrm>
                  <a:off x="6267492" y="3982445"/>
                  <a:ext cx="3982388" cy="40901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100" dirty="0"/>
                    <a:t>摆脱遇到函数式代码看不懂、 不会改、 不能调的尴尬场景</a:t>
                  </a:r>
                  <a:endParaRPr lang="en-US" altLang="zh-CN" sz="1100" dirty="0"/>
                </a:p>
              </p:txBody>
            </p:sp>
          </p:grpSp>
        </p:grpSp>
        <p:cxnSp>
          <p:nvCxnSpPr>
            <p:cNvPr id="12" name="直接连接符 11">
              <a:extLst>
                <a:ext uri="{FF2B5EF4-FFF2-40B4-BE49-F238E27FC236}">
                  <a16:creationId xmlns:a16="http://schemas.microsoft.com/office/drawing/2014/main" id="{9D6AA451-3780-4C34-B753-A52E8BE966D8}"/>
                </a:ext>
              </a:extLst>
            </p:cNvPr>
            <p:cNvCxnSpPr/>
            <p:nvPr/>
          </p:nvCxnSpPr>
          <p:spPr>
            <a:xfrm>
              <a:off x="6359227" y="4135158"/>
              <a:ext cx="473638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7071773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4707BAF-E076-47CA-A6DF-FDE2D82AF1B1}"/>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2 </a:t>
            </a:r>
            <a:r>
              <a:rPr lang="zh-CN" altLang="en-US" dirty="0">
                <a:latin typeface="+mn-lt"/>
                <a:ea typeface="+mn-ea"/>
                <a:cs typeface="+mn-ea"/>
                <a:sym typeface="+mn-lt"/>
              </a:rPr>
              <a:t>中间操作</a:t>
            </a:r>
          </a:p>
        </p:txBody>
      </p:sp>
      <p:sp>
        <p:nvSpPr>
          <p:cNvPr id="3" name="内容占位符 2">
            <a:extLst>
              <a:ext uri="{FF2B5EF4-FFF2-40B4-BE49-F238E27FC236}">
                <a16:creationId xmlns:a16="http://schemas.microsoft.com/office/drawing/2014/main" id="{312B0CA5-C7AA-4CD6-9E1E-BA129D80A58F}"/>
              </a:ext>
            </a:extLst>
          </p:cNvPr>
          <p:cNvSpPr>
            <a:spLocks noGrp="1"/>
          </p:cNvSpPr>
          <p:nvPr>
            <p:ph idx="1"/>
          </p:nvPr>
        </p:nvSpPr>
        <p:spPr/>
        <p:txBody>
          <a:bodyPr/>
          <a:lstStyle/>
          <a:p>
            <a:pPr>
              <a:lnSpc>
                <a:spcPct val="120000"/>
              </a:lnSpc>
              <a:spcBef>
                <a:spcPts val="0"/>
              </a:spcBef>
            </a:pPr>
            <a:r>
              <a:rPr lang="zh-CN" altLang="en-US" dirty="0">
                <a:cs typeface="+mn-ea"/>
                <a:sym typeface="+mn-lt"/>
              </a:rPr>
              <a:t>中间操作总是会惰式执行，调用中间操作只会生成一个标记了该操作的新</a:t>
            </a:r>
            <a:r>
              <a:rPr lang="en-US" altLang="zh-CN" dirty="0">
                <a:cs typeface="+mn-ea"/>
                <a:sym typeface="+mn-lt"/>
              </a:rPr>
              <a:t>stream</a:t>
            </a:r>
            <a:r>
              <a:rPr lang="zh-CN" altLang="en-US" dirty="0">
                <a:cs typeface="+mn-ea"/>
                <a:sym typeface="+mn-lt"/>
              </a:rPr>
              <a:t>，仅此而已。</a:t>
            </a:r>
            <a:endParaRPr lang="en-US" altLang="zh-CN" dirty="0">
              <a:cs typeface="+mn-ea"/>
              <a:sym typeface="+mn-lt"/>
            </a:endParaRPr>
          </a:p>
        </p:txBody>
      </p:sp>
    </p:spTree>
    <p:extLst>
      <p:ext uri="{BB962C8B-B14F-4D97-AF65-F5344CB8AC3E}">
        <p14:creationId xmlns:p14="http://schemas.microsoft.com/office/powerpoint/2010/main" val="2174452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039AAA6-8E94-4EA5-A053-6DCF6DDD94EF}"/>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2.1 map()</a:t>
            </a:r>
            <a:r>
              <a:rPr lang="en-US" altLang="zh-CN" baseline="30000" dirty="0">
                <a:latin typeface="+mn-lt"/>
                <a:ea typeface="+mn-ea"/>
                <a:cs typeface="+mn-ea"/>
                <a:sym typeface="+mn-lt"/>
              </a:rPr>
              <a:t> [1]</a:t>
            </a:r>
            <a:endParaRPr lang="zh-CN" altLang="en-US" dirty="0">
              <a:latin typeface="+mn-lt"/>
              <a:ea typeface="+mn-ea"/>
              <a:cs typeface="+mn-ea"/>
              <a:sym typeface="+mn-lt"/>
            </a:endParaRPr>
          </a:p>
        </p:txBody>
      </p:sp>
      <p:pic>
        <p:nvPicPr>
          <p:cNvPr id="1026" name="Picture 2">
            <a:extLst>
              <a:ext uri="{FF2B5EF4-FFF2-40B4-BE49-F238E27FC236}">
                <a16:creationId xmlns:a16="http://schemas.microsoft.com/office/drawing/2014/main" id="{60DAD8CF-6BEE-4340-AFBB-3A77099F128E}"/>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700768" y="1825625"/>
            <a:ext cx="4790463" cy="435133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21250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B640B02-E1D6-4E1C-BA52-6B84BBD08B0B}"/>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2.2 filter()</a:t>
            </a:r>
            <a:r>
              <a:rPr lang="en-US" altLang="zh-CN" baseline="30000" dirty="0">
                <a:latin typeface="+mn-lt"/>
                <a:ea typeface="+mn-ea"/>
                <a:cs typeface="+mn-ea"/>
                <a:sym typeface="+mn-lt"/>
              </a:rPr>
              <a:t> [1] [2]</a:t>
            </a:r>
            <a:endParaRPr lang="zh-CN" altLang="en-US" dirty="0">
              <a:latin typeface="+mn-lt"/>
              <a:ea typeface="+mn-ea"/>
              <a:cs typeface="+mn-ea"/>
              <a:sym typeface="+mn-lt"/>
            </a:endParaRPr>
          </a:p>
        </p:txBody>
      </p:sp>
      <p:pic>
        <p:nvPicPr>
          <p:cNvPr id="2050" name="Picture 2">
            <a:extLst>
              <a:ext uri="{FF2B5EF4-FFF2-40B4-BE49-F238E27FC236}">
                <a16:creationId xmlns:a16="http://schemas.microsoft.com/office/drawing/2014/main" id="{8D626FD7-9D24-44A4-8AE0-C5BDE612B813}"/>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674105" y="1825625"/>
            <a:ext cx="4844971" cy="43524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95356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B771356-D2D5-4211-A0D9-40CDC0AE8034}"/>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2.3 distinct()</a:t>
            </a:r>
            <a:r>
              <a:rPr lang="en-US" altLang="zh-CN" baseline="30000" dirty="0">
                <a:latin typeface="+mn-lt"/>
                <a:ea typeface="+mn-ea"/>
                <a:cs typeface="+mn-ea"/>
                <a:sym typeface="+mn-lt"/>
              </a:rPr>
              <a:t> [1]</a:t>
            </a:r>
            <a:endParaRPr lang="zh-CN" altLang="en-US" dirty="0">
              <a:latin typeface="+mn-lt"/>
              <a:ea typeface="+mn-ea"/>
              <a:cs typeface="+mn-ea"/>
              <a:sym typeface="+mn-lt"/>
            </a:endParaRPr>
          </a:p>
        </p:txBody>
      </p:sp>
      <p:pic>
        <p:nvPicPr>
          <p:cNvPr id="4098" name="Picture 2">
            <a:extLst>
              <a:ext uri="{FF2B5EF4-FFF2-40B4-BE49-F238E27FC236}">
                <a16:creationId xmlns:a16="http://schemas.microsoft.com/office/drawing/2014/main" id="{16B87E98-EBEB-4741-9863-4A9EDE3931EF}"/>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269818" y="1690688"/>
            <a:ext cx="3652363" cy="43524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08086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6030BA4-349C-4D5F-9C3C-815898965F36}"/>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2.4 </a:t>
            </a:r>
            <a:r>
              <a:rPr lang="en-US" altLang="zh-CN" dirty="0" err="1">
                <a:latin typeface="+mn-lt"/>
                <a:ea typeface="+mn-ea"/>
                <a:cs typeface="+mn-ea"/>
                <a:sym typeface="+mn-lt"/>
              </a:rPr>
              <a:t>flapMap</a:t>
            </a:r>
            <a:r>
              <a:rPr lang="en-US" altLang="zh-CN" dirty="0">
                <a:latin typeface="+mn-lt"/>
                <a:ea typeface="+mn-ea"/>
                <a:cs typeface="+mn-ea"/>
                <a:sym typeface="+mn-lt"/>
              </a:rPr>
              <a:t>()</a:t>
            </a:r>
            <a:endParaRPr lang="zh-CN" altLang="en-US" dirty="0">
              <a:latin typeface="+mn-lt"/>
              <a:ea typeface="+mn-ea"/>
              <a:cs typeface="+mn-ea"/>
              <a:sym typeface="+mn-lt"/>
            </a:endParaRPr>
          </a:p>
        </p:txBody>
      </p:sp>
      <p:pic>
        <p:nvPicPr>
          <p:cNvPr id="3074" name="Picture 2">
            <a:extLst>
              <a:ext uri="{FF2B5EF4-FFF2-40B4-BE49-F238E27FC236}">
                <a16:creationId xmlns:a16="http://schemas.microsoft.com/office/drawing/2014/main" id="{650D11A6-62CD-4B17-A0D9-046976492743}"/>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781459" y="1825625"/>
            <a:ext cx="4629082" cy="435133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63586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624EE7-CEF8-4A0D-A156-8B70C2471381}"/>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2.2 </a:t>
            </a:r>
            <a:r>
              <a:rPr lang="zh-CN" altLang="en-US" dirty="0">
                <a:latin typeface="+mn-lt"/>
                <a:ea typeface="+mn-ea"/>
                <a:cs typeface="+mn-ea"/>
                <a:sym typeface="+mn-lt"/>
              </a:rPr>
              <a:t>其他</a:t>
            </a:r>
          </a:p>
        </p:txBody>
      </p:sp>
      <p:graphicFrame>
        <p:nvGraphicFramePr>
          <p:cNvPr id="4" name="表格 4">
            <a:extLst>
              <a:ext uri="{FF2B5EF4-FFF2-40B4-BE49-F238E27FC236}">
                <a16:creationId xmlns:a16="http://schemas.microsoft.com/office/drawing/2014/main" id="{55DD9DCA-C8CA-4A7F-AAD6-20588E6154C8}"/>
              </a:ext>
            </a:extLst>
          </p:cNvPr>
          <p:cNvGraphicFramePr>
            <a:graphicFrameLocks noGrp="1"/>
          </p:cNvGraphicFramePr>
          <p:nvPr>
            <p:ph idx="1"/>
          </p:nvPr>
        </p:nvGraphicFramePr>
        <p:xfrm>
          <a:off x="838200" y="1825625"/>
          <a:ext cx="10515600" cy="2753106"/>
        </p:xfrm>
        <a:graphic>
          <a:graphicData uri="http://schemas.openxmlformats.org/drawingml/2006/table">
            <a:tbl>
              <a:tblPr firstRow="1" bandRow="1">
                <a:tableStyleId>{5C22544A-7EE6-4342-B048-85BDC9FD1C3A}</a:tableStyleId>
              </a:tblPr>
              <a:tblGrid>
                <a:gridCol w="6269531">
                  <a:extLst>
                    <a:ext uri="{9D8B030D-6E8A-4147-A177-3AD203B41FA5}">
                      <a16:colId xmlns:a16="http://schemas.microsoft.com/office/drawing/2014/main" val="2989871443"/>
                    </a:ext>
                  </a:extLst>
                </a:gridCol>
                <a:gridCol w="4246069">
                  <a:extLst>
                    <a:ext uri="{9D8B030D-6E8A-4147-A177-3AD203B41FA5}">
                      <a16:colId xmlns:a16="http://schemas.microsoft.com/office/drawing/2014/main" val="2934905051"/>
                    </a:ext>
                  </a:extLst>
                </a:gridCol>
              </a:tblGrid>
              <a:tr h="370840">
                <a:tc>
                  <a:txBody>
                    <a:bodyPr/>
                    <a:lstStyle/>
                    <a:p>
                      <a:pPr>
                        <a:lnSpc>
                          <a:spcPct val="120000"/>
                        </a:lnSpc>
                        <a:spcBef>
                          <a:spcPts val="0"/>
                        </a:spcBef>
                        <a:spcAft>
                          <a:spcPts val="0"/>
                        </a:spcAft>
                      </a:pPr>
                      <a:r>
                        <a:rPr lang="zh-CN" altLang="en-US" dirty="0">
                          <a:latin typeface="+mn-lt"/>
                          <a:ea typeface="+mn-ea"/>
                          <a:cs typeface="+mn-ea"/>
                          <a:sym typeface="+mn-lt"/>
                        </a:rPr>
                        <a:t>方法</a:t>
                      </a:r>
                    </a:p>
                  </a:txBody>
                  <a:tcPr/>
                </a:tc>
                <a:tc>
                  <a:txBody>
                    <a:bodyPr/>
                    <a:lstStyle/>
                    <a:p>
                      <a:pPr>
                        <a:lnSpc>
                          <a:spcPct val="120000"/>
                        </a:lnSpc>
                        <a:spcBef>
                          <a:spcPts val="0"/>
                        </a:spcBef>
                        <a:spcAft>
                          <a:spcPts val="0"/>
                        </a:spcAft>
                      </a:pPr>
                      <a:r>
                        <a:rPr lang="zh-CN" altLang="en-US" dirty="0">
                          <a:latin typeface="+mn-lt"/>
                          <a:ea typeface="+mn-ea"/>
                          <a:cs typeface="+mn-ea"/>
                          <a:sym typeface="+mn-lt"/>
                        </a:rPr>
                        <a:t>功能</a:t>
                      </a:r>
                    </a:p>
                  </a:txBody>
                  <a:tcPr/>
                </a:tc>
                <a:extLst>
                  <a:ext uri="{0D108BD9-81ED-4DB2-BD59-A6C34878D82A}">
                    <a16:rowId xmlns:a16="http://schemas.microsoft.com/office/drawing/2014/main" val="2067826263"/>
                  </a:ext>
                </a:extLst>
              </a:tr>
              <a:tr h="370840">
                <a:tc>
                  <a:txBody>
                    <a:bodyPr/>
                    <a:lstStyle/>
                    <a:p>
                      <a:pPr>
                        <a:lnSpc>
                          <a:spcPct val="120000"/>
                        </a:lnSpc>
                        <a:spcBef>
                          <a:spcPts val="0"/>
                        </a:spcBef>
                        <a:spcAft>
                          <a:spcPts val="0"/>
                        </a:spcAft>
                      </a:pPr>
                      <a:r>
                        <a:rPr lang="en-US" altLang="zh-CN" dirty="0">
                          <a:latin typeface="+mn-lt"/>
                          <a:ea typeface="+mn-ea"/>
                          <a:cs typeface="+mn-ea"/>
                          <a:sym typeface="+mn-lt"/>
                        </a:rPr>
                        <a:t>peek(Comparator&lt;? super T&gt; action)</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查看流中的元素，目的是帮助调试</a:t>
                      </a:r>
                    </a:p>
                  </a:txBody>
                  <a:tcPr/>
                </a:tc>
                <a:extLst>
                  <a:ext uri="{0D108BD9-81ED-4DB2-BD59-A6C34878D82A}">
                    <a16:rowId xmlns:a16="http://schemas.microsoft.com/office/drawing/2014/main" val="2639216128"/>
                  </a:ext>
                </a:extLst>
              </a:tr>
              <a:tr h="370840">
                <a:tc>
                  <a:txBody>
                    <a:bodyPr/>
                    <a:lstStyle/>
                    <a:p>
                      <a:pPr>
                        <a:lnSpc>
                          <a:spcPct val="120000"/>
                        </a:lnSpc>
                        <a:spcBef>
                          <a:spcPts val="0"/>
                        </a:spcBef>
                        <a:spcAft>
                          <a:spcPts val="0"/>
                        </a:spcAft>
                      </a:pPr>
                      <a:r>
                        <a:rPr lang="en-US" altLang="zh-CN" dirty="0">
                          <a:latin typeface="+mn-lt"/>
                          <a:ea typeface="+mn-ea"/>
                          <a:cs typeface="+mn-ea"/>
                          <a:sym typeface="+mn-lt"/>
                        </a:rPr>
                        <a:t>limit(long </a:t>
                      </a:r>
                      <a:r>
                        <a:rPr lang="en-US" altLang="zh-CN" dirty="0" err="1">
                          <a:latin typeface="+mn-lt"/>
                          <a:ea typeface="+mn-ea"/>
                          <a:cs typeface="+mn-ea"/>
                          <a:sym typeface="+mn-lt"/>
                        </a:rPr>
                        <a:t>maxSize</a:t>
                      </a:r>
                      <a:r>
                        <a:rPr lang="en-US" altLang="zh-CN" dirty="0">
                          <a:latin typeface="+mn-lt"/>
                          <a:ea typeface="+mn-ea"/>
                          <a:cs typeface="+mn-ea"/>
                          <a:sym typeface="+mn-lt"/>
                        </a:rPr>
                        <a:t>)</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限制数量不超过</a:t>
                      </a:r>
                      <a:r>
                        <a:rPr lang="en-US" altLang="zh-CN" dirty="0" err="1">
                          <a:latin typeface="+mn-lt"/>
                          <a:ea typeface="+mn-ea"/>
                          <a:cs typeface="+mn-ea"/>
                          <a:sym typeface="+mn-lt"/>
                        </a:rPr>
                        <a:t>maxSize</a:t>
                      </a:r>
                      <a:r>
                        <a:rPr lang="zh-CN" altLang="en-US" dirty="0">
                          <a:latin typeface="+mn-lt"/>
                          <a:ea typeface="+mn-ea"/>
                          <a:cs typeface="+mn-ea"/>
                          <a:sym typeface="+mn-lt"/>
                        </a:rPr>
                        <a:t>个</a:t>
                      </a:r>
                    </a:p>
                  </a:txBody>
                  <a:tcPr/>
                </a:tc>
                <a:extLst>
                  <a:ext uri="{0D108BD9-81ED-4DB2-BD59-A6C34878D82A}">
                    <a16:rowId xmlns:a16="http://schemas.microsoft.com/office/drawing/2014/main" val="2543829761"/>
                  </a:ext>
                </a:extLst>
              </a:tr>
              <a:tr h="370840">
                <a:tc>
                  <a:txBody>
                    <a:bodyPr/>
                    <a:lstStyle/>
                    <a:p>
                      <a:pPr>
                        <a:lnSpc>
                          <a:spcPct val="120000"/>
                        </a:lnSpc>
                        <a:spcBef>
                          <a:spcPts val="0"/>
                        </a:spcBef>
                        <a:spcAft>
                          <a:spcPts val="0"/>
                        </a:spcAft>
                      </a:pPr>
                      <a:r>
                        <a:rPr lang="en-US" altLang="zh-CN" dirty="0">
                          <a:latin typeface="+mn-lt"/>
                          <a:ea typeface="+mn-ea"/>
                          <a:cs typeface="+mn-ea"/>
                          <a:sym typeface="+mn-lt"/>
                        </a:rPr>
                        <a:t>skip(long</a:t>
                      </a:r>
                      <a:r>
                        <a:rPr lang="zh-CN" altLang="en-US" dirty="0">
                          <a:latin typeface="+mn-lt"/>
                          <a:ea typeface="+mn-ea"/>
                          <a:cs typeface="+mn-ea"/>
                          <a:sym typeface="+mn-lt"/>
                        </a:rPr>
                        <a:t> </a:t>
                      </a:r>
                      <a:r>
                        <a:rPr lang="en-US" altLang="zh-CN" dirty="0">
                          <a:latin typeface="+mn-lt"/>
                          <a:ea typeface="+mn-ea"/>
                          <a:cs typeface="+mn-ea"/>
                          <a:sym typeface="+mn-lt"/>
                        </a:rPr>
                        <a:t>n)</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跳过前</a:t>
                      </a:r>
                      <a:r>
                        <a:rPr lang="en-US" altLang="zh-CN" dirty="0">
                          <a:latin typeface="+mn-lt"/>
                          <a:ea typeface="+mn-ea"/>
                          <a:cs typeface="+mn-ea"/>
                          <a:sym typeface="+mn-lt"/>
                        </a:rPr>
                        <a:t>n</a:t>
                      </a:r>
                      <a:r>
                        <a:rPr lang="zh-CN" altLang="en-US" dirty="0">
                          <a:latin typeface="+mn-lt"/>
                          <a:ea typeface="+mn-ea"/>
                          <a:cs typeface="+mn-ea"/>
                          <a:sym typeface="+mn-lt"/>
                        </a:rPr>
                        <a:t>个元素</a:t>
                      </a:r>
                    </a:p>
                  </a:txBody>
                  <a:tcPr/>
                </a:tc>
                <a:extLst>
                  <a:ext uri="{0D108BD9-81ED-4DB2-BD59-A6C34878D82A}">
                    <a16:rowId xmlns:a16="http://schemas.microsoft.com/office/drawing/2014/main" val="1152207437"/>
                  </a:ext>
                </a:extLst>
              </a:tr>
              <a:tr h="370840">
                <a:tc>
                  <a:txBody>
                    <a:bodyPr/>
                    <a:lstStyle/>
                    <a:p>
                      <a:pPr>
                        <a:lnSpc>
                          <a:spcPct val="120000"/>
                        </a:lnSpc>
                        <a:spcBef>
                          <a:spcPts val="0"/>
                        </a:spcBef>
                        <a:spcAft>
                          <a:spcPts val="0"/>
                        </a:spcAft>
                      </a:pPr>
                      <a:r>
                        <a:rPr lang="en-US" altLang="zh-CN" dirty="0">
                          <a:latin typeface="+mn-lt"/>
                          <a:ea typeface="+mn-ea"/>
                          <a:cs typeface="+mn-ea"/>
                          <a:sym typeface="+mn-lt"/>
                        </a:rPr>
                        <a:t>sort(Comparator&lt;? super T&gt; comparator)</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对流进行排序</a:t>
                      </a:r>
                    </a:p>
                  </a:txBody>
                  <a:tcPr/>
                </a:tc>
                <a:extLst>
                  <a:ext uri="{0D108BD9-81ED-4DB2-BD59-A6C34878D82A}">
                    <a16:rowId xmlns:a16="http://schemas.microsoft.com/office/drawing/2014/main" val="502852716"/>
                  </a:ext>
                </a:extLst>
              </a:tr>
              <a:tr h="370840">
                <a:tc>
                  <a:txBody>
                    <a:bodyPr/>
                    <a:lstStyle/>
                    <a:p>
                      <a:pPr>
                        <a:lnSpc>
                          <a:spcPct val="120000"/>
                        </a:lnSpc>
                        <a:spcBef>
                          <a:spcPts val="0"/>
                        </a:spcBef>
                        <a:spcAft>
                          <a:spcPts val="0"/>
                        </a:spcAft>
                      </a:pPr>
                      <a:r>
                        <a:rPr lang="en-US" altLang="zh-CN" dirty="0" err="1">
                          <a:latin typeface="+mn-lt"/>
                          <a:ea typeface="+mn-ea"/>
                          <a:cs typeface="+mn-ea"/>
                          <a:sym typeface="+mn-lt"/>
                        </a:rPr>
                        <a:t>concat</a:t>
                      </a:r>
                      <a:r>
                        <a:rPr lang="en-US" altLang="zh-CN" dirty="0">
                          <a:latin typeface="+mn-lt"/>
                          <a:ea typeface="+mn-ea"/>
                          <a:cs typeface="+mn-ea"/>
                          <a:sym typeface="+mn-lt"/>
                        </a:rPr>
                        <a:t>(Stream&lt;? extends T&gt; a, Stream&lt;? extends T&gt; b)</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将</a:t>
                      </a:r>
                      <a:r>
                        <a:rPr lang="en-US" altLang="zh-CN" dirty="0">
                          <a:latin typeface="+mn-lt"/>
                          <a:ea typeface="+mn-ea"/>
                          <a:cs typeface="+mn-ea"/>
                          <a:sym typeface="+mn-lt"/>
                        </a:rPr>
                        <a:t>a</a:t>
                      </a:r>
                      <a:r>
                        <a:rPr lang="zh-CN" altLang="en-US" dirty="0">
                          <a:latin typeface="+mn-lt"/>
                          <a:ea typeface="+mn-ea"/>
                          <a:cs typeface="+mn-ea"/>
                          <a:sym typeface="+mn-lt"/>
                        </a:rPr>
                        <a:t>，</a:t>
                      </a:r>
                      <a:r>
                        <a:rPr lang="en-US" altLang="zh-CN" dirty="0">
                          <a:latin typeface="+mn-lt"/>
                          <a:ea typeface="+mn-ea"/>
                          <a:cs typeface="+mn-ea"/>
                          <a:sym typeface="+mn-lt"/>
                        </a:rPr>
                        <a:t>b</a:t>
                      </a:r>
                      <a:r>
                        <a:rPr lang="zh-CN" altLang="en-US" dirty="0">
                          <a:latin typeface="+mn-lt"/>
                          <a:ea typeface="+mn-ea"/>
                          <a:cs typeface="+mn-ea"/>
                          <a:sym typeface="+mn-lt"/>
                        </a:rPr>
                        <a:t>两个流合并为一个流</a:t>
                      </a:r>
                    </a:p>
                  </a:txBody>
                  <a:tcPr/>
                </a:tc>
                <a:extLst>
                  <a:ext uri="{0D108BD9-81ED-4DB2-BD59-A6C34878D82A}">
                    <a16:rowId xmlns:a16="http://schemas.microsoft.com/office/drawing/2014/main" val="2407474493"/>
                  </a:ext>
                </a:extLst>
              </a:tr>
              <a:tr h="370840">
                <a:tc>
                  <a:txBody>
                    <a:bodyPr/>
                    <a:lstStyle/>
                    <a:p>
                      <a:pPr>
                        <a:lnSpc>
                          <a:spcPct val="120000"/>
                        </a:lnSpc>
                        <a:spcBef>
                          <a:spcPts val="0"/>
                        </a:spcBef>
                        <a:spcAft>
                          <a:spcPts val="0"/>
                        </a:spcAft>
                      </a:pPr>
                      <a:r>
                        <a:rPr lang="en-US" altLang="zh-CN" dirty="0">
                          <a:latin typeface="+mn-lt"/>
                          <a:ea typeface="+mn-ea"/>
                          <a:cs typeface="+mn-ea"/>
                          <a:sym typeface="+mn-lt"/>
                        </a:rPr>
                        <a:t>parallel()</a:t>
                      </a:r>
                      <a:endParaRPr lang="zh-CN" altLang="en-US" dirty="0">
                        <a:latin typeface="+mn-lt"/>
                        <a:ea typeface="+mn-ea"/>
                        <a:cs typeface="+mn-ea"/>
                        <a:sym typeface="+mn-lt"/>
                      </a:endParaRPr>
                    </a:p>
                  </a:txBody>
                  <a:tcPr/>
                </a:tc>
                <a:tc>
                  <a:txBody>
                    <a:bodyPr/>
                    <a:lstStyle/>
                    <a:p>
                      <a:pPr>
                        <a:lnSpc>
                          <a:spcPct val="120000"/>
                        </a:lnSpc>
                        <a:spcBef>
                          <a:spcPts val="0"/>
                        </a:spcBef>
                        <a:spcAft>
                          <a:spcPts val="0"/>
                        </a:spcAft>
                      </a:pPr>
                      <a:r>
                        <a:rPr lang="zh-CN" altLang="en-US" dirty="0">
                          <a:latin typeface="+mn-lt"/>
                          <a:ea typeface="+mn-ea"/>
                          <a:cs typeface="+mn-ea"/>
                          <a:sym typeface="+mn-lt"/>
                        </a:rPr>
                        <a:t>将流变为并行流</a:t>
                      </a:r>
                      <a:r>
                        <a:rPr lang="en-US" altLang="zh-CN" baseline="30000" dirty="0">
                          <a:latin typeface="+mn-lt"/>
                          <a:ea typeface="+mn-ea"/>
                          <a:cs typeface="+mn-ea"/>
                          <a:sym typeface="+mn-lt"/>
                        </a:rPr>
                        <a:t>[1]</a:t>
                      </a:r>
                      <a:endParaRPr lang="zh-CN" altLang="en-US" baseline="30000" dirty="0">
                        <a:latin typeface="+mn-lt"/>
                        <a:ea typeface="+mn-ea"/>
                        <a:cs typeface="+mn-ea"/>
                        <a:sym typeface="+mn-lt"/>
                      </a:endParaRPr>
                    </a:p>
                  </a:txBody>
                  <a:tcPr/>
                </a:tc>
                <a:extLst>
                  <a:ext uri="{0D108BD9-81ED-4DB2-BD59-A6C34878D82A}">
                    <a16:rowId xmlns:a16="http://schemas.microsoft.com/office/drawing/2014/main" val="1579642427"/>
                  </a:ext>
                </a:extLst>
              </a:tr>
            </a:tbl>
          </a:graphicData>
        </a:graphic>
      </p:graphicFrame>
    </p:spTree>
    <p:extLst>
      <p:ext uri="{BB962C8B-B14F-4D97-AF65-F5344CB8AC3E}">
        <p14:creationId xmlns:p14="http://schemas.microsoft.com/office/powerpoint/2010/main" val="4720365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539BD6F-A621-4E49-9845-F70C05C07C7D}"/>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3 </a:t>
            </a:r>
            <a:r>
              <a:rPr lang="zh-CN" altLang="en-US" dirty="0">
                <a:latin typeface="+mn-lt"/>
                <a:ea typeface="+mn-ea"/>
                <a:cs typeface="+mn-ea"/>
                <a:sym typeface="+mn-lt"/>
              </a:rPr>
              <a:t>结束操作</a:t>
            </a:r>
          </a:p>
        </p:txBody>
      </p:sp>
      <p:sp>
        <p:nvSpPr>
          <p:cNvPr id="3" name="内容占位符 2">
            <a:extLst>
              <a:ext uri="{FF2B5EF4-FFF2-40B4-BE49-F238E27FC236}">
                <a16:creationId xmlns:a16="http://schemas.microsoft.com/office/drawing/2014/main" id="{AFB243B6-0D82-42A3-8FC7-949AE89EE23C}"/>
              </a:ext>
            </a:extLst>
          </p:cNvPr>
          <p:cNvSpPr>
            <a:spLocks noGrp="1"/>
          </p:cNvSpPr>
          <p:nvPr>
            <p:ph idx="1"/>
          </p:nvPr>
        </p:nvSpPr>
        <p:spPr/>
        <p:txBody>
          <a:bodyPr/>
          <a:lstStyle/>
          <a:p>
            <a:pPr>
              <a:lnSpc>
                <a:spcPct val="120000"/>
              </a:lnSpc>
              <a:spcBef>
                <a:spcPts val="0"/>
              </a:spcBef>
            </a:pPr>
            <a:r>
              <a:rPr lang="zh-CN" altLang="en-US" dirty="0">
                <a:cs typeface="+mn-ea"/>
                <a:sym typeface="+mn-lt"/>
              </a:rPr>
              <a:t>结束操作会触发实际计算，计算发生时会把所有中间操作积攒的操作以</a:t>
            </a:r>
            <a:r>
              <a:rPr lang="en-US" altLang="zh-CN" dirty="0">
                <a:cs typeface="+mn-ea"/>
                <a:sym typeface="+mn-lt"/>
              </a:rPr>
              <a:t>pipeline</a:t>
            </a:r>
            <a:r>
              <a:rPr lang="zh-CN" altLang="en-US" dirty="0">
                <a:cs typeface="+mn-ea"/>
                <a:sym typeface="+mn-lt"/>
              </a:rPr>
              <a:t>的方式执行，这样可以减少迭代次数。计算完成之后</a:t>
            </a:r>
            <a:r>
              <a:rPr lang="en-US" altLang="zh-CN" dirty="0">
                <a:cs typeface="+mn-ea"/>
                <a:sym typeface="+mn-lt"/>
              </a:rPr>
              <a:t>stream</a:t>
            </a:r>
            <a:r>
              <a:rPr lang="zh-CN" altLang="en-US" dirty="0">
                <a:cs typeface="+mn-ea"/>
                <a:sym typeface="+mn-lt"/>
              </a:rPr>
              <a:t>就会失效。</a:t>
            </a:r>
            <a:endParaRPr lang="en-US" altLang="zh-CN" dirty="0">
              <a:cs typeface="+mn-ea"/>
              <a:sym typeface="+mn-lt"/>
            </a:endParaRPr>
          </a:p>
        </p:txBody>
      </p:sp>
    </p:spTree>
    <p:extLst>
      <p:ext uri="{BB962C8B-B14F-4D97-AF65-F5344CB8AC3E}">
        <p14:creationId xmlns:p14="http://schemas.microsoft.com/office/powerpoint/2010/main" val="7168775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nSpc>
                <a:spcPct val="120000"/>
              </a:lnSpc>
            </a:pPr>
            <a:r>
              <a:rPr lang="zh-CN" altLang="en-US" dirty="0">
                <a:latin typeface="+mn-lt"/>
                <a:ea typeface="+mn-ea"/>
                <a:cs typeface="+mn-ea"/>
                <a:sym typeface="+mn-lt"/>
              </a:rPr>
              <a:t>知识补充</a:t>
            </a:r>
          </a:p>
        </p:txBody>
      </p:sp>
      <p:sp>
        <p:nvSpPr>
          <p:cNvPr id="3" name="内容占位符 2"/>
          <p:cNvSpPr>
            <a:spLocks noGrp="1"/>
          </p:cNvSpPr>
          <p:nvPr>
            <p:ph idx="1"/>
          </p:nvPr>
        </p:nvSpPr>
        <p:spPr/>
        <p:txBody>
          <a:bodyPr/>
          <a:lstStyle/>
          <a:p>
            <a:pPr>
              <a:lnSpc>
                <a:spcPct val="120000"/>
              </a:lnSpc>
              <a:spcBef>
                <a:spcPts val="0"/>
              </a:spcBef>
            </a:pPr>
            <a:r>
              <a:rPr lang="zh-CN" altLang="en-US" dirty="0">
                <a:cs typeface="+mn-ea"/>
                <a:sym typeface="+mn-lt"/>
              </a:rPr>
              <a:t>在我们学习</a:t>
            </a:r>
            <a:r>
              <a:rPr lang="zh-CN" altLang="en-US" b="1" dirty="0">
                <a:cs typeface="+mn-ea"/>
                <a:sym typeface="+mn-lt"/>
              </a:rPr>
              <a:t>结束操作</a:t>
            </a:r>
            <a:r>
              <a:rPr lang="zh-CN" altLang="en-US" dirty="0">
                <a:cs typeface="+mn-ea"/>
                <a:sym typeface="+mn-lt"/>
              </a:rPr>
              <a:t>之前，必须考虑一个问题：如果操作一个空流中的元素会发生什么？</a:t>
            </a:r>
            <a:endParaRPr lang="en-US" altLang="zh-CN" dirty="0">
              <a:cs typeface="+mn-ea"/>
              <a:sym typeface="+mn-lt"/>
            </a:endParaRPr>
          </a:p>
          <a:p>
            <a:pPr>
              <a:lnSpc>
                <a:spcPct val="120000"/>
              </a:lnSpc>
              <a:spcBef>
                <a:spcPts val="0"/>
              </a:spcBef>
            </a:pPr>
            <a:endParaRPr lang="en-US" altLang="zh-CN" dirty="0">
              <a:cs typeface="+mn-ea"/>
              <a:sym typeface="+mn-lt"/>
            </a:endParaRPr>
          </a:p>
          <a:p>
            <a:pPr>
              <a:lnSpc>
                <a:spcPct val="120000"/>
              </a:lnSpc>
              <a:spcBef>
                <a:spcPts val="0"/>
              </a:spcBef>
            </a:pPr>
            <a:endParaRPr lang="en-US" altLang="zh-CN" dirty="0">
              <a:cs typeface="+mn-ea"/>
              <a:sym typeface="+mn-lt"/>
            </a:endParaRPr>
          </a:p>
          <a:p>
            <a:pPr>
              <a:lnSpc>
                <a:spcPct val="120000"/>
              </a:lnSpc>
              <a:spcBef>
                <a:spcPts val="0"/>
              </a:spcBef>
            </a:pPr>
            <a:r>
              <a:rPr lang="zh-CN" altLang="en-US" dirty="0">
                <a:cs typeface="+mn-ea"/>
                <a:sym typeface="+mn-lt"/>
              </a:rPr>
              <a:t>问：是否有某种对象，可以作为流元素的持有者，即使元素不存在也不会发生异常？</a:t>
            </a:r>
            <a:endParaRPr lang="en-US" altLang="zh-CN" dirty="0">
              <a:cs typeface="+mn-ea"/>
              <a:sym typeface="+mn-lt"/>
            </a:endParaRPr>
          </a:p>
          <a:p>
            <a:pPr>
              <a:lnSpc>
                <a:spcPct val="120000"/>
              </a:lnSpc>
              <a:spcBef>
                <a:spcPts val="0"/>
              </a:spcBef>
            </a:pPr>
            <a:r>
              <a:rPr lang="zh-CN" altLang="en-US" dirty="0">
                <a:cs typeface="+mn-ea"/>
                <a:sym typeface="+mn-lt"/>
              </a:rPr>
              <a:t>答：</a:t>
            </a:r>
            <a:r>
              <a:rPr lang="en-US" altLang="zh-CN" b="1" dirty="0">
                <a:cs typeface="+mn-ea"/>
                <a:sym typeface="+mn-lt"/>
              </a:rPr>
              <a:t>Optional</a:t>
            </a:r>
            <a:r>
              <a:rPr lang="en-US" altLang="zh-CN" dirty="0">
                <a:cs typeface="+mn-ea"/>
                <a:sym typeface="+mn-lt"/>
              </a:rPr>
              <a:t> </a:t>
            </a:r>
            <a:r>
              <a:rPr lang="zh-CN" altLang="en-US" dirty="0">
                <a:cs typeface="+mn-ea"/>
                <a:sym typeface="+mn-lt"/>
              </a:rPr>
              <a:t>类可以实现这种功能</a:t>
            </a:r>
          </a:p>
        </p:txBody>
      </p:sp>
    </p:spTree>
    <p:extLst>
      <p:ext uri="{BB962C8B-B14F-4D97-AF65-F5344CB8AC3E}">
        <p14:creationId xmlns:p14="http://schemas.microsoft.com/office/powerpoint/2010/main" val="8811665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nSpc>
                <a:spcPct val="120000"/>
              </a:lnSpc>
            </a:pPr>
            <a:r>
              <a:rPr lang="en-US" altLang="zh-CN" dirty="0">
                <a:latin typeface="+mn-lt"/>
                <a:ea typeface="+mn-ea"/>
                <a:cs typeface="+mn-ea"/>
                <a:sym typeface="+mn-lt"/>
              </a:rPr>
              <a:t>6.3.1 Optional</a:t>
            </a:r>
            <a:endParaRPr lang="zh-CN" altLang="en-US" dirty="0">
              <a:latin typeface="+mn-lt"/>
              <a:ea typeface="+mn-ea"/>
              <a:cs typeface="+mn-ea"/>
              <a:sym typeface="+mn-lt"/>
            </a:endParaRPr>
          </a:p>
        </p:txBody>
      </p:sp>
      <p:sp>
        <p:nvSpPr>
          <p:cNvPr id="3" name="内容占位符 2"/>
          <p:cNvSpPr>
            <a:spLocks noGrp="1"/>
          </p:cNvSpPr>
          <p:nvPr>
            <p:ph idx="1"/>
          </p:nvPr>
        </p:nvSpPr>
        <p:spPr/>
        <p:txBody>
          <a:bodyPr>
            <a:normAutofit/>
          </a:bodyPr>
          <a:lstStyle/>
          <a:p>
            <a:pPr>
              <a:lnSpc>
                <a:spcPct val="120000"/>
              </a:lnSpc>
              <a:spcBef>
                <a:spcPct val="0"/>
              </a:spcBef>
            </a:pPr>
            <a:r>
              <a:rPr lang="zh-CN" altLang="en-US" dirty="0">
                <a:cs typeface="+mn-ea"/>
                <a:sym typeface="+mn-lt"/>
              </a:rPr>
              <a:t>如果流返回</a:t>
            </a:r>
            <a:r>
              <a:rPr lang="en-US" altLang="zh-CN" dirty="0">
                <a:cs typeface="+mn-ea"/>
                <a:sym typeface="+mn-lt"/>
              </a:rPr>
              <a:t>Optional </a:t>
            </a:r>
            <a:r>
              <a:rPr lang="zh-CN" altLang="en-US" dirty="0">
                <a:cs typeface="+mn-ea"/>
                <a:sym typeface="+mn-lt"/>
              </a:rPr>
              <a:t>对象，则不能保证预期结果一定存在</a:t>
            </a:r>
            <a:endParaRPr lang="en-US" altLang="zh-CN" dirty="0">
              <a:cs typeface="+mn-ea"/>
              <a:sym typeface="+mn-lt"/>
            </a:endParaRPr>
          </a:p>
          <a:p>
            <a:pPr>
              <a:lnSpc>
                <a:spcPct val="120000"/>
              </a:lnSpc>
              <a:spcBef>
                <a:spcPct val="0"/>
              </a:spcBef>
            </a:pPr>
            <a:endParaRPr lang="en-US" altLang="zh-CN" dirty="0">
              <a:cs typeface="+mn-ea"/>
              <a:sym typeface="+mn-lt"/>
            </a:endParaRPr>
          </a:p>
          <a:p>
            <a:pPr marL="0" indent="0">
              <a:lnSpc>
                <a:spcPct val="120000"/>
              </a:lnSpc>
              <a:spcBef>
                <a:spcPct val="0"/>
              </a:spcBef>
              <a:buNone/>
            </a:pPr>
            <a:endParaRPr lang="en-US" altLang="zh-CN" dirty="0">
              <a:cs typeface="+mn-ea"/>
              <a:sym typeface="+mn-lt"/>
            </a:endParaRPr>
          </a:p>
          <a:p>
            <a:pPr lvl="1">
              <a:lnSpc>
                <a:spcPct val="120000"/>
              </a:lnSpc>
              <a:spcBef>
                <a:spcPct val="0"/>
              </a:spcBef>
            </a:pPr>
            <a:endParaRPr lang="en-US" altLang="zh-CN" dirty="0">
              <a:cs typeface="+mn-ea"/>
              <a:sym typeface="+mn-lt"/>
            </a:endParaRPr>
          </a:p>
          <a:p>
            <a:pPr>
              <a:lnSpc>
                <a:spcPct val="120000"/>
              </a:lnSpc>
              <a:spcBef>
                <a:spcPct val="0"/>
              </a:spcBef>
            </a:pPr>
            <a:r>
              <a:rPr lang="zh-CN" altLang="en-US" sz="2600" dirty="0">
                <a:cs typeface="+mn-ea"/>
                <a:sym typeface="+mn-lt"/>
              </a:rPr>
              <a:t>如果流为空则返回 </a:t>
            </a:r>
            <a:r>
              <a:rPr lang="en-US" altLang="zh-CN" sz="2600" dirty="0" err="1">
                <a:cs typeface="+mn-ea"/>
                <a:sym typeface="+mn-lt"/>
              </a:rPr>
              <a:t>Optional.empty</a:t>
            </a:r>
            <a:endParaRPr lang="en-US" altLang="zh-CN" sz="2600" dirty="0">
              <a:cs typeface="+mn-ea"/>
              <a:sym typeface="+mn-lt"/>
            </a:endParaRPr>
          </a:p>
          <a:p>
            <a:pPr>
              <a:lnSpc>
                <a:spcPct val="120000"/>
              </a:lnSpc>
              <a:spcBef>
                <a:spcPct val="0"/>
              </a:spcBef>
            </a:pPr>
            <a:r>
              <a:rPr lang="en-US" altLang="zh-CN" sz="2600" dirty="0" err="1">
                <a:cs typeface="+mn-ea"/>
                <a:sym typeface="+mn-lt"/>
              </a:rPr>
              <a:t>ifPresent</a:t>
            </a:r>
            <a:r>
              <a:rPr lang="en-US" altLang="zh-CN" sz="2600" dirty="0">
                <a:cs typeface="+mn-ea"/>
                <a:sym typeface="+mn-lt"/>
              </a:rPr>
              <a:t>(Consumer)</a:t>
            </a:r>
            <a:r>
              <a:rPr lang="zh-CN" altLang="en-US" sz="2600" dirty="0">
                <a:cs typeface="+mn-ea"/>
                <a:sym typeface="+mn-lt"/>
              </a:rPr>
              <a:t>：当值存在时调用 </a:t>
            </a:r>
            <a:r>
              <a:rPr lang="en-US" altLang="zh-CN" sz="2600" dirty="0">
                <a:cs typeface="+mn-ea"/>
                <a:sym typeface="+mn-lt"/>
              </a:rPr>
              <a:t>Consumer</a:t>
            </a:r>
            <a:r>
              <a:rPr lang="zh-CN" altLang="en-US" sz="2600" dirty="0">
                <a:cs typeface="+mn-ea"/>
                <a:sym typeface="+mn-lt"/>
              </a:rPr>
              <a:t>，否则什么也不做。</a:t>
            </a:r>
            <a:endParaRPr lang="en-US" altLang="zh-CN" sz="2600" dirty="0">
              <a:cs typeface="+mn-ea"/>
              <a:sym typeface="+mn-lt"/>
            </a:endParaRPr>
          </a:p>
          <a:p>
            <a:pPr>
              <a:lnSpc>
                <a:spcPct val="120000"/>
              </a:lnSpc>
              <a:spcBef>
                <a:spcPct val="0"/>
              </a:spcBef>
            </a:pPr>
            <a:r>
              <a:rPr lang="en-US" altLang="zh-CN" sz="2600" dirty="0" err="1">
                <a:cs typeface="+mn-ea"/>
                <a:sym typeface="+mn-lt"/>
              </a:rPr>
              <a:t>orElse</a:t>
            </a:r>
            <a:r>
              <a:rPr lang="en-US" altLang="zh-CN" sz="2600" dirty="0">
                <a:cs typeface="+mn-ea"/>
                <a:sym typeface="+mn-lt"/>
              </a:rPr>
              <a:t>(</a:t>
            </a:r>
            <a:r>
              <a:rPr lang="en-US" altLang="zh-CN" sz="2600" dirty="0" err="1">
                <a:cs typeface="+mn-ea"/>
                <a:sym typeface="+mn-lt"/>
              </a:rPr>
              <a:t>otherObject</a:t>
            </a:r>
            <a:r>
              <a:rPr lang="en-US" altLang="zh-CN" sz="2600" dirty="0">
                <a:cs typeface="+mn-ea"/>
                <a:sym typeface="+mn-lt"/>
              </a:rPr>
              <a:t>)</a:t>
            </a:r>
            <a:r>
              <a:rPr lang="zh-CN" altLang="en-US" sz="2600" dirty="0">
                <a:cs typeface="+mn-ea"/>
                <a:sym typeface="+mn-lt"/>
              </a:rPr>
              <a:t>：如果值存在则直接返回，否则生成 </a:t>
            </a:r>
            <a:r>
              <a:rPr lang="en-US" altLang="zh-CN" sz="2600" dirty="0" err="1">
                <a:cs typeface="+mn-ea"/>
                <a:sym typeface="+mn-lt"/>
              </a:rPr>
              <a:t>otherObject</a:t>
            </a:r>
            <a:r>
              <a:rPr lang="zh-CN" altLang="en-US" sz="2600" dirty="0">
                <a:cs typeface="+mn-ea"/>
                <a:sym typeface="+mn-lt"/>
              </a:rPr>
              <a:t>。</a:t>
            </a:r>
          </a:p>
          <a:p>
            <a:pPr>
              <a:lnSpc>
                <a:spcPct val="120000"/>
              </a:lnSpc>
              <a:spcBef>
                <a:spcPct val="0"/>
              </a:spcBef>
            </a:pPr>
            <a:endParaRPr lang="zh-CN" altLang="en-US" dirty="0">
              <a:cs typeface="+mn-ea"/>
              <a:sym typeface="+mn-lt"/>
            </a:endParaRPr>
          </a:p>
        </p:txBody>
      </p:sp>
    </p:spTree>
    <p:extLst>
      <p:ext uri="{BB962C8B-B14F-4D97-AF65-F5344CB8AC3E}">
        <p14:creationId xmlns:p14="http://schemas.microsoft.com/office/powerpoint/2010/main" val="9087069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34D7AE7-F157-4D8E-8FCF-453C679CEB3A}"/>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3.2 </a:t>
            </a:r>
            <a:r>
              <a:rPr lang="en-US" altLang="zh-CN" dirty="0" err="1">
                <a:latin typeface="+mn-lt"/>
                <a:ea typeface="+mn-ea"/>
                <a:cs typeface="+mn-ea"/>
                <a:sym typeface="+mn-lt"/>
              </a:rPr>
              <a:t>forEach</a:t>
            </a:r>
            <a:r>
              <a:rPr lang="en-US" altLang="zh-CN" dirty="0">
                <a:latin typeface="+mn-lt"/>
                <a:ea typeface="+mn-ea"/>
                <a:cs typeface="+mn-ea"/>
                <a:sym typeface="+mn-lt"/>
              </a:rPr>
              <a:t>()</a:t>
            </a:r>
            <a:r>
              <a:rPr lang="en-US" altLang="zh-CN" baseline="30000" dirty="0">
                <a:latin typeface="+mn-lt"/>
                <a:ea typeface="+mn-ea"/>
                <a:cs typeface="+mn-ea"/>
                <a:sym typeface="+mn-lt"/>
              </a:rPr>
              <a:t>[1]</a:t>
            </a:r>
            <a:endParaRPr lang="zh-CN" altLang="en-US" baseline="30000" dirty="0">
              <a:latin typeface="+mn-lt"/>
              <a:ea typeface="+mn-ea"/>
              <a:cs typeface="+mn-ea"/>
              <a:sym typeface="+mn-lt"/>
            </a:endParaRPr>
          </a:p>
        </p:txBody>
      </p:sp>
      <p:sp>
        <p:nvSpPr>
          <p:cNvPr id="3" name="内容占位符 2">
            <a:extLst>
              <a:ext uri="{FF2B5EF4-FFF2-40B4-BE49-F238E27FC236}">
                <a16:creationId xmlns:a16="http://schemas.microsoft.com/office/drawing/2014/main" id="{F9E361CF-D4DD-499F-8F1D-745E8D6E7D17}"/>
              </a:ext>
            </a:extLst>
          </p:cNvPr>
          <p:cNvSpPr>
            <a:spLocks noGrp="1"/>
          </p:cNvSpPr>
          <p:nvPr>
            <p:ph idx="1"/>
          </p:nvPr>
        </p:nvSpPr>
        <p:spPr/>
        <p:txBody>
          <a:bodyPr/>
          <a:lstStyle/>
          <a:p>
            <a:pPr>
              <a:lnSpc>
                <a:spcPct val="120000"/>
              </a:lnSpc>
              <a:spcBef>
                <a:spcPts val="0"/>
              </a:spcBef>
            </a:pPr>
            <a:r>
              <a:rPr lang="zh-CN" altLang="en-US" dirty="0">
                <a:cs typeface="+mn-ea"/>
                <a:sym typeface="+mn-lt"/>
              </a:rPr>
              <a:t>入参为</a:t>
            </a:r>
            <a:r>
              <a:rPr lang="en-US" altLang="zh-CN" dirty="0">
                <a:cs typeface="+mn-ea"/>
                <a:sym typeface="+mn-lt"/>
              </a:rPr>
              <a:t>Consumer</a:t>
            </a:r>
            <a:r>
              <a:rPr lang="zh-CN" altLang="en-US" dirty="0">
                <a:cs typeface="+mn-ea"/>
                <a:sym typeface="+mn-lt"/>
              </a:rPr>
              <a:t>类型的函数，如常见的</a:t>
            </a:r>
            <a:r>
              <a:rPr lang="en-US" altLang="zh-CN" dirty="0" err="1">
                <a:cs typeface="+mn-ea"/>
                <a:sym typeface="+mn-lt"/>
              </a:rPr>
              <a:t>System.out</a:t>
            </a:r>
            <a:r>
              <a:rPr lang="en-US" altLang="zh-CN" dirty="0">
                <a:cs typeface="+mn-ea"/>
                <a:sym typeface="+mn-lt"/>
              </a:rPr>
              <a:t>::</a:t>
            </a:r>
            <a:r>
              <a:rPr lang="en-US" altLang="zh-CN" dirty="0" err="1">
                <a:cs typeface="+mn-ea"/>
                <a:sym typeface="+mn-lt"/>
              </a:rPr>
              <a:t>println</a:t>
            </a:r>
            <a:r>
              <a:rPr lang="en-US" altLang="zh-CN" dirty="0">
                <a:cs typeface="+mn-ea"/>
                <a:sym typeface="+mn-lt"/>
              </a:rPr>
              <a:t> </a:t>
            </a:r>
            <a:r>
              <a:rPr lang="zh-CN" altLang="en-US" dirty="0">
                <a:cs typeface="+mn-ea"/>
                <a:sym typeface="+mn-lt"/>
              </a:rPr>
              <a:t>可作为 </a:t>
            </a:r>
            <a:r>
              <a:rPr lang="en-US" altLang="zh-CN" dirty="0">
                <a:cs typeface="+mn-ea"/>
                <a:sym typeface="+mn-lt"/>
              </a:rPr>
              <a:t>Consumer </a:t>
            </a:r>
            <a:r>
              <a:rPr lang="zh-CN" altLang="en-US" dirty="0">
                <a:cs typeface="+mn-ea"/>
                <a:sym typeface="+mn-lt"/>
              </a:rPr>
              <a:t>函数</a:t>
            </a:r>
            <a:r>
              <a:rPr lang="en-US" altLang="zh-CN" baseline="30000" dirty="0">
                <a:cs typeface="+mn-ea"/>
                <a:sym typeface="+mn-lt"/>
              </a:rPr>
              <a:t>[2]</a:t>
            </a:r>
            <a:endParaRPr lang="zh-CN" altLang="en-US" baseline="30000" dirty="0">
              <a:cs typeface="+mn-ea"/>
              <a:sym typeface="+mn-lt"/>
            </a:endParaRPr>
          </a:p>
        </p:txBody>
      </p:sp>
    </p:spTree>
    <p:extLst>
      <p:ext uri="{BB962C8B-B14F-4D97-AF65-F5344CB8AC3E}">
        <p14:creationId xmlns:p14="http://schemas.microsoft.com/office/powerpoint/2010/main" val="23953489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0BA48BE-3376-4AC1-B66A-62EC5FB2DE45}"/>
              </a:ext>
            </a:extLst>
          </p:cNvPr>
          <p:cNvSpPr>
            <a:spLocks noGrp="1"/>
          </p:cNvSpPr>
          <p:nvPr>
            <p:ph type="title"/>
          </p:nvPr>
        </p:nvSpPr>
        <p:spPr/>
        <p:txBody>
          <a:bodyPr/>
          <a:lstStyle/>
          <a:p>
            <a:r>
              <a:rPr lang="zh-CN" altLang="en-US" dirty="0"/>
              <a:t>简介</a:t>
            </a:r>
          </a:p>
        </p:txBody>
      </p:sp>
      <p:sp>
        <p:nvSpPr>
          <p:cNvPr id="3" name="页脚占位符 2">
            <a:extLst>
              <a:ext uri="{FF2B5EF4-FFF2-40B4-BE49-F238E27FC236}">
                <a16:creationId xmlns:a16="http://schemas.microsoft.com/office/drawing/2014/main" id="{BD69E6BA-D9BD-4B17-9209-003E8790A15A}"/>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C550AF34-E81A-4817-B704-115130916149}"/>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grpSp>
        <p:nvGrpSpPr>
          <p:cNvPr id="7" name="iṩľîdé">
            <a:extLst>
              <a:ext uri="{FF2B5EF4-FFF2-40B4-BE49-F238E27FC236}">
                <a16:creationId xmlns:a16="http://schemas.microsoft.com/office/drawing/2014/main" id="{860B4F5A-C5A9-432B-905A-81DA3BBD06FA}"/>
              </a:ext>
            </a:extLst>
          </p:cNvPr>
          <p:cNvGrpSpPr/>
          <p:nvPr/>
        </p:nvGrpSpPr>
        <p:grpSpPr>
          <a:xfrm>
            <a:off x="5731511" y="1800300"/>
            <a:ext cx="5426078" cy="4042176"/>
            <a:chOff x="669925" y="1798228"/>
            <a:chExt cx="5426075" cy="4042174"/>
          </a:xfrm>
        </p:grpSpPr>
        <p:grpSp>
          <p:nvGrpSpPr>
            <p:cNvPr id="81" name="ïṡḻïḍé">
              <a:extLst>
                <a:ext uri="{FF2B5EF4-FFF2-40B4-BE49-F238E27FC236}">
                  <a16:creationId xmlns:a16="http://schemas.microsoft.com/office/drawing/2014/main" id="{E751E763-822B-4662-84DE-6C1A4A363247}"/>
                </a:ext>
              </a:extLst>
            </p:cNvPr>
            <p:cNvGrpSpPr/>
            <p:nvPr/>
          </p:nvGrpSpPr>
          <p:grpSpPr>
            <a:xfrm>
              <a:off x="669925" y="1798228"/>
              <a:ext cx="5426075" cy="1219601"/>
              <a:chOff x="669925" y="1798228"/>
              <a:chExt cx="5426075" cy="1219601"/>
            </a:xfrm>
          </p:grpSpPr>
          <p:sp>
            <p:nvSpPr>
              <p:cNvPr id="88" name="ïṧlïḓé">
                <a:extLst>
                  <a:ext uri="{FF2B5EF4-FFF2-40B4-BE49-F238E27FC236}">
                    <a16:creationId xmlns:a16="http://schemas.microsoft.com/office/drawing/2014/main" id="{F093CA39-3225-4C98-B14C-B90E293C2243}"/>
                  </a:ext>
                </a:extLst>
              </p:cNvPr>
              <p:cNvSpPr txBox="1"/>
              <p:nvPr/>
            </p:nvSpPr>
            <p:spPr bwMode="auto">
              <a:xfrm>
                <a:off x="669925" y="1872507"/>
                <a:ext cx="1079178" cy="391558"/>
              </a:xfrm>
              <a:prstGeom prst="rect">
                <a:avLst/>
              </a:prstGeom>
              <a:solidFill>
                <a:schemeClr val="accent1"/>
              </a:solidFill>
              <a:ln>
                <a:noFill/>
              </a:ln>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buFontTx/>
                  <a:buNone/>
                </a:pPr>
                <a:r>
                  <a:rPr lang="en-US" altLang="zh-CN" sz="1400" b="1" dirty="0">
                    <a:solidFill>
                      <a:schemeClr val="bg1"/>
                    </a:solidFill>
                  </a:rPr>
                  <a:t>1</a:t>
                </a:r>
              </a:p>
            </p:txBody>
          </p:sp>
          <p:sp>
            <p:nvSpPr>
              <p:cNvPr id="89" name="íṥḻïḍè">
                <a:extLst>
                  <a:ext uri="{FF2B5EF4-FFF2-40B4-BE49-F238E27FC236}">
                    <a16:creationId xmlns:a16="http://schemas.microsoft.com/office/drawing/2014/main" id="{C56570E0-25DC-4217-A7CB-EDA45AF55517}"/>
                  </a:ext>
                </a:extLst>
              </p:cNvPr>
              <p:cNvSpPr/>
              <p:nvPr/>
            </p:nvSpPr>
            <p:spPr bwMode="auto">
              <a:xfrm>
                <a:off x="1819443" y="1798228"/>
                <a:ext cx="4276557" cy="121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zh-CN" altLang="en-US" sz="1200" dirty="0"/>
                  <a:t>函数式编程（英语：</a:t>
                </a:r>
                <a:r>
                  <a:rPr lang="en-US" altLang="zh-CN" sz="1200" dirty="0"/>
                  <a:t>functional programming</a:t>
                </a:r>
                <a:r>
                  <a:rPr lang="zh-CN" altLang="en-US" sz="1200" dirty="0"/>
                  <a:t>）是一种编程范式，比起指令式编程（包括</a:t>
                </a:r>
                <a:r>
                  <a:rPr lang="en-US" altLang="zh-CN" sz="1200" dirty="0"/>
                  <a:t>OOP</a:t>
                </a:r>
                <a:r>
                  <a:rPr lang="zh-CN" altLang="en-US" sz="1200" dirty="0"/>
                  <a:t>） ，函数式编程更加强调程序执行的结果而非执行的过程，倡导利用若干简单的执行单元让计算结果不断渐进，逐层推导复杂的运算，而不是设计一个复杂的执行过程。</a:t>
                </a:r>
              </a:p>
            </p:txBody>
          </p:sp>
        </p:grpSp>
        <p:grpSp>
          <p:nvGrpSpPr>
            <p:cNvPr id="82" name="ïsľiḑê">
              <a:extLst>
                <a:ext uri="{FF2B5EF4-FFF2-40B4-BE49-F238E27FC236}">
                  <a16:creationId xmlns:a16="http://schemas.microsoft.com/office/drawing/2014/main" id="{5D7AFD49-C148-4A86-B983-F4493365ABB6}"/>
                </a:ext>
              </a:extLst>
            </p:cNvPr>
            <p:cNvGrpSpPr/>
            <p:nvPr/>
          </p:nvGrpSpPr>
          <p:grpSpPr>
            <a:xfrm>
              <a:off x="669925" y="3211989"/>
              <a:ext cx="5426075" cy="1218714"/>
              <a:chOff x="669925" y="1798228"/>
              <a:chExt cx="5426075" cy="1218714"/>
            </a:xfrm>
          </p:grpSpPr>
          <p:sp>
            <p:nvSpPr>
              <p:cNvPr id="86" name="îṣ1íḋê">
                <a:extLst>
                  <a:ext uri="{FF2B5EF4-FFF2-40B4-BE49-F238E27FC236}">
                    <a16:creationId xmlns:a16="http://schemas.microsoft.com/office/drawing/2014/main" id="{BDC6927A-0260-44E6-B9A2-978B7CA01CDD}"/>
                  </a:ext>
                </a:extLst>
              </p:cNvPr>
              <p:cNvSpPr txBox="1"/>
              <p:nvPr/>
            </p:nvSpPr>
            <p:spPr bwMode="auto">
              <a:xfrm>
                <a:off x="669925" y="1872507"/>
                <a:ext cx="1079178" cy="391558"/>
              </a:xfrm>
              <a:prstGeom prst="rect">
                <a:avLst/>
              </a:prstGeom>
              <a:solidFill>
                <a:schemeClr val="accent1"/>
              </a:solidFill>
              <a:ln>
                <a:noFill/>
              </a:ln>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buFontTx/>
                  <a:buNone/>
                </a:pPr>
                <a:r>
                  <a:rPr lang="en-US" altLang="zh-CN" sz="1400" b="1" dirty="0">
                    <a:solidFill>
                      <a:schemeClr val="bg1"/>
                    </a:solidFill>
                  </a:rPr>
                  <a:t>2</a:t>
                </a:r>
              </a:p>
            </p:txBody>
          </p:sp>
          <p:sp>
            <p:nvSpPr>
              <p:cNvPr id="87" name="îṥļîḓé">
                <a:extLst>
                  <a:ext uri="{FF2B5EF4-FFF2-40B4-BE49-F238E27FC236}">
                    <a16:creationId xmlns:a16="http://schemas.microsoft.com/office/drawing/2014/main" id="{7F2924C4-7DE6-4098-BF20-8E1908F7F7B0}"/>
                  </a:ext>
                </a:extLst>
              </p:cNvPr>
              <p:cNvSpPr/>
              <p:nvPr/>
            </p:nvSpPr>
            <p:spPr bwMode="auto">
              <a:xfrm>
                <a:off x="1819443" y="1798228"/>
                <a:ext cx="4276557" cy="1218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zh-CN" altLang="en-US" sz="1200" dirty="0"/>
                  <a:t>在函数式编程中，函数是第一类对象，意思是说函数既可以作为其它函数的参数（输入值），也可以从函数中返回（输入值）</a:t>
                </a:r>
                <a:endParaRPr lang="en-US" altLang="zh-CN" sz="1200" dirty="0"/>
              </a:p>
              <a:p>
                <a:pPr marL="171450" indent="-171450">
                  <a:lnSpc>
                    <a:spcPct val="120000"/>
                  </a:lnSpc>
                  <a:buFont typeface="Arial" panose="020B0604020202020204" pitchFamily="34" charset="0"/>
                  <a:buChar char="•"/>
                </a:pPr>
                <a:r>
                  <a:rPr lang="zh-CN" altLang="en-US" sz="1200" dirty="0"/>
                  <a:t>函数可以被修改或者被分配给一个变量。</a:t>
                </a:r>
              </a:p>
              <a:p>
                <a:pPr marL="171450" indent="-171450">
                  <a:lnSpc>
                    <a:spcPct val="120000"/>
                  </a:lnSpc>
                  <a:buFont typeface="Arial" panose="020B0604020202020204" pitchFamily="34" charset="0"/>
                  <a:buChar char="•"/>
                </a:pPr>
                <a:endParaRPr lang="en-US" altLang="zh-CN" sz="1200" dirty="0"/>
              </a:p>
            </p:txBody>
          </p:sp>
        </p:grpSp>
        <p:grpSp>
          <p:nvGrpSpPr>
            <p:cNvPr id="83" name="ïşlîḓe">
              <a:extLst>
                <a:ext uri="{FF2B5EF4-FFF2-40B4-BE49-F238E27FC236}">
                  <a16:creationId xmlns:a16="http://schemas.microsoft.com/office/drawing/2014/main" id="{42E66D9C-FA91-4B73-BB68-D22681B122B5}"/>
                </a:ext>
              </a:extLst>
            </p:cNvPr>
            <p:cNvGrpSpPr/>
            <p:nvPr/>
          </p:nvGrpSpPr>
          <p:grpSpPr>
            <a:xfrm>
              <a:off x="669925" y="4625750"/>
              <a:ext cx="5426075" cy="1214652"/>
              <a:chOff x="669925" y="1798228"/>
              <a:chExt cx="5426075" cy="1214652"/>
            </a:xfrm>
          </p:grpSpPr>
          <p:sp>
            <p:nvSpPr>
              <p:cNvPr id="84" name="ïsļîḑê">
                <a:extLst>
                  <a:ext uri="{FF2B5EF4-FFF2-40B4-BE49-F238E27FC236}">
                    <a16:creationId xmlns:a16="http://schemas.microsoft.com/office/drawing/2014/main" id="{4D16AD42-7FF3-4EB2-904F-EA102CA248E7}"/>
                  </a:ext>
                </a:extLst>
              </p:cNvPr>
              <p:cNvSpPr txBox="1"/>
              <p:nvPr/>
            </p:nvSpPr>
            <p:spPr bwMode="auto">
              <a:xfrm>
                <a:off x="669925" y="1872507"/>
                <a:ext cx="1079178" cy="391558"/>
              </a:xfrm>
              <a:prstGeom prst="rect">
                <a:avLst/>
              </a:prstGeom>
              <a:solidFill>
                <a:schemeClr val="accent1"/>
              </a:solidFill>
              <a:ln>
                <a:noFill/>
              </a:ln>
            </p:spPr>
            <p:txBody>
              <a:bodyPr wrap="non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buFontTx/>
                  <a:buNone/>
                </a:pPr>
                <a:r>
                  <a:rPr lang="en-US" altLang="zh-CN" sz="1400" b="1" dirty="0">
                    <a:solidFill>
                      <a:schemeClr val="bg1"/>
                    </a:solidFill>
                  </a:rPr>
                  <a:t>3</a:t>
                </a:r>
              </a:p>
            </p:txBody>
          </p:sp>
          <p:sp>
            <p:nvSpPr>
              <p:cNvPr id="85" name="išlïḋè">
                <a:extLst>
                  <a:ext uri="{FF2B5EF4-FFF2-40B4-BE49-F238E27FC236}">
                    <a16:creationId xmlns:a16="http://schemas.microsoft.com/office/drawing/2014/main" id="{A84B2B66-E6FB-4B61-9512-ECE10728C141}"/>
                  </a:ext>
                </a:extLst>
              </p:cNvPr>
              <p:cNvSpPr/>
              <p:nvPr/>
            </p:nvSpPr>
            <p:spPr bwMode="auto">
              <a:xfrm>
                <a:off x="1819443" y="1798228"/>
                <a:ext cx="4276557" cy="1214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zh-CN" altLang="en-US" sz="1200" dirty="0"/>
                  <a:t>典型的函数式编程语言：</a:t>
                </a:r>
                <a:r>
                  <a:rPr lang="en-US" altLang="zh-CN" sz="1200" dirty="0"/>
                  <a:t>Haskell</a:t>
                </a:r>
                <a:r>
                  <a:rPr lang="zh-CN" altLang="en-US" sz="1200" dirty="0"/>
                  <a:t>、</a:t>
                </a:r>
                <a:r>
                  <a:rPr lang="en-US" altLang="zh-CN" sz="1200" dirty="0"/>
                  <a:t>Lisp</a:t>
                </a:r>
                <a:r>
                  <a:rPr lang="zh-CN" altLang="en-US" sz="1200" dirty="0"/>
                  <a:t>、</a:t>
                </a:r>
                <a:r>
                  <a:rPr lang="en-US" altLang="zh-CN" sz="1200" dirty="0"/>
                  <a:t>Scala</a:t>
                </a:r>
              </a:p>
              <a:p>
                <a:pPr marL="171450" indent="-171450">
                  <a:lnSpc>
                    <a:spcPct val="120000"/>
                  </a:lnSpc>
                  <a:buFont typeface="Arial" panose="020B0604020202020204" pitchFamily="34" charset="0"/>
                  <a:buChar char="•"/>
                </a:pPr>
                <a:r>
                  <a:rPr lang="zh-CN" altLang="en-US" sz="1200" dirty="0"/>
                  <a:t>支持函数式编程的语言：</a:t>
                </a:r>
                <a:r>
                  <a:rPr lang="en-US" altLang="zh-CN" sz="1200" dirty="0"/>
                  <a:t>JavaScript</a:t>
                </a:r>
                <a:r>
                  <a:rPr lang="zh-CN" altLang="en-US" sz="1200" dirty="0"/>
                  <a:t>、</a:t>
                </a:r>
                <a:r>
                  <a:rPr lang="en-US" altLang="zh-CN" sz="1200" dirty="0"/>
                  <a:t>Python</a:t>
                </a:r>
                <a:r>
                  <a:rPr lang="zh-CN" altLang="en-US" sz="1200" dirty="0"/>
                  <a:t>、</a:t>
                </a:r>
                <a:r>
                  <a:rPr lang="en-US" altLang="zh-CN" sz="1200" dirty="0"/>
                  <a:t>PHP</a:t>
                </a:r>
                <a:r>
                  <a:rPr lang="zh-CN" altLang="en-US" sz="1200" dirty="0"/>
                  <a:t>、</a:t>
                </a:r>
                <a:r>
                  <a:rPr lang="en-US" altLang="zh-CN" sz="1200" dirty="0"/>
                  <a:t>C#</a:t>
                </a:r>
              </a:p>
              <a:p>
                <a:pPr marL="171450" indent="-171450">
                  <a:lnSpc>
                    <a:spcPct val="120000"/>
                  </a:lnSpc>
                  <a:buFont typeface="Arial" panose="020B0604020202020204" pitchFamily="34" charset="0"/>
                  <a:buChar char="•"/>
                </a:pPr>
                <a:r>
                  <a:rPr lang="en-US" altLang="zh-CN" sz="1200" dirty="0"/>
                  <a:t>Java</a:t>
                </a:r>
                <a:r>
                  <a:rPr lang="zh-CN" altLang="en-US" sz="1200" dirty="0"/>
                  <a:t>自</a:t>
                </a:r>
                <a:r>
                  <a:rPr lang="en-US" altLang="zh-CN" sz="1200" dirty="0"/>
                  <a:t>jdk1.8</a:t>
                </a:r>
                <a:r>
                  <a:rPr lang="zh-CN" altLang="en-US" sz="1200" dirty="0"/>
                  <a:t>开始支持函数式编程</a:t>
                </a:r>
              </a:p>
              <a:p>
                <a:pPr marL="171450" indent="-171450">
                  <a:lnSpc>
                    <a:spcPct val="120000"/>
                  </a:lnSpc>
                  <a:buFont typeface="Arial" panose="020B0604020202020204" pitchFamily="34" charset="0"/>
                  <a:buChar char="•"/>
                </a:pPr>
                <a:endParaRPr lang="en-US" altLang="zh-CN" sz="1200" dirty="0"/>
              </a:p>
            </p:txBody>
          </p:sp>
        </p:grpSp>
      </p:grpSp>
      <p:grpSp>
        <p:nvGrpSpPr>
          <p:cNvPr id="142" name="4be0b19b-c454-43c0-9d59-3b5a4949b20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653B295-59B5-4157-B3C5-D154E3BB64DD}"/>
              </a:ext>
            </a:extLst>
          </p:cNvPr>
          <p:cNvGrpSpPr>
            <a:grpSpLocks noChangeAspect="1"/>
          </p:cNvGrpSpPr>
          <p:nvPr>
            <p:custDataLst>
              <p:tags r:id="rId2"/>
            </p:custDataLst>
          </p:nvPr>
        </p:nvGrpSpPr>
        <p:grpSpPr>
          <a:xfrm>
            <a:off x="730885" y="1473274"/>
            <a:ext cx="5000626" cy="4413250"/>
            <a:chOff x="3835400" y="1025525"/>
            <a:chExt cx="5000626" cy="4413250"/>
          </a:xfrm>
        </p:grpSpPr>
        <p:sp>
          <p:nvSpPr>
            <p:cNvPr id="143" name="ïšľiḍê">
              <a:extLst>
                <a:ext uri="{FF2B5EF4-FFF2-40B4-BE49-F238E27FC236}">
                  <a16:creationId xmlns:a16="http://schemas.microsoft.com/office/drawing/2014/main" id="{72CE7C1D-9B09-430C-A659-65659784C9DE}"/>
                </a:ext>
              </a:extLst>
            </p:cNvPr>
            <p:cNvSpPr/>
            <p:nvPr/>
          </p:nvSpPr>
          <p:spPr bwMode="auto">
            <a:xfrm>
              <a:off x="4878388" y="1025525"/>
              <a:ext cx="3957638" cy="2763838"/>
            </a:xfrm>
            <a:custGeom>
              <a:avLst/>
              <a:gdLst>
                <a:gd name="T0" fmla="*/ 11 w 2947"/>
                <a:gd name="T1" fmla="*/ 1244 h 2058"/>
                <a:gd name="T2" fmla="*/ 1208 w 2947"/>
                <a:gd name="T3" fmla="*/ 2058 h 2058"/>
                <a:gd name="T4" fmla="*/ 2439 w 2947"/>
                <a:gd name="T5" fmla="*/ 1244 h 2058"/>
                <a:gd name="T6" fmla="*/ 1225 w 2947"/>
                <a:gd name="T7" fmla="*/ 514 h 2058"/>
                <a:gd name="T8" fmla="*/ 11 w 2947"/>
                <a:gd name="T9" fmla="*/ 1244 h 2058"/>
              </a:gdLst>
              <a:ahLst/>
              <a:cxnLst>
                <a:cxn ang="0">
                  <a:pos x="T0" y="T1"/>
                </a:cxn>
                <a:cxn ang="0">
                  <a:pos x="T2" y="T3"/>
                </a:cxn>
                <a:cxn ang="0">
                  <a:pos x="T4" y="T5"/>
                </a:cxn>
                <a:cxn ang="0">
                  <a:pos x="T6" y="T7"/>
                </a:cxn>
                <a:cxn ang="0">
                  <a:pos x="T8" y="T9"/>
                </a:cxn>
              </a:cxnLst>
              <a:rect l="0" t="0" r="r" b="b"/>
              <a:pathLst>
                <a:path w="2947" h="2058">
                  <a:moveTo>
                    <a:pt x="11" y="1244"/>
                  </a:moveTo>
                  <a:cubicBezTo>
                    <a:pt x="0" y="1647"/>
                    <a:pt x="538" y="2058"/>
                    <a:pt x="1208" y="2058"/>
                  </a:cubicBezTo>
                  <a:cubicBezTo>
                    <a:pt x="1879" y="2058"/>
                    <a:pt x="2947" y="1263"/>
                    <a:pt x="2439" y="1244"/>
                  </a:cubicBezTo>
                  <a:cubicBezTo>
                    <a:pt x="1462" y="1205"/>
                    <a:pt x="1127" y="800"/>
                    <a:pt x="1225" y="514"/>
                  </a:cubicBezTo>
                  <a:cubicBezTo>
                    <a:pt x="1401" y="0"/>
                    <a:pt x="32" y="450"/>
                    <a:pt x="11" y="1244"/>
                  </a:cubicBez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iSḻïḋe">
              <a:extLst>
                <a:ext uri="{FF2B5EF4-FFF2-40B4-BE49-F238E27FC236}">
                  <a16:creationId xmlns:a16="http://schemas.microsoft.com/office/drawing/2014/main" id="{C679FE69-6AFF-4ABB-B1F6-79E56E2B1D91}"/>
                </a:ext>
              </a:extLst>
            </p:cNvPr>
            <p:cNvSpPr/>
            <p:nvPr/>
          </p:nvSpPr>
          <p:spPr bwMode="auto">
            <a:xfrm>
              <a:off x="6064250" y="2247900"/>
              <a:ext cx="26988" cy="25400"/>
            </a:xfrm>
            <a:custGeom>
              <a:avLst/>
              <a:gdLst>
                <a:gd name="T0" fmla="*/ 17 w 17"/>
                <a:gd name="T1" fmla="*/ 11 h 16"/>
                <a:gd name="T2" fmla="*/ 10 w 17"/>
                <a:gd name="T3" fmla="*/ 7 h 16"/>
                <a:gd name="T4" fmla="*/ 14 w 17"/>
                <a:gd name="T5" fmla="*/ 0 h 16"/>
                <a:gd name="T6" fmla="*/ 13 w 17"/>
                <a:gd name="T7" fmla="*/ 0 h 16"/>
                <a:gd name="T8" fmla="*/ 9 w 17"/>
                <a:gd name="T9" fmla="*/ 6 h 16"/>
                <a:gd name="T10" fmla="*/ 1 w 17"/>
                <a:gd name="T11" fmla="*/ 2 h 16"/>
                <a:gd name="T12" fmla="*/ 0 w 17"/>
                <a:gd name="T13" fmla="*/ 4 h 16"/>
                <a:gd name="T14" fmla="*/ 7 w 17"/>
                <a:gd name="T15" fmla="*/ 8 h 16"/>
                <a:gd name="T16" fmla="*/ 3 w 17"/>
                <a:gd name="T17" fmla="*/ 15 h 16"/>
                <a:gd name="T18" fmla="*/ 4 w 17"/>
                <a:gd name="T19" fmla="*/ 16 h 16"/>
                <a:gd name="T20" fmla="*/ 9 w 17"/>
                <a:gd name="T21" fmla="*/ 9 h 16"/>
                <a:gd name="T22" fmla="*/ 16 w 17"/>
                <a:gd name="T23" fmla="*/ 14 h 16"/>
                <a:gd name="T24" fmla="*/ 17 w 17"/>
                <a:gd name="T2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7" y="11"/>
                  </a:moveTo>
                  <a:lnTo>
                    <a:pt x="10" y="7"/>
                  </a:lnTo>
                  <a:lnTo>
                    <a:pt x="14" y="0"/>
                  </a:lnTo>
                  <a:lnTo>
                    <a:pt x="13" y="0"/>
                  </a:lnTo>
                  <a:lnTo>
                    <a:pt x="9" y="6"/>
                  </a:lnTo>
                  <a:lnTo>
                    <a:pt x="1" y="2"/>
                  </a:lnTo>
                  <a:lnTo>
                    <a:pt x="0" y="4"/>
                  </a:lnTo>
                  <a:lnTo>
                    <a:pt x="7" y="8"/>
                  </a:lnTo>
                  <a:lnTo>
                    <a:pt x="3" y="15"/>
                  </a:lnTo>
                  <a:lnTo>
                    <a:pt x="4" y="16"/>
                  </a:lnTo>
                  <a:lnTo>
                    <a:pt x="9" y="9"/>
                  </a:lnTo>
                  <a:lnTo>
                    <a:pt x="16" y="14"/>
                  </a:lnTo>
                  <a:lnTo>
                    <a:pt x="17" y="11"/>
                  </a:lnTo>
                  <a:close/>
                </a:path>
              </a:pathLst>
            </a:cu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iṡḷíďe">
              <a:extLst>
                <a:ext uri="{FF2B5EF4-FFF2-40B4-BE49-F238E27FC236}">
                  <a16:creationId xmlns:a16="http://schemas.microsoft.com/office/drawing/2014/main" id="{2CB94519-5F36-4CCD-92D9-F29DDB7250C8}"/>
                </a:ext>
              </a:extLst>
            </p:cNvPr>
            <p:cNvSpPr/>
            <p:nvPr/>
          </p:nvSpPr>
          <p:spPr bwMode="auto">
            <a:xfrm>
              <a:off x="6881813" y="3041650"/>
              <a:ext cx="25400" cy="26988"/>
            </a:xfrm>
            <a:custGeom>
              <a:avLst/>
              <a:gdLst>
                <a:gd name="T0" fmla="*/ 16 w 16"/>
                <a:gd name="T1" fmla="*/ 12 h 17"/>
                <a:gd name="T2" fmla="*/ 10 w 16"/>
                <a:gd name="T3" fmla="*/ 8 h 17"/>
                <a:gd name="T4" fmla="*/ 14 w 16"/>
                <a:gd name="T5" fmla="*/ 1 h 17"/>
                <a:gd name="T6" fmla="*/ 12 w 16"/>
                <a:gd name="T7" fmla="*/ 0 h 17"/>
                <a:gd name="T8" fmla="*/ 8 w 16"/>
                <a:gd name="T9" fmla="*/ 7 h 17"/>
                <a:gd name="T10" fmla="*/ 0 w 16"/>
                <a:gd name="T11" fmla="*/ 3 h 17"/>
                <a:gd name="T12" fmla="*/ 0 w 16"/>
                <a:gd name="T13" fmla="*/ 5 h 17"/>
                <a:gd name="T14" fmla="*/ 6 w 16"/>
                <a:gd name="T15" fmla="*/ 9 h 17"/>
                <a:gd name="T16" fmla="*/ 2 w 16"/>
                <a:gd name="T17" fmla="*/ 16 h 17"/>
                <a:gd name="T18" fmla="*/ 4 w 16"/>
                <a:gd name="T19" fmla="*/ 17 h 17"/>
                <a:gd name="T20" fmla="*/ 8 w 16"/>
                <a:gd name="T21" fmla="*/ 10 h 17"/>
                <a:gd name="T22" fmla="*/ 16 w 16"/>
                <a:gd name="T23" fmla="*/ 15 h 17"/>
                <a:gd name="T24" fmla="*/ 16 w 16"/>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16" y="12"/>
                  </a:moveTo>
                  <a:lnTo>
                    <a:pt x="10" y="8"/>
                  </a:lnTo>
                  <a:lnTo>
                    <a:pt x="14" y="1"/>
                  </a:lnTo>
                  <a:lnTo>
                    <a:pt x="12" y="0"/>
                  </a:lnTo>
                  <a:lnTo>
                    <a:pt x="8" y="7"/>
                  </a:lnTo>
                  <a:lnTo>
                    <a:pt x="0" y="3"/>
                  </a:lnTo>
                  <a:lnTo>
                    <a:pt x="0" y="5"/>
                  </a:lnTo>
                  <a:lnTo>
                    <a:pt x="6" y="9"/>
                  </a:lnTo>
                  <a:lnTo>
                    <a:pt x="2" y="16"/>
                  </a:lnTo>
                  <a:lnTo>
                    <a:pt x="4" y="17"/>
                  </a:lnTo>
                  <a:lnTo>
                    <a:pt x="8" y="10"/>
                  </a:lnTo>
                  <a:lnTo>
                    <a:pt x="16" y="15"/>
                  </a:lnTo>
                  <a:lnTo>
                    <a:pt x="16" y="12"/>
                  </a:lnTo>
                  <a:close/>
                </a:path>
              </a:pathLst>
            </a:cu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íṡlídê">
              <a:extLst>
                <a:ext uri="{FF2B5EF4-FFF2-40B4-BE49-F238E27FC236}">
                  <a16:creationId xmlns:a16="http://schemas.microsoft.com/office/drawing/2014/main" id="{0352433F-BAD1-4174-B796-837B00C5A2B1}"/>
                </a:ext>
              </a:extLst>
            </p:cNvPr>
            <p:cNvSpPr/>
            <p:nvPr/>
          </p:nvSpPr>
          <p:spPr bwMode="auto">
            <a:xfrm>
              <a:off x="5559425" y="29448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5 h 17"/>
                <a:gd name="T14" fmla="*/ 7 w 17"/>
                <a:gd name="T15" fmla="*/ 9 h 17"/>
                <a:gd name="T16" fmla="*/ 3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5"/>
                  </a:lnTo>
                  <a:lnTo>
                    <a:pt x="7" y="9"/>
                  </a:lnTo>
                  <a:lnTo>
                    <a:pt x="3"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ïśľïḋê">
              <a:extLst>
                <a:ext uri="{FF2B5EF4-FFF2-40B4-BE49-F238E27FC236}">
                  <a16:creationId xmlns:a16="http://schemas.microsoft.com/office/drawing/2014/main" id="{0EB2D66F-99E6-4D04-84F8-A04567D18ABC}"/>
                </a:ext>
              </a:extLst>
            </p:cNvPr>
            <p:cNvSpPr/>
            <p:nvPr/>
          </p:nvSpPr>
          <p:spPr bwMode="auto">
            <a:xfrm>
              <a:off x="6548438" y="3460750"/>
              <a:ext cx="26988" cy="26988"/>
            </a:xfrm>
            <a:custGeom>
              <a:avLst/>
              <a:gdLst>
                <a:gd name="T0" fmla="*/ 17 w 17"/>
                <a:gd name="T1" fmla="*/ 12 h 17"/>
                <a:gd name="T2" fmla="*/ 10 w 17"/>
                <a:gd name="T3" fmla="*/ 8 h 17"/>
                <a:gd name="T4" fmla="*/ 14 w 17"/>
                <a:gd name="T5" fmla="*/ 1 h 17"/>
                <a:gd name="T6" fmla="*/ 12 w 17"/>
                <a:gd name="T7" fmla="*/ 0 h 17"/>
                <a:gd name="T8" fmla="*/ 8 w 17"/>
                <a:gd name="T9" fmla="*/ 7 h 17"/>
                <a:gd name="T10" fmla="*/ 1 w 17"/>
                <a:gd name="T11" fmla="*/ 3 h 17"/>
                <a:gd name="T12" fmla="*/ 0 w 17"/>
                <a:gd name="T13" fmla="*/ 5 h 17"/>
                <a:gd name="T14" fmla="*/ 6 w 17"/>
                <a:gd name="T15" fmla="*/ 9 h 17"/>
                <a:gd name="T16" fmla="*/ 2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2" y="0"/>
                  </a:lnTo>
                  <a:lnTo>
                    <a:pt x="8" y="7"/>
                  </a:lnTo>
                  <a:lnTo>
                    <a:pt x="1" y="3"/>
                  </a:lnTo>
                  <a:lnTo>
                    <a:pt x="0" y="5"/>
                  </a:lnTo>
                  <a:lnTo>
                    <a:pt x="6" y="9"/>
                  </a:lnTo>
                  <a:lnTo>
                    <a:pt x="2"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ïṩ1îḑê">
              <a:extLst>
                <a:ext uri="{FF2B5EF4-FFF2-40B4-BE49-F238E27FC236}">
                  <a16:creationId xmlns:a16="http://schemas.microsoft.com/office/drawing/2014/main" id="{002E427D-20DA-4EC9-ABB9-9DB341B5D903}"/>
                </a:ext>
              </a:extLst>
            </p:cNvPr>
            <p:cNvSpPr/>
            <p:nvPr/>
          </p:nvSpPr>
          <p:spPr bwMode="auto">
            <a:xfrm>
              <a:off x="5629275" y="32623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4 h 17"/>
                <a:gd name="T14" fmla="*/ 7 w 17"/>
                <a:gd name="T15" fmla="*/ 9 h 17"/>
                <a:gd name="T16" fmla="*/ 3 w 17"/>
                <a:gd name="T17" fmla="*/ 15 h 17"/>
                <a:gd name="T18" fmla="*/ 4 w 17"/>
                <a:gd name="T19" fmla="*/ 17 h 17"/>
                <a:gd name="T20" fmla="*/ 8 w 17"/>
                <a:gd name="T21" fmla="*/ 9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4"/>
                  </a:lnTo>
                  <a:lnTo>
                    <a:pt x="7" y="9"/>
                  </a:lnTo>
                  <a:lnTo>
                    <a:pt x="3" y="15"/>
                  </a:lnTo>
                  <a:lnTo>
                    <a:pt x="4" y="17"/>
                  </a:lnTo>
                  <a:lnTo>
                    <a:pt x="8" y="9"/>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9" name="îşḻidè">
              <a:extLst>
                <a:ext uri="{FF2B5EF4-FFF2-40B4-BE49-F238E27FC236}">
                  <a16:creationId xmlns:a16="http://schemas.microsoft.com/office/drawing/2014/main" id="{96EDD249-F31C-416A-84F6-A90A9CD5C173}"/>
                </a:ext>
              </a:extLst>
            </p:cNvPr>
            <p:cNvSpPr/>
            <p:nvPr/>
          </p:nvSpPr>
          <p:spPr bwMode="auto">
            <a:xfrm>
              <a:off x="7842250" y="2998788"/>
              <a:ext cx="26988" cy="26988"/>
            </a:xfrm>
            <a:custGeom>
              <a:avLst/>
              <a:gdLst>
                <a:gd name="T0" fmla="*/ 17 w 17"/>
                <a:gd name="T1" fmla="*/ 12 h 17"/>
                <a:gd name="T2" fmla="*/ 10 w 17"/>
                <a:gd name="T3" fmla="*/ 8 h 17"/>
                <a:gd name="T4" fmla="*/ 15 w 17"/>
                <a:gd name="T5" fmla="*/ 1 h 17"/>
                <a:gd name="T6" fmla="*/ 13 w 17"/>
                <a:gd name="T7" fmla="*/ 0 h 17"/>
                <a:gd name="T8" fmla="*/ 9 w 17"/>
                <a:gd name="T9" fmla="*/ 7 h 17"/>
                <a:gd name="T10" fmla="*/ 1 w 17"/>
                <a:gd name="T11" fmla="*/ 3 h 17"/>
                <a:gd name="T12" fmla="*/ 0 w 17"/>
                <a:gd name="T13" fmla="*/ 5 h 17"/>
                <a:gd name="T14" fmla="*/ 7 w 17"/>
                <a:gd name="T15" fmla="*/ 9 h 17"/>
                <a:gd name="T16" fmla="*/ 3 w 17"/>
                <a:gd name="T17" fmla="*/ 16 h 17"/>
                <a:gd name="T18" fmla="*/ 5 w 17"/>
                <a:gd name="T19" fmla="*/ 17 h 17"/>
                <a:gd name="T20" fmla="*/ 9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5" y="1"/>
                  </a:lnTo>
                  <a:lnTo>
                    <a:pt x="13" y="0"/>
                  </a:lnTo>
                  <a:lnTo>
                    <a:pt x="9" y="7"/>
                  </a:lnTo>
                  <a:lnTo>
                    <a:pt x="1" y="3"/>
                  </a:lnTo>
                  <a:lnTo>
                    <a:pt x="0" y="5"/>
                  </a:lnTo>
                  <a:lnTo>
                    <a:pt x="7" y="9"/>
                  </a:lnTo>
                  <a:lnTo>
                    <a:pt x="3" y="16"/>
                  </a:lnTo>
                  <a:lnTo>
                    <a:pt x="5" y="17"/>
                  </a:lnTo>
                  <a:lnTo>
                    <a:pt x="9"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ís1îḋê">
              <a:extLst>
                <a:ext uri="{FF2B5EF4-FFF2-40B4-BE49-F238E27FC236}">
                  <a16:creationId xmlns:a16="http://schemas.microsoft.com/office/drawing/2014/main" id="{2EF14FA4-1E40-44C3-8D3F-FAC3F0037045}"/>
                </a:ext>
              </a:extLst>
            </p:cNvPr>
            <p:cNvSpPr/>
            <p:nvPr/>
          </p:nvSpPr>
          <p:spPr bwMode="auto">
            <a:xfrm>
              <a:off x="5403850" y="2349500"/>
              <a:ext cx="26988" cy="26988"/>
            </a:xfrm>
            <a:custGeom>
              <a:avLst/>
              <a:gdLst>
                <a:gd name="T0" fmla="*/ 17 w 17"/>
                <a:gd name="T1" fmla="*/ 12 h 17"/>
                <a:gd name="T2" fmla="*/ 10 w 17"/>
                <a:gd name="T3" fmla="*/ 7 h 17"/>
                <a:gd name="T4" fmla="*/ 14 w 17"/>
                <a:gd name="T5" fmla="*/ 1 h 17"/>
                <a:gd name="T6" fmla="*/ 13 w 17"/>
                <a:gd name="T7" fmla="*/ 0 h 17"/>
                <a:gd name="T8" fmla="*/ 8 w 17"/>
                <a:gd name="T9" fmla="*/ 7 h 17"/>
                <a:gd name="T10" fmla="*/ 1 w 17"/>
                <a:gd name="T11" fmla="*/ 2 h 17"/>
                <a:gd name="T12" fmla="*/ 0 w 17"/>
                <a:gd name="T13" fmla="*/ 4 h 17"/>
                <a:gd name="T14" fmla="*/ 7 w 17"/>
                <a:gd name="T15" fmla="*/ 8 h 17"/>
                <a:gd name="T16" fmla="*/ 2 w 17"/>
                <a:gd name="T17" fmla="*/ 15 h 17"/>
                <a:gd name="T18" fmla="*/ 4 w 17"/>
                <a:gd name="T19" fmla="*/ 17 h 17"/>
                <a:gd name="T20" fmla="*/ 8 w 17"/>
                <a:gd name="T21" fmla="*/ 9 h 17"/>
                <a:gd name="T22" fmla="*/ 16 w 17"/>
                <a:gd name="T23" fmla="*/ 14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7"/>
                  </a:lnTo>
                  <a:lnTo>
                    <a:pt x="14" y="1"/>
                  </a:lnTo>
                  <a:lnTo>
                    <a:pt x="13" y="0"/>
                  </a:lnTo>
                  <a:lnTo>
                    <a:pt x="8" y="7"/>
                  </a:lnTo>
                  <a:lnTo>
                    <a:pt x="1" y="2"/>
                  </a:lnTo>
                  <a:lnTo>
                    <a:pt x="0" y="4"/>
                  </a:lnTo>
                  <a:lnTo>
                    <a:pt x="7" y="8"/>
                  </a:lnTo>
                  <a:lnTo>
                    <a:pt x="2" y="15"/>
                  </a:lnTo>
                  <a:lnTo>
                    <a:pt x="4" y="17"/>
                  </a:lnTo>
                  <a:lnTo>
                    <a:pt x="8" y="9"/>
                  </a:lnTo>
                  <a:lnTo>
                    <a:pt x="16" y="14"/>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ïşḻïdê">
              <a:extLst>
                <a:ext uri="{FF2B5EF4-FFF2-40B4-BE49-F238E27FC236}">
                  <a16:creationId xmlns:a16="http://schemas.microsoft.com/office/drawing/2014/main" id="{8DF435DB-5C36-4BF2-B30F-07C21D1DBBE1}"/>
                </a:ext>
              </a:extLst>
            </p:cNvPr>
            <p:cNvSpPr/>
            <p:nvPr/>
          </p:nvSpPr>
          <p:spPr bwMode="auto">
            <a:xfrm>
              <a:off x="6311900" y="2462213"/>
              <a:ext cx="36513" cy="38100"/>
            </a:xfrm>
            <a:custGeom>
              <a:avLst/>
              <a:gdLst>
                <a:gd name="T0" fmla="*/ 23 w 23"/>
                <a:gd name="T1" fmla="*/ 17 h 24"/>
                <a:gd name="T2" fmla="*/ 14 w 23"/>
                <a:gd name="T3" fmla="*/ 11 h 24"/>
                <a:gd name="T4" fmla="*/ 20 w 23"/>
                <a:gd name="T5" fmla="*/ 2 h 24"/>
                <a:gd name="T6" fmla="*/ 18 w 23"/>
                <a:gd name="T7" fmla="*/ 0 h 24"/>
                <a:gd name="T8" fmla="*/ 11 w 23"/>
                <a:gd name="T9" fmla="*/ 9 h 24"/>
                <a:gd name="T10" fmla="*/ 1 w 23"/>
                <a:gd name="T11" fmla="*/ 3 h 24"/>
                <a:gd name="T12" fmla="*/ 0 w 23"/>
                <a:gd name="T13" fmla="*/ 6 h 24"/>
                <a:gd name="T14" fmla="*/ 9 w 23"/>
                <a:gd name="T15" fmla="*/ 12 h 24"/>
                <a:gd name="T16" fmla="*/ 3 w 23"/>
                <a:gd name="T17" fmla="*/ 22 h 24"/>
                <a:gd name="T18" fmla="*/ 6 w 23"/>
                <a:gd name="T19" fmla="*/ 24 h 24"/>
                <a:gd name="T20" fmla="*/ 12 w 23"/>
                <a:gd name="T21" fmla="*/ 13 h 24"/>
                <a:gd name="T22" fmla="*/ 22 w 23"/>
                <a:gd name="T23" fmla="*/ 19 h 24"/>
                <a:gd name="T24" fmla="*/ 23 w 23"/>
                <a:gd name="T25"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4">
                  <a:moveTo>
                    <a:pt x="23" y="17"/>
                  </a:moveTo>
                  <a:lnTo>
                    <a:pt x="14" y="11"/>
                  </a:lnTo>
                  <a:lnTo>
                    <a:pt x="20" y="2"/>
                  </a:lnTo>
                  <a:lnTo>
                    <a:pt x="18" y="0"/>
                  </a:lnTo>
                  <a:lnTo>
                    <a:pt x="11" y="9"/>
                  </a:lnTo>
                  <a:lnTo>
                    <a:pt x="1" y="3"/>
                  </a:lnTo>
                  <a:lnTo>
                    <a:pt x="0" y="6"/>
                  </a:lnTo>
                  <a:lnTo>
                    <a:pt x="9" y="12"/>
                  </a:lnTo>
                  <a:lnTo>
                    <a:pt x="3" y="22"/>
                  </a:lnTo>
                  <a:lnTo>
                    <a:pt x="6" y="24"/>
                  </a:lnTo>
                  <a:lnTo>
                    <a:pt x="12" y="13"/>
                  </a:lnTo>
                  <a:lnTo>
                    <a:pt x="22" y="19"/>
                  </a:lnTo>
                  <a:lnTo>
                    <a:pt x="23"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2" name="iŝḷîḋe">
              <a:extLst>
                <a:ext uri="{FF2B5EF4-FFF2-40B4-BE49-F238E27FC236}">
                  <a16:creationId xmlns:a16="http://schemas.microsoft.com/office/drawing/2014/main" id="{5A4F8EF5-5BE0-4357-AE0B-75A6F1454F98}"/>
                </a:ext>
              </a:extLst>
            </p:cNvPr>
            <p:cNvSpPr/>
            <p:nvPr/>
          </p:nvSpPr>
          <p:spPr bwMode="auto">
            <a:xfrm>
              <a:off x="578008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3" name="íṡḻidê">
              <a:extLst>
                <a:ext uri="{FF2B5EF4-FFF2-40B4-BE49-F238E27FC236}">
                  <a16:creationId xmlns:a16="http://schemas.microsoft.com/office/drawing/2014/main" id="{01A5B86F-9101-4EDA-B6E2-B878591D13D8}"/>
                </a:ext>
              </a:extLst>
            </p:cNvPr>
            <p:cNvSpPr/>
            <p:nvPr/>
          </p:nvSpPr>
          <p:spPr bwMode="auto">
            <a:xfrm>
              <a:off x="515143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4" name="ïŝḷïḓe">
              <a:extLst>
                <a:ext uri="{FF2B5EF4-FFF2-40B4-BE49-F238E27FC236}">
                  <a16:creationId xmlns:a16="http://schemas.microsoft.com/office/drawing/2014/main" id="{44F24231-F5B4-4D8A-B58F-E4A8237246AD}"/>
                </a:ext>
              </a:extLst>
            </p:cNvPr>
            <p:cNvSpPr/>
            <p:nvPr/>
          </p:nvSpPr>
          <p:spPr bwMode="auto">
            <a:xfrm>
              <a:off x="6246813" y="207010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iśľiďê">
              <a:extLst>
                <a:ext uri="{FF2B5EF4-FFF2-40B4-BE49-F238E27FC236}">
                  <a16:creationId xmlns:a16="http://schemas.microsoft.com/office/drawing/2014/main" id="{E443A316-AEE1-46B4-B488-9D804721FF8E}"/>
                </a:ext>
              </a:extLst>
            </p:cNvPr>
            <p:cNvSpPr/>
            <p:nvPr/>
          </p:nvSpPr>
          <p:spPr bwMode="auto">
            <a:xfrm>
              <a:off x="6096000" y="3052763"/>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î$1íďè">
              <a:extLst>
                <a:ext uri="{FF2B5EF4-FFF2-40B4-BE49-F238E27FC236}">
                  <a16:creationId xmlns:a16="http://schemas.microsoft.com/office/drawing/2014/main" id="{32CEF786-F742-4689-90E7-0AA6A7892922}"/>
                </a:ext>
              </a:extLst>
            </p:cNvPr>
            <p:cNvSpPr/>
            <p:nvPr/>
          </p:nvSpPr>
          <p:spPr bwMode="auto">
            <a:xfrm>
              <a:off x="6091238" y="2719388"/>
              <a:ext cx="22225" cy="22225"/>
            </a:xfrm>
            <a:prstGeom prst="ellipse">
              <a:avLst/>
            </a:pr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işľíḋê">
              <a:extLst>
                <a:ext uri="{FF2B5EF4-FFF2-40B4-BE49-F238E27FC236}">
                  <a16:creationId xmlns:a16="http://schemas.microsoft.com/office/drawing/2014/main" id="{E672A11A-F7B5-4182-8120-1EF3C1EBFFAD}"/>
                </a:ext>
              </a:extLst>
            </p:cNvPr>
            <p:cNvSpPr/>
            <p:nvPr/>
          </p:nvSpPr>
          <p:spPr bwMode="auto">
            <a:xfrm>
              <a:off x="7192963" y="3192463"/>
              <a:ext cx="20638"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isḷîḑé">
              <a:extLst>
                <a:ext uri="{FF2B5EF4-FFF2-40B4-BE49-F238E27FC236}">
                  <a16:creationId xmlns:a16="http://schemas.microsoft.com/office/drawing/2014/main" id="{853E4725-123F-463D-844E-234D4AF56C6E}"/>
                </a:ext>
              </a:extLst>
            </p:cNvPr>
            <p:cNvSpPr/>
            <p:nvPr/>
          </p:nvSpPr>
          <p:spPr bwMode="auto">
            <a:xfrm>
              <a:off x="5548313" y="260667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9" name="íṡ1íḓé">
              <a:extLst>
                <a:ext uri="{FF2B5EF4-FFF2-40B4-BE49-F238E27FC236}">
                  <a16:creationId xmlns:a16="http://schemas.microsoft.com/office/drawing/2014/main" id="{7228A091-AE96-4D4F-8656-D7D5DA9723B4}"/>
                </a:ext>
              </a:extLst>
            </p:cNvPr>
            <p:cNvSpPr/>
            <p:nvPr/>
          </p:nvSpPr>
          <p:spPr bwMode="auto">
            <a:xfrm>
              <a:off x="6219825" y="173672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işlïḓê">
              <a:extLst>
                <a:ext uri="{FF2B5EF4-FFF2-40B4-BE49-F238E27FC236}">
                  <a16:creationId xmlns:a16="http://schemas.microsoft.com/office/drawing/2014/main" id="{912D7BF0-B294-411F-8C88-19F8DD3F4448}"/>
                </a:ext>
              </a:extLst>
            </p:cNvPr>
            <p:cNvSpPr/>
            <p:nvPr/>
          </p:nvSpPr>
          <p:spPr bwMode="auto">
            <a:xfrm>
              <a:off x="5780088" y="2236788"/>
              <a:ext cx="20638" cy="20638"/>
            </a:xfrm>
            <a:prstGeom prst="ellipse">
              <a:avLst/>
            </a:pr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ísḷïďe">
              <a:extLst>
                <a:ext uri="{FF2B5EF4-FFF2-40B4-BE49-F238E27FC236}">
                  <a16:creationId xmlns:a16="http://schemas.microsoft.com/office/drawing/2014/main" id="{A1CE0491-A913-4C19-9259-6F526870502A}"/>
                </a:ext>
              </a:extLst>
            </p:cNvPr>
            <p:cNvSpPr/>
            <p:nvPr/>
          </p:nvSpPr>
          <p:spPr bwMode="auto">
            <a:xfrm>
              <a:off x="5913438" y="1876425"/>
              <a:ext cx="22225" cy="222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işľîďe">
              <a:extLst>
                <a:ext uri="{FF2B5EF4-FFF2-40B4-BE49-F238E27FC236}">
                  <a16:creationId xmlns:a16="http://schemas.microsoft.com/office/drawing/2014/main" id="{09544BFF-82A1-4F70-996A-84E611D04E63}"/>
                </a:ext>
              </a:extLst>
            </p:cNvPr>
            <p:cNvSpPr/>
            <p:nvPr/>
          </p:nvSpPr>
          <p:spPr bwMode="auto">
            <a:xfrm>
              <a:off x="7515225" y="28384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íṣľïḓé">
              <a:extLst>
                <a:ext uri="{FF2B5EF4-FFF2-40B4-BE49-F238E27FC236}">
                  <a16:creationId xmlns:a16="http://schemas.microsoft.com/office/drawing/2014/main" id="{9830132E-622F-4FB8-87D2-2F28B7433E26}"/>
                </a:ext>
              </a:extLst>
            </p:cNvPr>
            <p:cNvSpPr/>
            <p:nvPr/>
          </p:nvSpPr>
          <p:spPr bwMode="auto">
            <a:xfrm>
              <a:off x="6445250" y="2897188"/>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4" name="íṥḷîḑé">
              <a:extLst>
                <a:ext uri="{FF2B5EF4-FFF2-40B4-BE49-F238E27FC236}">
                  <a16:creationId xmlns:a16="http://schemas.microsoft.com/office/drawing/2014/main" id="{B894F3A6-CA44-46C6-95C5-94CB541CAE33}"/>
                </a:ext>
              </a:extLst>
            </p:cNvPr>
            <p:cNvSpPr/>
            <p:nvPr/>
          </p:nvSpPr>
          <p:spPr bwMode="auto">
            <a:xfrm>
              <a:off x="6134100" y="3241675"/>
              <a:ext cx="107950" cy="106363"/>
            </a:xfrm>
            <a:prstGeom prst="ellipse">
              <a:avLst/>
            </a:pr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5" name="ïṩľîḋe">
              <a:extLst>
                <a:ext uri="{FF2B5EF4-FFF2-40B4-BE49-F238E27FC236}">
                  <a16:creationId xmlns:a16="http://schemas.microsoft.com/office/drawing/2014/main" id="{75A9108B-1790-436C-8CFD-AF928A7C53A4}"/>
                </a:ext>
              </a:extLst>
            </p:cNvPr>
            <p:cNvSpPr/>
            <p:nvPr/>
          </p:nvSpPr>
          <p:spPr bwMode="auto">
            <a:xfrm>
              <a:off x="6821488" y="2692400"/>
              <a:ext cx="33338" cy="333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6" name="i$lîďe">
              <a:extLst>
                <a:ext uri="{FF2B5EF4-FFF2-40B4-BE49-F238E27FC236}">
                  <a16:creationId xmlns:a16="http://schemas.microsoft.com/office/drawing/2014/main" id="{1C1B8DDF-D2F7-4A44-ABEF-056A6C7AD44C}"/>
                </a:ext>
              </a:extLst>
            </p:cNvPr>
            <p:cNvSpPr/>
            <p:nvPr/>
          </p:nvSpPr>
          <p:spPr bwMode="auto">
            <a:xfrm>
              <a:off x="3841750" y="5292725"/>
              <a:ext cx="322263" cy="146050"/>
            </a:xfrm>
            <a:custGeom>
              <a:avLst/>
              <a:gdLst>
                <a:gd name="T0" fmla="*/ 23 w 240"/>
                <a:gd name="T1" fmla="*/ 0 h 109"/>
                <a:gd name="T2" fmla="*/ 21 w 240"/>
                <a:gd name="T3" fmla="*/ 98 h 109"/>
                <a:gd name="T4" fmla="*/ 165 w 240"/>
                <a:gd name="T5" fmla="*/ 105 h 109"/>
                <a:gd name="T6" fmla="*/ 240 w 240"/>
                <a:gd name="T7" fmla="*/ 83 h 109"/>
                <a:gd name="T8" fmla="*/ 188 w 240"/>
                <a:gd name="T9" fmla="*/ 53 h 109"/>
                <a:gd name="T10" fmla="*/ 110 w 240"/>
                <a:gd name="T11" fmla="*/ 10 h 109"/>
                <a:gd name="T12" fmla="*/ 23 w 24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240" h="109">
                  <a:moveTo>
                    <a:pt x="23" y="0"/>
                  </a:moveTo>
                  <a:cubicBezTo>
                    <a:pt x="23" y="0"/>
                    <a:pt x="0" y="94"/>
                    <a:pt x="21" y="98"/>
                  </a:cubicBezTo>
                  <a:cubicBezTo>
                    <a:pt x="41" y="102"/>
                    <a:pt x="141" y="100"/>
                    <a:pt x="165" y="105"/>
                  </a:cubicBezTo>
                  <a:cubicBezTo>
                    <a:pt x="190" y="109"/>
                    <a:pt x="240" y="102"/>
                    <a:pt x="240" y="83"/>
                  </a:cubicBezTo>
                  <a:cubicBezTo>
                    <a:pt x="240" y="65"/>
                    <a:pt x="188" y="53"/>
                    <a:pt x="188" y="53"/>
                  </a:cubicBezTo>
                  <a:cubicBezTo>
                    <a:pt x="188" y="53"/>
                    <a:pt x="112" y="12"/>
                    <a:pt x="110" y="10"/>
                  </a:cubicBezTo>
                  <a:cubicBezTo>
                    <a:pt x="108" y="8"/>
                    <a:pt x="23" y="0"/>
                    <a:pt x="23" y="0"/>
                  </a:cubicBezTo>
                  <a:close/>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7" name="iślîḑé">
              <a:extLst>
                <a:ext uri="{FF2B5EF4-FFF2-40B4-BE49-F238E27FC236}">
                  <a16:creationId xmlns:a16="http://schemas.microsoft.com/office/drawing/2014/main" id="{37ED54A2-2172-4305-AC78-02DD502567D3}"/>
                </a:ext>
              </a:extLst>
            </p:cNvPr>
            <p:cNvSpPr/>
            <p:nvPr/>
          </p:nvSpPr>
          <p:spPr bwMode="auto">
            <a:xfrm>
              <a:off x="3854450" y="4376738"/>
              <a:ext cx="233363" cy="946150"/>
            </a:xfrm>
            <a:custGeom>
              <a:avLst/>
              <a:gdLst>
                <a:gd name="T0" fmla="*/ 37 w 173"/>
                <a:gd name="T1" fmla="*/ 13 h 704"/>
                <a:gd name="T2" fmla="*/ 44 w 173"/>
                <a:gd name="T3" fmla="*/ 103 h 704"/>
                <a:gd name="T4" fmla="*/ 10 w 173"/>
                <a:gd name="T5" fmla="*/ 572 h 704"/>
                <a:gd name="T6" fmla="*/ 9 w 173"/>
                <a:gd name="T7" fmla="*/ 690 h 704"/>
                <a:gd name="T8" fmla="*/ 88 w 173"/>
                <a:gd name="T9" fmla="*/ 699 h 704"/>
                <a:gd name="T10" fmla="*/ 173 w 173"/>
                <a:gd name="T11" fmla="*/ 161 h 704"/>
                <a:gd name="T12" fmla="*/ 129 w 173"/>
                <a:gd name="T13" fmla="*/ 0 h 704"/>
                <a:gd name="T14" fmla="*/ 37 w 173"/>
                <a:gd name="T15" fmla="*/ 13 h 7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704">
                  <a:moveTo>
                    <a:pt x="37" y="13"/>
                  </a:moveTo>
                  <a:cubicBezTo>
                    <a:pt x="37" y="13"/>
                    <a:pt x="44" y="95"/>
                    <a:pt x="44" y="103"/>
                  </a:cubicBezTo>
                  <a:cubicBezTo>
                    <a:pt x="44" y="110"/>
                    <a:pt x="0" y="494"/>
                    <a:pt x="10" y="572"/>
                  </a:cubicBezTo>
                  <a:cubicBezTo>
                    <a:pt x="20" y="650"/>
                    <a:pt x="9" y="675"/>
                    <a:pt x="9" y="690"/>
                  </a:cubicBezTo>
                  <a:cubicBezTo>
                    <a:pt x="9" y="704"/>
                    <a:pt x="88" y="699"/>
                    <a:pt x="88" y="699"/>
                  </a:cubicBezTo>
                  <a:cubicBezTo>
                    <a:pt x="173" y="161"/>
                    <a:pt x="173" y="161"/>
                    <a:pt x="173" y="161"/>
                  </a:cubicBezTo>
                  <a:cubicBezTo>
                    <a:pt x="129" y="0"/>
                    <a:pt x="129" y="0"/>
                    <a:pt x="129" y="0"/>
                  </a:cubicBezTo>
                  <a:lnTo>
                    <a:pt x="37" y="13"/>
                  </a:lnTo>
                  <a:close/>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8" name="íšľïďe">
              <a:extLst>
                <a:ext uri="{FF2B5EF4-FFF2-40B4-BE49-F238E27FC236}">
                  <a16:creationId xmlns:a16="http://schemas.microsoft.com/office/drawing/2014/main" id="{982F433C-F449-4FE0-ABC3-BA27A6683D13}"/>
                </a:ext>
              </a:extLst>
            </p:cNvPr>
            <p:cNvSpPr/>
            <p:nvPr/>
          </p:nvSpPr>
          <p:spPr bwMode="auto">
            <a:xfrm>
              <a:off x="3883025" y="5302250"/>
              <a:ext cx="322263" cy="127000"/>
            </a:xfrm>
            <a:custGeom>
              <a:avLst/>
              <a:gdLst>
                <a:gd name="T0" fmla="*/ 20 w 240"/>
                <a:gd name="T1" fmla="*/ 13 h 94"/>
                <a:gd name="T2" fmla="*/ 20 w 240"/>
                <a:gd name="T3" fmla="*/ 90 h 94"/>
                <a:gd name="T4" fmla="*/ 165 w 240"/>
                <a:gd name="T5" fmla="*/ 89 h 94"/>
                <a:gd name="T6" fmla="*/ 240 w 240"/>
                <a:gd name="T7" fmla="*/ 76 h 94"/>
                <a:gd name="T8" fmla="*/ 187 w 240"/>
                <a:gd name="T9" fmla="*/ 45 h 94"/>
                <a:gd name="T10" fmla="*/ 110 w 240"/>
                <a:gd name="T11" fmla="*/ 2 h 94"/>
                <a:gd name="T12" fmla="*/ 20 w 240"/>
                <a:gd name="T13" fmla="*/ 13 h 94"/>
              </a:gdLst>
              <a:ahLst/>
              <a:cxnLst>
                <a:cxn ang="0">
                  <a:pos x="T0" y="T1"/>
                </a:cxn>
                <a:cxn ang="0">
                  <a:pos x="T2" y="T3"/>
                </a:cxn>
                <a:cxn ang="0">
                  <a:pos x="T4" y="T5"/>
                </a:cxn>
                <a:cxn ang="0">
                  <a:pos x="T6" y="T7"/>
                </a:cxn>
                <a:cxn ang="0">
                  <a:pos x="T8" y="T9"/>
                </a:cxn>
                <a:cxn ang="0">
                  <a:pos x="T10" y="T11"/>
                </a:cxn>
                <a:cxn ang="0">
                  <a:pos x="T12" y="T13"/>
                </a:cxn>
              </a:cxnLst>
              <a:rect l="0" t="0" r="r" b="b"/>
              <a:pathLst>
                <a:path w="240" h="94">
                  <a:moveTo>
                    <a:pt x="20" y="13"/>
                  </a:moveTo>
                  <a:cubicBezTo>
                    <a:pt x="20" y="13"/>
                    <a:pt x="0" y="86"/>
                    <a:pt x="20" y="90"/>
                  </a:cubicBezTo>
                  <a:cubicBezTo>
                    <a:pt x="41" y="94"/>
                    <a:pt x="140" y="85"/>
                    <a:pt x="165" y="89"/>
                  </a:cubicBezTo>
                  <a:cubicBezTo>
                    <a:pt x="189" y="93"/>
                    <a:pt x="240" y="94"/>
                    <a:pt x="240" y="76"/>
                  </a:cubicBezTo>
                  <a:cubicBezTo>
                    <a:pt x="240" y="57"/>
                    <a:pt x="187" y="45"/>
                    <a:pt x="187" y="45"/>
                  </a:cubicBezTo>
                  <a:cubicBezTo>
                    <a:pt x="187" y="45"/>
                    <a:pt x="112" y="4"/>
                    <a:pt x="110" y="2"/>
                  </a:cubicBezTo>
                  <a:cubicBezTo>
                    <a:pt x="108" y="0"/>
                    <a:pt x="20" y="13"/>
                    <a:pt x="20" y="13"/>
                  </a:cubicBezTo>
                  <a:close/>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9" name="iślîḑe">
              <a:extLst>
                <a:ext uri="{FF2B5EF4-FFF2-40B4-BE49-F238E27FC236}">
                  <a16:creationId xmlns:a16="http://schemas.microsoft.com/office/drawing/2014/main" id="{D10032AF-E57B-4A36-AD81-CA6291B654BA}"/>
                </a:ext>
              </a:extLst>
            </p:cNvPr>
            <p:cNvSpPr/>
            <p:nvPr/>
          </p:nvSpPr>
          <p:spPr bwMode="auto">
            <a:xfrm>
              <a:off x="3835400" y="4262438"/>
              <a:ext cx="376238" cy="1116013"/>
            </a:xfrm>
            <a:custGeom>
              <a:avLst/>
              <a:gdLst>
                <a:gd name="T0" fmla="*/ 29 w 279"/>
                <a:gd name="T1" fmla="*/ 0 h 830"/>
                <a:gd name="T2" fmla="*/ 34 w 279"/>
                <a:gd name="T3" fmla="*/ 107 h 830"/>
                <a:gd name="T4" fmla="*/ 107 w 279"/>
                <a:gd name="T5" fmla="*/ 222 h 830"/>
                <a:gd name="T6" fmla="*/ 48 w 279"/>
                <a:gd name="T7" fmla="*/ 742 h 830"/>
                <a:gd name="T8" fmla="*/ 53 w 279"/>
                <a:gd name="T9" fmla="*/ 798 h 830"/>
                <a:gd name="T10" fmla="*/ 107 w 279"/>
                <a:gd name="T11" fmla="*/ 830 h 830"/>
                <a:gd name="T12" fmla="*/ 185 w 279"/>
                <a:gd name="T13" fmla="*/ 789 h 830"/>
                <a:gd name="T14" fmla="*/ 180 w 279"/>
                <a:gd name="T15" fmla="*/ 570 h 830"/>
                <a:gd name="T16" fmla="*/ 267 w 279"/>
                <a:gd name="T17" fmla="*/ 20 h 830"/>
                <a:gd name="T18" fmla="*/ 29 w 279"/>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9" h="830">
                  <a:moveTo>
                    <a:pt x="29" y="0"/>
                  </a:moveTo>
                  <a:cubicBezTo>
                    <a:pt x="29" y="0"/>
                    <a:pt x="0" y="71"/>
                    <a:pt x="34" y="107"/>
                  </a:cubicBezTo>
                  <a:cubicBezTo>
                    <a:pt x="68" y="144"/>
                    <a:pt x="107" y="217"/>
                    <a:pt x="107" y="222"/>
                  </a:cubicBezTo>
                  <a:cubicBezTo>
                    <a:pt x="107" y="227"/>
                    <a:pt x="39" y="711"/>
                    <a:pt x="48" y="742"/>
                  </a:cubicBezTo>
                  <a:cubicBezTo>
                    <a:pt x="58" y="774"/>
                    <a:pt x="56" y="793"/>
                    <a:pt x="53" y="798"/>
                  </a:cubicBezTo>
                  <a:cubicBezTo>
                    <a:pt x="51" y="803"/>
                    <a:pt x="77" y="830"/>
                    <a:pt x="107" y="830"/>
                  </a:cubicBezTo>
                  <a:cubicBezTo>
                    <a:pt x="136" y="830"/>
                    <a:pt x="180" y="808"/>
                    <a:pt x="185" y="789"/>
                  </a:cubicBezTo>
                  <a:cubicBezTo>
                    <a:pt x="189" y="769"/>
                    <a:pt x="177" y="601"/>
                    <a:pt x="180" y="570"/>
                  </a:cubicBezTo>
                  <a:cubicBezTo>
                    <a:pt x="182" y="538"/>
                    <a:pt x="279" y="32"/>
                    <a:pt x="267" y="20"/>
                  </a:cubicBezTo>
                  <a:cubicBezTo>
                    <a:pt x="255" y="8"/>
                    <a:pt x="29" y="0"/>
                    <a:pt x="29" y="0"/>
                  </a:cubicBezTo>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0" name="iṧļidè">
              <a:extLst>
                <a:ext uri="{FF2B5EF4-FFF2-40B4-BE49-F238E27FC236}">
                  <a16:creationId xmlns:a16="http://schemas.microsoft.com/office/drawing/2014/main" id="{378792CE-85F6-481F-AF3C-D7C917523D57}"/>
                </a:ext>
              </a:extLst>
            </p:cNvPr>
            <p:cNvSpPr/>
            <p:nvPr/>
          </p:nvSpPr>
          <p:spPr bwMode="auto">
            <a:xfrm>
              <a:off x="4011613" y="3289300"/>
              <a:ext cx="222250" cy="223838"/>
            </a:xfrm>
            <a:prstGeom prst="ellipse">
              <a:avLst/>
            </a:prstGeom>
            <a:solidFill>
              <a:srgbClr val="9F61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1" name="îṩḷíḍê">
              <a:extLst>
                <a:ext uri="{FF2B5EF4-FFF2-40B4-BE49-F238E27FC236}">
                  <a16:creationId xmlns:a16="http://schemas.microsoft.com/office/drawing/2014/main" id="{46F80CBA-DC30-4840-840D-490865FED787}"/>
                </a:ext>
              </a:extLst>
            </p:cNvPr>
            <p:cNvSpPr/>
            <p:nvPr/>
          </p:nvSpPr>
          <p:spPr bwMode="auto">
            <a:xfrm>
              <a:off x="4044950" y="3430588"/>
              <a:ext cx="163513" cy="192088"/>
            </a:xfrm>
            <a:custGeom>
              <a:avLst/>
              <a:gdLst>
                <a:gd name="T0" fmla="*/ 8 w 122"/>
                <a:gd name="T1" fmla="*/ 19 h 143"/>
                <a:gd name="T2" fmla="*/ 12 w 122"/>
                <a:gd name="T3" fmla="*/ 119 h 143"/>
                <a:gd name="T4" fmla="*/ 105 w 122"/>
                <a:gd name="T5" fmla="*/ 143 h 143"/>
                <a:gd name="T6" fmla="*/ 120 w 122"/>
                <a:gd name="T7" fmla="*/ 12 h 143"/>
                <a:gd name="T8" fmla="*/ 8 w 122"/>
                <a:gd name="T9" fmla="*/ 19 h 143"/>
              </a:gdLst>
              <a:ahLst/>
              <a:cxnLst>
                <a:cxn ang="0">
                  <a:pos x="T0" y="T1"/>
                </a:cxn>
                <a:cxn ang="0">
                  <a:pos x="T2" y="T3"/>
                </a:cxn>
                <a:cxn ang="0">
                  <a:pos x="T4" y="T5"/>
                </a:cxn>
                <a:cxn ang="0">
                  <a:pos x="T6" y="T7"/>
                </a:cxn>
                <a:cxn ang="0">
                  <a:pos x="T8" y="T9"/>
                </a:cxn>
              </a:cxnLst>
              <a:rect l="0" t="0" r="r" b="b"/>
              <a:pathLst>
                <a:path w="122" h="143">
                  <a:moveTo>
                    <a:pt x="8" y="19"/>
                  </a:moveTo>
                  <a:cubicBezTo>
                    <a:pt x="8" y="19"/>
                    <a:pt x="25" y="109"/>
                    <a:pt x="12" y="119"/>
                  </a:cubicBezTo>
                  <a:cubicBezTo>
                    <a:pt x="0" y="129"/>
                    <a:pt x="105" y="143"/>
                    <a:pt x="105" y="143"/>
                  </a:cubicBezTo>
                  <a:cubicBezTo>
                    <a:pt x="105" y="143"/>
                    <a:pt x="117" y="24"/>
                    <a:pt x="120" y="12"/>
                  </a:cubicBezTo>
                  <a:cubicBezTo>
                    <a:pt x="122" y="0"/>
                    <a:pt x="8" y="19"/>
                    <a:pt x="8" y="19"/>
                  </a:cubicBezTo>
                  <a:close/>
                </a:path>
              </a:pathLst>
            </a:custGeom>
            <a:solidFill>
              <a:srgbClr val="9F61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2" name="îŝḷiḓè">
              <a:extLst>
                <a:ext uri="{FF2B5EF4-FFF2-40B4-BE49-F238E27FC236}">
                  <a16:creationId xmlns:a16="http://schemas.microsoft.com/office/drawing/2014/main" id="{C37440E7-CA7C-4D2C-B2DD-604F9BB1140F}"/>
                </a:ext>
              </a:extLst>
            </p:cNvPr>
            <p:cNvSpPr/>
            <p:nvPr/>
          </p:nvSpPr>
          <p:spPr bwMode="auto">
            <a:xfrm>
              <a:off x="3841750" y="3497263"/>
              <a:ext cx="412750" cy="850900"/>
            </a:xfrm>
            <a:custGeom>
              <a:avLst/>
              <a:gdLst>
                <a:gd name="T0" fmla="*/ 271 w 307"/>
                <a:gd name="T1" fmla="*/ 86 h 633"/>
                <a:gd name="T2" fmla="*/ 167 w 307"/>
                <a:gd name="T3" fmla="*/ 25 h 633"/>
                <a:gd name="T4" fmla="*/ 63 w 307"/>
                <a:gd name="T5" fmla="*/ 197 h 633"/>
                <a:gd name="T6" fmla="*/ 30 w 307"/>
                <a:gd name="T7" fmla="*/ 536 h 633"/>
                <a:gd name="T8" fmla="*/ 15 w 307"/>
                <a:gd name="T9" fmla="*/ 582 h 633"/>
                <a:gd name="T10" fmla="*/ 300 w 307"/>
                <a:gd name="T11" fmla="*/ 582 h 633"/>
                <a:gd name="T12" fmla="*/ 302 w 307"/>
                <a:gd name="T13" fmla="*/ 378 h 633"/>
                <a:gd name="T14" fmla="*/ 288 w 307"/>
                <a:gd name="T15" fmla="*/ 125 h 633"/>
                <a:gd name="T16" fmla="*/ 271 w 307"/>
                <a:gd name="T17" fmla="*/ 8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633">
                  <a:moveTo>
                    <a:pt x="271" y="86"/>
                  </a:moveTo>
                  <a:cubicBezTo>
                    <a:pt x="271" y="86"/>
                    <a:pt x="286" y="0"/>
                    <a:pt x="167" y="25"/>
                  </a:cubicBezTo>
                  <a:cubicBezTo>
                    <a:pt x="167" y="25"/>
                    <a:pt x="58" y="114"/>
                    <a:pt x="63" y="197"/>
                  </a:cubicBezTo>
                  <a:cubicBezTo>
                    <a:pt x="68" y="279"/>
                    <a:pt x="25" y="519"/>
                    <a:pt x="30" y="536"/>
                  </a:cubicBezTo>
                  <a:cubicBezTo>
                    <a:pt x="35" y="553"/>
                    <a:pt x="0" y="575"/>
                    <a:pt x="15" y="582"/>
                  </a:cubicBezTo>
                  <a:cubicBezTo>
                    <a:pt x="30" y="590"/>
                    <a:pt x="292" y="633"/>
                    <a:pt x="300" y="582"/>
                  </a:cubicBezTo>
                  <a:cubicBezTo>
                    <a:pt x="307" y="531"/>
                    <a:pt x="297" y="402"/>
                    <a:pt x="302" y="378"/>
                  </a:cubicBezTo>
                  <a:cubicBezTo>
                    <a:pt x="307" y="354"/>
                    <a:pt x="302" y="149"/>
                    <a:pt x="288" y="125"/>
                  </a:cubicBezTo>
                  <a:cubicBezTo>
                    <a:pt x="273" y="101"/>
                    <a:pt x="271" y="86"/>
                    <a:pt x="271" y="86"/>
                  </a:cubicBezTo>
                </a:path>
              </a:pathLst>
            </a:cu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3" name="íṣḻiḍê">
              <a:extLst>
                <a:ext uri="{FF2B5EF4-FFF2-40B4-BE49-F238E27FC236}">
                  <a16:creationId xmlns:a16="http://schemas.microsoft.com/office/drawing/2014/main" id="{C71643DB-A4FC-42CD-AAA1-96AA8B77476B}"/>
                </a:ext>
              </a:extLst>
            </p:cNvPr>
            <p:cNvSpPr/>
            <p:nvPr/>
          </p:nvSpPr>
          <p:spPr bwMode="auto">
            <a:xfrm>
              <a:off x="4087813" y="4403725"/>
              <a:ext cx="123825" cy="192088"/>
            </a:xfrm>
            <a:custGeom>
              <a:avLst/>
              <a:gdLst>
                <a:gd name="T0" fmla="*/ 36 w 92"/>
                <a:gd name="T1" fmla="*/ 5 h 143"/>
                <a:gd name="T2" fmla="*/ 46 w 92"/>
                <a:gd name="T3" fmla="*/ 143 h 143"/>
                <a:gd name="T4" fmla="*/ 90 w 92"/>
                <a:gd name="T5" fmla="*/ 0 h 143"/>
                <a:gd name="T6" fmla="*/ 36 w 92"/>
                <a:gd name="T7" fmla="*/ 5 h 143"/>
              </a:gdLst>
              <a:ahLst/>
              <a:cxnLst>
                <a:cxn ang="0">
                  <a:pos x="T0" y="T1"/>
                </a:cxn>
                <a:cxn ang="0">
                  <a:pos x="T2" y="T3"/>
                </a:cxn>
                <a:cxn ang="0">
                  <a:pos x="T4" y="T5"/>
                </a:cxn>
                <a:cxn ang="0">
                  <a:pos x="T6" y="T7"/>
                </a:cxn>
              </a:cxnLst>
              <a:rect l="0" t="0" r="r" b="b"/>
              <a:pathLst>
                <a:path w="92" h="143">
                  <a:moveTo>
                    <a:pt x="36" y="5"/>
                  </a:moveTo>
                  <a:cubicBezTo>
                    <a:pt x="36" y="5"/>
                    <a:pt x="0" y="143"/>
                    <a:pt x="46" y="143"/>
                  </a:cubicBezTo>
                  <a:cubicBezTo>
                    <a:pt x="92" y="143"/>
                    <a:pt x="90" y="0"/>
                    <a:pt x="90" y="0"/>
                  </a:cubicBezTo>
                  <a:lnTo>
                    <a:pt x="36" y="5"/>
                  </a:lnTo>
                  <a:close/>
                </a:path>
              </a:pathLst>
            </a:custGeom>
            <a:solidFill>
              <a:srgbClr val="9F61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4" name="išļíḍê">
              <a:extLst>
                <a:ext uri="{FF2B5EF4-FFF2-40B4-BE49-F238E27FC236}">
                  <a16:creationId xmlns:a16="http://schemas.microsoft.com/office/drawing/2014/main" id="{2FC04314-55F7-4E36-9012-C95BEC7328A0}"/>
                </a:ext>
              </a:extLst>
            </p:cNvPr>
            <p:cNvSpPr/>
            <p:nvPr/>
          </p:nvSpPr>
          <p:spPr bwMode="auto">
            <a:xfrm>
              <a:off x="3870325" y="3243263"/>
              <a:ext cx="311150" cy="304800"/>
            </a:xfrm>
            <a:custGeom>
              <a:avLst/>
              <a:gdLst>
                <a:gd name="T0" fmla="*/ 221 w 231"/>
                <a:gd name="T1" fmla="*/ 131 h 227"/>
                <a:gd name="T2" fmla="*/ 194 w 231"/>
                <a:gd name="T3" fmla="*/ 139 h 227"/>
                <a:gd name="T4" fmla="*/ 194 w 231"/>
                <a:gd name="T5" fmla="*/ 139 h 227"/>
                <a:gd name="T6" fmla="*/ 174 w 231"/>
                <a:gd name="T7" fmla="*/ 136 h 227"/>
                <a:gd name="T8" fmla="*/ 155 w 231"/>
                <a:gd name="T9" fmla="*/ 154 h 227"/>
                <a:gd name="T10" fmla="*/ 143 w 231"/>
                <a:gd name="T11" fmla="*/ 207 h 227"/>
                <a:gd name="T12" fmla="*/ 55 w 231"/>
                <a:gd name="T13" fmla="*/ 59 h 227"/>
                <a:gd name="T14" fmla="*/ 186 w 231"/>
                <a:gd name="T15" fmla="*/ 10 h 227"/>
                <a:gd name="T16" fmla="*/ 213 w 231"/>
                <a:gd name="T17" fmla="*/ 75 h 227"/>
                <a:gd name="T18" fmla="*/ 216 w 231"/>
                <a:gd name="T19" fmla="*/ 92 h 227"/>
                <a:gd name="T20" fmla="*/ 222 w 231"/>
                <a:gd name="T21" fmla="*/ 128 h 227"/>
                <a:gd name="T22" fmla="*/ 221 w 231"/>
                <a:gd name="T23" fmla="*/ 13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227">
                  <a:moveTo>
                    <a:pt x="221" y="131"/>
                  </a:moveTo>
                  <a:cubicBezTo>
                    <a:pt x="220" y="138"/>
                    <a:pt x="210" y="140"/>
                    <a:pt x="194" y="139"/>
                  </a:cubicBezTo>
                  <a:cubicBezTo>
                    <a:pt x="194" y="139"/>
                    <a:pt x="194" y="139"/>
                    <a:pt x="194" y="139"/>
                  </a:cubicBezTo>
                  <a:cubicBezTo>
                    <a:pt x="187" y="138"/>
                    <a:pt x="180" y="137"/>
                    <a:pt x="174" y="136"/>
                  </a:cubicBezTo>
                  <a:cubicBezTo>
                    <a:pt x="164" y="133"/>
                    <a:pt x="158" y="142"/>
                    <a:pt x="155" y="154"/>
                  </a:cubicBezTo>
                  <a:cubicBezTo>
                    <a:pt x="149" y="174"/>
                    <a:pt x="149" y="204"/>
                    <a:pt x="143" y="207"/>
                  </a:cubicBezTo>
                  <a:cubicBezTo>
                    <a:pt x="107" y="227"/>
                    <a:pt x="0" y="93"/>
                    <a:pt x="55" y="59"/>
                  </a:cubicBezTo>
                  <a:cubicBezTo>
                    <a:pt x="75" y="46"/>
                    <a:pt x="140" y="0"/>
                    <a:pt x="186" y="10"/>
                  </a:cubicBezTo>
                  <a:cubicBezTo>
                    <a:pt x="231" y="19"/>
                    <a:pt x="213" y="75"/>
                    <a:pt x="213" y="75"/>
                  </a:cubicBezTo>
                  <a:cubicBezTo>
                    <a:pt x="213" y="75"/>
                    <a:pt x="214" y="83"/>
                    <a:pt x="216" y="92"/>
                  </a:cubicBezTo>
                  <a:cubicBezTo>
                    <a:pt x="219" y="104"/>
                    <a:pt x="221" y="116"/>
                    <a:pt x="222" y="128"/>
                  </a:cubicBezTo>
                  <a:cubicBezTo>
                    <a:pt x="222" y="129"/>
                    <a:pt x="222" y="130"/>
                    <a:pt x="221" y="131"/>
                  </a:cubicBezTo>
                  <a:close/>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5" name="îṥļiḑe">
              <a:extLst>
                <a:ext uri="{FF2B5EF4-FFF2-40B4-BE49-F238E27FC236}">
                  <a16:creationId xmlns:a16="http://schemas.microsoft.com/office/drawing/2014/main" id="{EC712AA1-1911-4247-9E40-D012BC333B3A}"/>
                </a:ext>
              </a:extLst>
            </p:cNvPr>
            <p:cNvSpPr/>
            <p:nvPr/>
          </p:nvSpPr>
          <p:spPr bwMode="auto">
            <a:xfrm>
              <a:off x="4044950" y="3638550"/>
              <a:ext cx="188913" cy="798513"/>
            </a:xfrm>
            <a:custGeom>
              <a:avLst/>
              <a:gdLst>
                <a:gd name="T0" fmla="*/ 98 w 141"/>
                <a:gd name="T1" fmla="*/ 5 h 594"/>
                <a:gd name="T2" fmla="*/ 8 w 141"/>
                <a:gd name="T3" fmla="*/ 122 h 594"/>
                <a:gd name="T4" fmla="*/ 3 w 141"/>
                <a:gd name="T5" fmla="*/ 361 h 594"/>
                <a:gd name="T6" fmla="*/ 68 w 141"/>
                <a:gd name="T7" fmla="*/ 594 h 594"/>
                <a:gd name="T8" fmla="*/ 132 w 141"/>
                <a:gd name="T9" fmla="*/ 577 h 594"/>
                <a:gd name="T10" fmla="*/ 112 w 141"/>
                <a:gd name="T11" fmla="*/ 390 h 594"/>
                <a:gd name="T12" fmla="*/ 120 w 141"/>
                <a:gd name="T13" fmla="*/ 146 h 594"/>
                <a:gd name="T14" fmla="*/ 98 w 141"/>
                <a:gd name="T15" fmla="*/ 5 h 5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94">
                  <a:moveTo>
                    <a:pt x="98" y="5"/>
                  </a:moveTo>
                  <a:cubicBezTo>
                    <a:pt x="98" y="5"/>
                    <a:pt x="15" y="0"/>
                    <a:pt x="8" y="122"/>
                  </a:cubicBezTo>
                  <a:cubicBezTo>
                    <a:pt x="0" y="244"/>
                    <a:pt x="3" y="358"/>
                    <a:pt x="3" y="361"/>
                  </a:cubicBezTo>
                  <a:cubicBezTo>
                    <a:pt x="3" y="363"/>
                    <a:pt x="37" y="594"/>
                    <a:pt x="68" y="594"/>
                  </a:cubicBezTo>
                  <a:cubicBezTo>
                    <a:pt x="100" y="594"/>
                    <a:pt x="124" y="589"/>
                    <a:pt x="132" y="577"/>
                  </a:cubicBezTo>
                  <a:cubicBezTo>
                    <a:pt x="139" y="565"/>
                    <a:pt x="112" y="390"/>
                    <a:pt x="112" y="390"/>
                  </a:cubicBezTo>
                  <a:cubicBezTo>
                    <a:pt x="112" y="390"/>
                    <a:pt x="100" y="205"/>
                    <a:pt x="120" y="146"/>
                  </a:cubicBezTo>
                  <a:cubicBezTo>
                    <a:pt x="139" y="88"/>
                    <a:pt x="141" y="13"/>
                    <a:pt x="98" y="5"/>
                  </a:cubicBezTo>
                </a:path>
              </a:pathLst>
            </a:custGeom>
            <a:solidFill>
              <a:srgbClr val="F9A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6" name="îşlïde">
              <a:extLst>
                <a:ext uri="{FF2B5EF4-FFF2-40B4-BE49-F238E27FC236}">
                  <a16:creationId xmlns:a16="http://schemas.microsoft.com/office/drawing/2014/main" id="{4F13E91D-BF06-434A-8459-AAB25436F815}"/>
                </a:ext>
              </a:extLst>
            </p:cNvPr>
            <p:cNvSpPr/>
            <p:nvPr/>
          </p:nvSpPr>
          <p:spPr bwMode="auto">
            <a:xfrm>
              <a:off x="4068763" y="4310063"/>
              <a:ext cx="55563" cy="128588"/>
            </a:xfrm>
            <a:custGeom>
              <a:avLst/>
              <a:gdLst>
                <a:gd name="T0" fmla="*/ 0 w 42"/>
                <a:gd name="T1" fmla="*/ 0 h 96"/>
                <a:gd name="T2" fmla="*/ 42 w 42"/>
                <a:gd name="T3" fmla="*/ 96 h 96"/>
                <a:gd name="T4" fmla="*/ 39 w 42"/>
                <a:gd name="T5" fmla="*/ 85 h 96"/>
                <a:gd name="T6" fmla="*/ 11 w 42"/>
                <a:gd name="T7" fmla="*/ 1 h 96"/>
                <a:gd name="T8" fmla="*/ 0 w 42"/>
                <a:gd name="T9" fmla="*/ 0 h 96"/>
              </a:gdLst>
              <a:ahLst/>
              <a:cxnLst>
                <a:cxn ang="0">
                  <a:pos x="T0" y="T1"/>
                </a:cxn>
                <a:cxn ang="0">
                  <a:pos x="T2" y="T3"/>
                </a:cxn>
                <a:cxn ang="0">
                  <a:pos x="T4" y="T5"/>
                </a:cxn>
                <a:cxn ang="0">
                  <a:pos x="T6" y="T7"/>
                </a:cxn>
                <a:cxn ang="0">
                  <a:pos x="T8" y="T9"/>
                </a:cxn>
              </a:cxnLst>
              <a:rect l="0" t="0" r="r" b="b"/>
              <a:pathLst>
                <a:path w="42" h="96">
                  <a:moveTo>
                    <a:pt x="0" y="0"/>
                  </a:moveTo>
                  <a:cubicBezTo>
                    <a:pt x="42" y="96"/>
                    <a:pt x="42" y="96"/>
                    <a:pt x="42" y="96"/>
                  </a:cubicBezTo>
                  <a:cubicBezTo>
                    <a:pt x="39" y="85"/>
                    <a:pt x="39" y="85"/>
                    <a:pt x="39" y="85"/>
                  </a:cubicBezTo>
                  <a:cubicBezTo>
                    <a:pt x="29" y="70"/>
                    <a:pt x="19" y="37"/>
                    <a:pt x="11" y="1"/>
                  </a:cubicBezTo>
                  <a:cubicBezTo>
                    <a:pt x="7" y="0"/>
                    <a:pt x="3" y="0"/>
                    <a:pt x="0" y="0"/>
                  </a:cubicBezTo>
                </a:path>
              </a:pathLst>
            </a:custGeom>
            <a:solidFill>
              <a:srgbClr val="2A29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7" name="ïşľîḋe">
              <a:extLst>
                <a:ext uri="{FF2B5EF4-FFF2-40B4-BE49-F238E27FC236}">
                  <a16:creationId xmlns:a16="http://schemas.microsoft.com/office/drawing/2014/main" id="{A1F858BA-8C57-4F12-9022-13642ACD87CC}"/>
                </a:ext>
              </a:extLst>
            </p:cNvPr>
            <p:cNvSpPr/>
            <p:nvPr/>
          </p:nvSpPr>
          <p:spPr bwMode="auto">
            <a:xfrm>
              <a:off x="4017963" y="3843338"/>
              <a:ext cx="65088" cy="468313"/>
            </a:xfrm>
            <a:custGeom>
              <a:avLst/>
              <a:gdLst>
                <a:gd name="T0" fmla="*/ 24 w 49"/>
                <a:gd name="T1" fmla="*/ 0 h 349"/>
                <a:gd name="T2" fmla="*/ 24 w 49"/>
                <a:gd name="T3" fmla="*/ 4 h 349"/>
                <a:gd name="T4" fmla="*/ 0 w 49"/>
                <a:gd name="T5" fmla="*/ 264 h 349"/>
                <a:gd name="T6" fmla="*/ 38 w 49"/>
                <a:gd name="T7" fmla="*/ 348 h 349"/>
                <a:gd name="T8" fmla="*/ 49 w 49"/>
                <a:gd name="T9" fmla="*/ 349 h 349"/>
                <a:gd name="T10" fmla="*/ 36 w 49"/>
                <a:gd name="T11" fmla="*/ 288 h 349"/>
                <a:gd name="T12" fmla="*/ 28 w 49"/>
                <a:gd name="T13" fmla="*/ 260 h 349"/>
                <a:gd name="T14" fmla="*/ 28 w 49"/>
                <a:gd name="T15" fmla="*/ 241 h 349"/>
                <a:gd name="T16" fmla="*/ 23 w 49"/>
                <a:gd name="T17" fmla="*/ 209 h 349"/>
                <a:gd name="T18" fmla="*/ 25 w 49"/>
                <a:gd name="T19" fmla="*/ 34 h 349"/>
                <a:gd name="T20" fmla="*/ 24 w 49"/>
                <a:gd name="T21"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49">
                  <a:moveTo>
                    <a:pt x="24" y="0"/>
                  </a:moveTo>
                  <a:cubicBezTo>
                    <a:pt x="24" y="4"/>
                    <a:pt x="24" y="4"/>
                    <a:pt x="24" y="4"/>
                  </a:cubicBezTo>
                  <a:cubicBezTo>
                    <a:pt x="0" y="264"/>
                    <a:pt x="0" y="264"/>
                    <a:pt x="0" y="264"/>
                  </a:cubicBezTo>
                  <a:cubicBezTo>
                    <a:pt x="38" y="348"/>
                    <a:pt x="38" y="348"/>
                    <a:pt x="38" y="348"/>
                  </a:cubicBezTo>
                  <a:cubicBezTo>
                    <a:pt x="41" y="348"/>
                    <a:pt x="45" y="348"/>
                    <a:pt x="49" y="349"/>
                  </a:cubicBezTo>
                  <a:cubicBezTo>
                    <a:pt x="44" y="328"/>
                    <a:pt x="40" y="307"/>
                    <a:pt x="36" y="288"/>
                  </a:cubicBezTo>
                  <a:cubicBezTo>
                    <a:pt x="28" y="260"/>
                    <a:pt x="28" y="260"/>
                    <a:pt x="28" y="260"/>
                  </a:cubicBezTo>
                  <a:cubicBezTo>
                    <a:pt x="28" y="241"/>
                    <a:pt x="28" y="241"/>
                    <a:pt x="28" y="241"/>
                  </a:cubicBezTo>
                  <a:cubicBezTo>
                    <a:pt x="25" y="222"/>
                    <a:pt x="23" y="209"/>
                    <a:pt x="23" y="209"/>
                  </a:cubicBezTo>
                  <a:cubicBezTo>
                    <a:pt x="23" y="207"/>
                    <a:pt x="21" y="129"/>
                    <a:pt x="25" y="34"/>
                  </a:cubicBezTo>
                  <a:cubicBezTo>
                    <a:pt x="24" y="0"/>
                    <a:pt x="24" y="0"/>
                    <a:pt x="24" y="0"/>
                  </a:cubicBezTo>
                </a:path>
              </a:pathLst>
            </a:custGeom>
            <a:solidFill>
              <a:srgbClr val="E097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8" name="íšļïḋê">
              <a:extLst>
                <a:ext uri="{FF2B5EF4-FFF2-40B4-BE49-F238E27FC236}">
                  <a16:creationId xmlns:a16="http://schemas.microsoft.com/office/drawing/2014/main" id="{C41A7A1C-8A81-4555-AD4E-5EFBA3141AA2}"/>
                </a:ext>
              </a:extLst>
            </p:cNvPr>
            <p:cNvSpPr/>
            <p:nvPr/>
          </p:nvSpPr>
          <p:spPr bwMode="auto">
            <a:xfrm>
              <a:off x="4044950" y="3887788"/>
              <a:ext cx="76200" cy="536575"/>
            </a:xfrm>
            <a:custGeom>
              <a:avLst/>
              <a:gdLst>
                <a:gd name="T0" fmla="*/ 15 w 56"/>
                <a:gd name="T1" fmla="*/ 254 h 399"/>
                <a:gd name="T2" fmla="*/ 28 w 56"/>
                <a:gd name="T3" fmla="*/ 315 h 399"/>
                <a:gd name="T4" fmla="*/ 56 w 56"/>
                <a:gd name="T5" fmla="*/ 399 h 399"/>
                <a:gd name="T6" fmla="*/ 15 w 56"/>
                <a:gd name="T7" fmla="*/ 254 h 399"/>
                <a:gd name="T8" fmla="*/ 4 w 56"/>
                <a:gd name="T9" fmla="*/ 0 h 399"/>
                <a:gd name="T10" fmla="*/ 2 w 56"/>
                <a:gd name="T11" fmla="*/ 175 h 399"/>
                <a:gd name="T12" fmla="*/ 7 w 56"/>
                <a:gd name="T13" fmla="*/ 207 h 399"/>
                <a:gd name="T14" fmla="*/ 4 w 56"/>
                <a:gd name="T15" fmla="*/ 0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399">
                  <a:moveTo>
                    <a:pt x="15" y="254"/>
                  </a:moveTo>
                  <a:cubicBezTo>
                    <a:pt x="19" y="273"/>
                    <a:pt x="23" y="294"/>
                    <a:pt x="28" y="315"/>
                  </a:cubicBezTo>
                  <a:cubicBezTo>
                    <a:pt x="36" y="351"/>
                    <a:pt x="46" y="384"/>
                    <a:pt x="56" y="399"/>
                  </a:cubicBezTo>
                  <a:cubicBezTo>
                    <a:pt x="15" y="254"/>
                    <a:pt x="15" y="254"/>
                    <a:pt x="15" y="254"/>
                  </a:cubicBezTo>
                  <a:moveTo>
                    <a:pt x="4" y="0"/>
                  </a:moveTo>
                  <a:cubicBezTo>
                    <a:pt x="0" y="95"/>
                    <a:pt x="2" y="173"/>
                    <a:pt x="2" y="175"/>
                  </a:cubicBezTo>
                  <a:cubicBezTo>
                    <a:pt x="2" y="175"/>
                    <a:pt x="4" y="188"/>
                    <a:pt x="7" y="207"/>
                  </a:cubicBezTo>
                  <a:cubicBezTo>
                    <a:pt x="4" y="0"/>
                    <a:pt x="4" y="0"/>
                    <a:pt x="4" y="0"/>
                  </a:cubicBezTo>
                </a:path>
              </a:pathLst>
            </a:custGeom>
            <a:solidFill>
              <a:srgbClr val="E097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9" name="íSľîde">
              <a:extLst>
                <a:ext uri="{FF2B5EF4-FFF2-40B4-BE49-F238E27FC236}">
                  <a16:creationId xmlns:a16="http://schemas.microsoft.com/office/drawing/2014/main" id="{E14B0FBC-A04D-4AB7-B308-6F46D95AA506}"/>
                </a:ext>
              </a:extLst>
            </p:cNvPr>
            <p:cNvSpPr/>
            <p:nvPr/>
          </p:nvSpPr>
          <p:spPr bwMode="auto">
            <a:xfrm>
              <a:off x="4191000" y="3886200"/>
              <a:ext cx="22225" cy="411163"/>
            </a:xfrm>
            <a:custGeom>
              <a:avLst/>
              <a:gdLst>
                <a:gd name="T0" fmla="*/ 11 w 17"/>
                <a:gd name="T1" fmla="*/ 0 h 306"/>
                <a:gd name="T2" fmla="*/ 0 w 17"/>
                <a:gd name="T3" fmla="*/ 100 h 306"/>
                <a:gd name="T4" fmla="*/ 3 w 17"/>
                <a:gd name="T5" fmla="*/ 198 h 306"/>
                <a:gd name="T6" fmla="*/ 9 w 17"/>
                <a:gd name="T7" fmla="*/ 248 h 306"/>
                <a:gd name="T8" fmla="*/ 17 w 17"/>
                <a:gd name="T9" fmla="*/ 306 h 306"/>
                <a:gd name="T10" fmla="*/ 17 w 17"/>
                <a:gd name="T11" fmla="*/ 306 h 306"/>
                <a:gd name="T12" fmla="*/ 11 w 17"/>
                <a:gd name="T13" fmla="*/ 0 h 306"/>
              </a:gdLst>
              <a:ahLst/>
              <a:cxnLst>
                <a:cxn ang="0">
                  <a:pos x="T0" y="T1"/>
                </a:cxn>
                <a:cxn ang="0">
                  <a:pos x="T2" y="T3"/>
                </a:cxn>
                <a:cxn ang="0">
                  <a:pos x="T4" y="T5"/>
                </a:cxn>
                <a:cxn ang="0">
                  <a:pos x="T6" y="T7"/>
                </a:cxn>
                <a:cxn ang="0">
                  <a:pos x="T8" y="T9"/>
                </a:cxn>
                <a:cxn ang="0">
                  <a:pos x="T10" y="T11"/>
                </a:cxn>
                <a:cxn ang="0">
                  <a:pos x="T12" y="T13"/>
                </a:cxn>
              </a:cxnLst>
              <a:rect l="0" t="0" r="r" b="b"/>
              <a:pathLst>
                <a:path w="17" h="306">
                  <a:moveTo>
                    <a:pt x="11" y="0"/>
                  </a:moveTo>
                  <a:cubicBezTo>
                    <a:pt x="0" y="100"/>
                    <a:pt x="0" y="100"/>
                    <a:pt x="0" y="100"/>
                  </a:cubicBezTo>
                  <a:cubicBezTo>
                    <a:pt x="0" y="143"/>
                    <a:pt x="2" y="182"/>
                    <a:pt x="3" y="198"/>
                  </a:cubicBezTo>
                  <a:cubicBezTo>
                    <a:pt x="9" y="248"/>
                    <a:pt x="9" y="248"/>
                    <a:pt x="9" y="248"/>
                  </a:cubicBezTo>
                  <a:cubicBezTo>
                    <a:pt x="12" y="266"/>
                    <a:pt x="15" y="286"/>
                    <a:pt x="17" y="306"/>
                  </a:cubicBezTo>
                  <a:cubicBezTo>
                    <a:pt x="17" y="306"/>
                    <a:pt x="17" y="306"/>
                    <a:pt x="17" y="306"/>
                  </a:cubicBezTo>
                  <a:cubicBezTo>
                    <a:pt x="11" y="0"/>
                    <a:pt x="11" y="0"/>
                    <a:pt x="11" y="0"/>
                  </a:cubicBezTo>
                </a:path>
              </a:pathLst>
            </a:custGeom>
            <a:solidFill>
              <a:srgbClr val="E097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0" name="ï$1îḑê">
              <a:extLst>
                <a:ext uri="{FF2B5EF4-FFF2-40B4-BE49-F238E27FC236}">
                  <a16:creationId xmlns:a16="http://schemas.microsoft.com/office/drawing/2014/main" id="{DD114096-F435-43D8-9B00-DD5642BACCDE}"/>
                </a:ext>
              </a:extLst>
            </p:cNvPr>
            <p:cNvSpPr/>
            <p:nvPr/>
          </p:nvSpPr>
          <p:spPr bwMode="auto">
            <a:xfrm>
              <a:off x="4184650" y="4019550"/>
              <a:ext cx="28575" cy="277813"/>
            </a:xfrm>
            <a:custGeom>
              <a:avLst/>
              <a:gdLst>
                <a:gd name="T0" fmla="*/ 14 w 22"/>
                <a:gd name="T1" fmla="*/ 148 h 206"/>
                <a:gd name="T2" fmla="*/ 22 w 22"/>
                <a:gd name="T3" fmla="*/ 206 h 206"/>
                <a:gd name="T4" fmla="*/ 14 w 22"/>
                <a:gd name="T5" fmla="*/ 148 h 206"/>
                <a:gd name="T6" fmla="*/ 5 w 22"/>
                <a:gd name="T7" fmla="*/ 0 h 206"/>
                <a:gd name="T8" fmla="*/ 0 w 22"/>
                <a:gd name="T9" fmla="*/ 40 h 206"/>
                <a:gd name="T10" fmla="*/ 8 w 22"/>
                <a:gd name="T11" fmla="*/ 98 h 206"/>
                <a:gd name="T12" fmla="*/ 5 w 22"/>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22" h="206">
                  <a:moveTo>
                    <a:pt x="14" y="148"/>
                  </a:moveTo>
                  <a:cubicBezTo>
                    <a:pt x="22" y="206"/>
                    <a:pt x="22" y="206"/>
                    <a:pt x="22" y="206"/>
                  </a:cubicBezTo>
                  <a:cubicBezTo>
                    <a:pt x="20" y="186"/>
                    <a:pt x="17" y="166"/>
                    <a:pt x="14" y="148"/>
                  </a:cubicBezTo>
                  <a:moveTo>
                    <a:pt x="5" y="0"/>
                  </a:moveTo>
                  <a:cubicBezTo>
                    <a:pt x="0" y="40"/>
                    <a:pt x="0" y="40"/>
                    <a:pt x="0" y="40"/>
                  </a:cubicBezTo>
                  <a:cubicBezTo>
                    <a:pt x="8" y="98"/>
                    <a:pt x="8" y="98"/>
                    <a:pt x="8" y="98"/>
                  </a:cubicBezTo>
                  <a:cubicBezTo>
                    <a:pt x="7" y="82"/>
                    <a:pt x="5" y="43"/>
                    <a:pt x="5" y="0"/>
                  </a:cubicBezTo>
                </a:path>
              </a:pathLst>
            </a:custGeom>
            <a:solidFill>
              <a:srgbClr val="E097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Tree>
    <p:custDataLst>
      <p:tags r:id="rId1"/>
    </p:custDataLst>
    <p:extLst>
      <p:ext uri="{BB962C8B-B14F-4D97-AF65-F5344CB8AC3E}">
        <p14:creationId xmlns:p14="http://schemas.microsoft.com/office/powerpoint/2010/main" val="41970825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B9AADAF-981D-4EAB-93F3-7BE484398BF0}"/>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3.3 reduce()</a:t>
            </a:r>
            <a:r>
              <a:rPr lang="en-US" altLang="zh-CN" baseline="30000" dirty="0">
                <a:latin typeface="+mn-lt"/>
                <a:ea typeface="+mn-ea"/>
                <a:cs typeface="+mn-ea"/>
                <a:sym typeface="+mn-lt"/>
              </a:rPr>
              <a:t>[1]</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D66ACEC1-7D93-4DF0-A5EF-9F8A002EC030}"/>
              </a:ext>
            </a:extLst>
          </p:cNvPr>
          <p:cNvSpPr>
            <a:spLocks noGrp="1"/>
          </p:cNvSpPr>
          <p:nvPr>
            <p:ph idx="1"/>
          </p:nvPr>
        </p:nvSpPr>
        <p:spPr/>
        <p:txBody>
          <a:bodyPr/>
          <a:lstStyle/>
          <a:p>
            <a:pPr>
              <a:lnSpc>
                <a:spcPct val="120000"/>
              </a:lnSpc>
              <a:spcBef>
                <a:spcPct val="0"/>
              </a:spcBef>
            </a:pPr>
            <a:r>
              <a:rPr lang="en-US" altLang="zh-CN" dirty="0">
                <a:cs typeface="+mn-ea"/>
                <a:sym typeface="+mn-lt"/>
              </a:rPr>
              <a:t>reduce</a:t>
            </a:r>
            <a:r>
              <a:rPr lang="zh-CN" altLang="en-US" dirty="0">
                <a:cs typeface="+mn-ea"/>
                <a:sym typeface="+mn-lt"/>
              </a:rPr>
              <a:t>对流元素进行归约操作，然后生成一个值</a:t>
            </a:r>
            <a:endParaRPr lang="en-US" altLang="zh-CN" dirty="0">
              <a:cs typeface="+mn-ea"/>
              <a:sym typeface="+mn-lt"/>
            </a:endParaRPr>
          </a:p>
          <a:p>
            <a:pPr>
              <a:lnSpc>
                <a:spcPct val="120000"/>
              </a:lnSpc>
              <a:spcBef>
                <a:spcPct val="0"/>
              </a:spcBef>
            </a:pPr>
            <a:r>
              <a:rPr lang="en-US" altLang="zh-CN" dirty="0">
                <a:cs typeface="+mn-ea"/>
                <a:sym typeface="+mn-lt"/>
              </a:rPr>
              <a:t>sum()</a:t>
            </a:r>
            <a:r>
              <a:rPr lang="zh-CN" altLang="en-US" dirty="0">
                <a:cs typeface="+mn-ea"/>
                <a:sym typeface="+mn-lt"/>
              </a:rPr>
              <a:t>、</a:t>
            </a:r>
            <a:r>
              <a:rPr lang="en-US" altLang="zh-CN" dirty="0">
                <a:cs typeface="+mn-ea"/>
                <a:sym typeface="+mn-lt"/>
              </a:rPr>
              <a:t>max()</a:t>
            </a:r>
            <a:r>
              <a:rPr lang="zh-CN" altLang="en-US" dirty="0">
                <a:cs typeface="+mn-ea"/>
                <a:sym typeface="+mn-lt"/>
              </a:rPr>
              <a:t>、</a:t>
            </a:r>
            <a:r>
              <a:rPr lang="en-US" altLang="zh-CN" dirty="0">
                <a:cs typeface="+mn-ea"/>
                <a:sym typeface="+mn-lt"/>
              </a:rPr>
              <a:t>min()</a:t>
            </a:r>
            <a:r>
              <a:rPr lang="zh-CN" altLang="en-US" dirty="0">
                <a:cs typeface="+mn-ea"/>
                <a:sym typeface="+mn-lt"/>
              </a:rPr>
              <a:t>、</a:t>
            </a:r>
            <a:r>
              <a:rPr lang="en-US" altLang="zh-CN" dirty="0">
                <a:cs typeface="+mn-ea"/>
                <a:sym typeface="+mn-lt"/>
              </a:rPr>
              <a:t>count()</a:t>
            </a:r>
            <a:r>
              <a:rPr lang="zh-CN" altLang="en-US" dirty="0">
                <a:cs typeface="+mn-ea"/>
                <a:sym typeface="+mn-lt"/>
              </a:rPr>
              <a:t>等都是对</a:t>
            </a:r>
            <a:r>
              <a:rPr lang="en-US" altLang="zh-CN" dirty="0">
                <a:cs typeface="+mn-ea"/>
                <a:sym typeface="+mn-lt"/>
              </a:rPr>
              <a:t>reduce</a:t>
            </a:r>
            <a:r>
              <a:rPr lang="zh-CN" altLang="en-US" dirty="0">
                <a:cs typeface="+mn-ea"/>
                <a:sym typeface="+mn-lt"/>
              </a:rPr>
              <a:t>的封装</a:t>
            </a:r>
            <a:endParaRPr lang="en-US" altLang="zh-CN" dirty="0">
              <a:cs typeface="+mn-ea"/>
              <a:sym typeface="+mn-lt"/>
            </a:endParaRPr>
          </a:p>
          <a:p>
            <a:pPr>
              <a:lnSpc>
                <a:spcPct val="120000"/>
              </a:lnSpc>
              <a:spcBef>
                <a:spcPct val="0"/>
              </a:spcBef>
            </a:pPr>
            <a:endParaRPr lang="en-US" altLang="zh-CN" dirty="0">
              <a:cs typeface="+mn-ea"/>
              <a:sym typeface="+mn-lt"/>
            </a:endParaRPr>
          </a:p>
          <a:p>
            <a:pPr>
              <a:lnSpc>
                <a:spcPct val="120000"/>
              </a:lnSpc>
              <a:spcBef>
                <a:spcPct val="0"/>
              </a:spcBef>
            </a:pPr>
            <a:r>
              <a:rPr lang="zh-CN" altLang="en-US" dirty="0">
                <a:cs typeface="+mn-ea"/>
                <a:sym typeface="+mn-lt"/>
              </a:rPr>
              <a:t>有如下三种重载形式：</a:t>
            </a:r>
            <a:endParaRPr lang="en-US" altLang="zh-CN" dirty="0">
              <a:cs typeface="+mn-ea"/>
              <a:sym typeface="+mn-lt"/>
            </a:endParaRPr>
          </a:p>
          <a:p>
            <a:pPr lvl="1">
              <a:lnSpc>
                <a:spcPct val="120000"/>
              </a:lnSpc>
              <a:spcBef>
                <a:spcPct val="0"/>
              </a:spcBef>
            </a:pPr>
            <a:r>
              <a:rPr lang="en-US" altLang="zh-CN" dirty="0">
                <a:cs typeface="+mn-ea"/>
                <a:sym typeface="+mn-lt"/>
              </a:rPr>
              <a:t>reduce(accumulator)</a:t>
            </a:r>
            <a:r>
              <a:rPr lang="en-US" altLang="zh-CN" baseline="30000" dirty="0">
                <a:cs typeface="+mn-ea"/>
                <a:sym typeface="+mn-lt"/>
              </a:rPr>
              <a:t>[2]</a:t>
            </a:r>
          </a:p>
          <a:p>
            <a:pPr lvl="1">
              <a:lnSpc>
                <a:spcPct val="120000"/>
              </a:lnSpc>
              <a:spcBef>
                <a:spcPct val="0"/>
              </a:spcBef>
            </a:pPr>
            <a:r>
              <a:rPr lang="en-US" altLang="zh-CN" dirty="0">
                <a:cs typeface="+mn-ea"/>
                <a:sym typeface="+mn-lt"/>
              </a:rPr>
              <a:t>reduce(identity, accumulator)</a:t>
            </a:r>
            <a:r>
              <a:rPr lang="en-US" altLang="zh-CN" baseline="30000" dirty="0">
                <a:cs typeface="+mn-ea"/>
                <a:sym typeface="+mn-lt"/>
              </a:rPr>
              <a:t>[3]</a:t>
            </a:r>
          </a:p>
          <a:p>
            <a:pPr lvl="1">
              <a:lnSpc>
                <a:spcPct val="120000"/>
              </a:lnSpc>
              <a:spcBef>
                <a:spcPct val="0"/>
              </a:spcBef>
            </a:pPr>
            <a:r>
              <a:rPr lang="es-ES" altLang="zh-CN" dirty="0">
                <a:cs typeface="+mn-ea"/>
                <a:sym typeface="+mn-lt"/>
              </a:rPr>
              <a:t>reduce(identity, accumulator, combiner)</a:t>
            </a:r>
            <a:r>
              <a:rPr lang="es-ES" altLang="zh-CN" baseline="30000" dirty="0">
                <a:cs typeface="+mn-ea"/>
                <a:sym typeface="+mn-lt"/>
              </a:rPr>
              <a:t>[4]</a:t>
            </a:r>
            <a:endParaRPr lang="zh-CN" altLang="en-US" baseline="30000" dirty="0">
              <a:cs typeface="+mn-ea"/>
              <a:sym typeface="+mn-lt"/>
            </a:endParaRPr>
          </a:p>
        </p:txBody>
      </p:sp>
    </p:spTree>
    <p:extLst>
      <p:ext uri="{BB962C8B-B14F-4D97-AF65-F5344CB8AC3E}">
        <p14:creationId xmlns:p14="http://schemas.microsoft.com/office/powerpoint/2010/main" val="23018182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内容占位符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81985" y="1449429"/>
            <a:ext cx="9308043" cy="3909378"/>
          </a:xfrm>
          <a:prstGeom prst="rect">
            <a:avLst/>
          </a:prstGeom>
          <a:ln>
            <a:noFill/>
          </a:ln>
          <a:effectLst>
            <a:softEdge rad="112500"/>
          </a:effectLst>
        </p:spPr>
      </p:pic>
    </p:spTree>
    <p:extLst>
      <p:ext uri="{BB962C8B-B14F-4D97-AF65-F5344CB8AC3E}">
        <p14:creationId xmlns:p14="http://schemas.microsoft.com/office/powerpoint/2010/main" val="17740627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D14DC2C-8B1B-4D93-8BFF-0A858DB0AB08}"/>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3.4 collect()</a:t>
            </a:r>
            <a:r>
              <a:rPr lang="en-US" altLang="zh-CN" baseline="30000" dirty="0">
                <a:latin typeface="+mn-lt"/>
                <a:ea typeface="+mn-ea"/>
                <a:cs typeface="+mn-ea"/>
                <a:sym typeface="+mn-lt"/>
              </a:rPr>
              <a:t>[1]</a:t>
            </a:r>
            <a:endParaRPr lang="zh-CN" altLang="en-US" dirty="0">
              <a:latin typeface="+mn-lt"/>
              <a:ea typeface="+mn-ea"/>
              <a:cs typeface="+mn-ea"/>
              <a:sym typeface="+mn-lt"/>
            </a:endParaRPr>
          </a:p>
        </p:txBody>
      </p:sp>
      <p:sp>
        <p:nvSpPr>
          <p:cNvPr id="3" name="内容占位符 2">
            <a:extLst>
              <a:ext uri="{FF2B5EF4-FFF2-40B4-BE49-F238E27FC236}">
                <a16:creationId xmlns:a16="http://schemas.microsoft.com/office/drawing/2014/main" id="{F65C75E7-1144-4307-8DE2-27BDA144ADAC}"/>
              </a:ext>
            </a:extLst>
          </p:cNvPr>
          <p:cNvSpPr>
            <a:spLocks noGrp="1"/>
          </p:cNvSpPr>
          <p:nvPr>
            <p:ph idx="1"/>
          </p:nvPr>
        </p:nvSpPr>
        <p:spPr/>
        <p:txBody>
          <a:bodyPr>
            <a:normAutofit/>
          </a:bodyPr>
          <a:lstStyle/>
          <a:p>
            <a:pPr>
              <a:lnSpc>
                <a:spcPct val="120000"/>
              </a:lnSpc>
              <a:spcBef>
                <a:spcPct val="0"/>
              </a:spcBef>
            </a:pPr>
            <a:r>
              <a:rPr lang="en-US" altLang="zh-CN" dirty="0">
                <a:cs typeface="+mn-ea"/>
                <a:sym typeface="+mn-lt"/>
              </a:rPr>
              <a:t>collect</a:t>
            </a:r>
            <a:r>
              <a:rPr lang="zh-CN" altLang="en-US" dirty="0">
                <a:cs typeface="+mn-ea"/>
                <a:sym typeface="+mn-lt"/>
              </a:rPr>
              <a:t>使用</a:t>
            </a:r>
            <a:r>
              <a:rPr lang="en-US" altLang="zh-CN" dirty="0">
                <a:cs typeface="+mn-ea"/>
                <a:sym typeface="+mn-lt"/>
              </a:rPr>
              <a:t>Collector</a:t>
            </a:r>
            <a:r>
              <a:rPr lang="zh-CN" altLang="en-US" dirty="0">
                <a:cs typeface="+mn-ea"/>
                <a:sym typeface="+mn-lt"/>
              </a:rPr>
              <a:t>收集流元素，结果通常为集合类</a:t>
            </a:r>
            <a:endParaRPr lang="en-US" altLang="zh-CN" dirty="0">
              <a:cs typeface="+mn-ea"/>
              <a:sym typeface="+mn-lt"/>
            </a:endParaRPr>
          </a:p>
          <a:p>
            <a:pPr>
              <a:lnSpc>
                <a:spcPct val="120000"/>
              </a:lnSpc>
              <a:spcBef>
                <a:spcPct val="0"/>
              </a:spcBef>
            </a:pPr>
            <a:r>
              <a:rPr lang="zh-CN" altLang="en-US" dirty="0">
                <a:cs typeface="+mn-ea"/>
                <a:sym typeface="+mn-lt"/>
              </a:rPr>
              <a:t>不夸张的讲，如果你发现某个功能在</a:t>
            </a:r>
            <a:r>
              <a:rPr lang="en-US" altLang="zh-CN" dirty="0">
                <a:cs typeface="+mn-ea"/>
                <a:sym typeface="+mn-lt"/>
              </a:rPr>
              <a:t>Stream</a:t>
            </a:r>
            <a:r>
              <a:rPr lang="zh-CN" altLang="en-US" dirty="0">
                <a:cs typeface="+mn-ea"/>
                <a:sym typeface="+mn-lt"/>
              </a:rPr>
              <a:t>接口中没找到，十有八九可以通过</a:t>
            </a:r>
            <a:r>
              <a:rPr lang="en-US" altLang="zh-CN" dirty="0">
                <a:cs typeface="+mn-ea"/>
                <a:sym typeface="+mn-lt"/>
              </a:rPr>
              <a:t>collect()</a:t>
            </a:r>
            <a:r>
              <a:rPr lang="zh-CN" altLang="en-US" dirty="0">
                <a:cs typeface="+mn-ea"/>
                <a:sym typeface="+mn-lt"/>
              </a:rPr>
              <a:t>方法实现，本节课主要讲如何将流收集到集合中</a:t>
            </a:r>
            <a:endParaRPr lang="en-US" altLang="zh-CN" dirty="0">
              <a:cs typeface="+mn-ea"/>
              <a:sym typeface="+mn-lt"/>
            </a:endParaRPr>
          </a:p>
          <a:p>
            <a:pPr>
              <a:lnSpc>
                <a:spcPct val="120000"/>
              </a:lnSpc>
              <a:spcBef>
                <a:spcPct val="0"/>
              </a:spcBef>
            </a:pPr>
            <a:endParaRPr lang="en-US" altLang="zh-CN" dirty="0">
              <a:cs typeface="+mn-ea"/>
              <a:sym typeface="+mn-lt"/>
            </a:endParaRPr>
          </a:p>
          <a:p>
            <a:pPr>
              <a:lnSpc>
                <a:spcPct val="120000"/>
              </a:lnSpc>
              <a:spcBef>
                <a:spcPct val="0"/>
              </a:spcBef>
            </a:pPr>
            <a:r>
              <a:rPr lang="en-US" altLang="zh-CN" dirty="0">
                <a:cs typeface="+mn-ea"/>
                <a:sym typeface="+mn-lt"/>
              </a:rPr>
              <a:t>Collectors</a:t>
            </a:r>
            <a:r>
              <a:rPr lang="zh-CN" altLang="en-US" dirty="0">
                <a:cs typeface="+mn-ea"/>
                <a:sym typeface="+mn-lt"/>
              </a:rPr>
              <a:t>工具类常见的封装</a:t>
            </a:r>
            <a:r>
              <a:rPr lang="en-US" altLang="zh-CN" baseline="30000" dirty="0">
                <a:cs typeface="+mn-ea"/>
                <a:sym typeface="+mn-lt"/>
              </a:rPr>
              <a:t>[2]</a:t>
            </a:r>
            <a:r>
              <a:rPr lang="zh-CN" altLang="en-US" dirty="0">
                <a:cs typeface="+mn-ea"/>
                <a:sym typeface="+mn-lt"/>
              </a:rPr>
              <a:t>：</a:t>
            </a:r>
            <a:endParaRPr lang="en-US" altLang="zh-CN" dirty="0">
              <a:cs typeface="+mn-ea"/>
              <a:sym typeface="+mn-lt"/>
            </a:endParaRPr>
          </a:p>
          <a:p>
            <a:pPr lvl="1">
              <a:lnSpc>
                <a:spcPct val="120000"/>
              </a:lnSpc>
              <a:spcBef>
                <a:spcPct val="0"/>
              </a:spcBef>
            </a:pPr>
            <a:r>
              <a:rPr lang="en-US" altLang="zh-CN" dirty="0" err="1">
                <a:cs typeface="+mn-ea"/>
                <a:sym typeface="+mn-lt"/>
              </a:rPr>
              <a:t>Collectors.toList</a:t>
            </a:r>
            <a:r>
              <a:rPr lang="en-US" altLang="zh-CN" dirty="0">
                <a:cs typeface="+mn-ea"/>
                <a:sym typeface="+mn-lt"/>
              </a:rPr>
              <a:t>()</a:t>
            </a:r>
            <a:r>
              <a:rPr lang="zh-CN" altLang="en-US" dirty="0">
                <a:cs typeface="+mn-ea"/>
                <a:sym typeface="+mn-lt"/>
              </a:rPr>
              <a:t>：收集成</a:t>
            </a:r>
            <a:r>
              <a:rPr lang="en-US" altLang="zh-CN" dirty="0">
                <a:cs typeface="+mn-ea"/>
                <a:sym typeface="+mn-lt"/>
              </a:rPr>
              <a:t>List</a:t>
            </a:r>
          </a:p>
          <a:p>
            <a:pPr lvl="1">
              <a:lnSpc>
                <a:spcPct val="120000"/>
              </a:lnSpc>
              <a:spcBef>
                <a:spcPct val="0"/>
              </a:spcBef>
            </a:pPr>
            <a:r>
              <a:rPr lang="en-US" altLang="zh-CN" dirty="0" err="1">
                <a:cs typeface="+mn-ea"/>
                <a:sym typeface="+mn-lt"/>
              </a:rPr>
              <a:t>Collectors.toSet</a:t>
            </a:r>
            <a:r>
              <a:rPr lang="en-US" altLang="zh-CN" dirty="0">
                <a:cs typeface="+mn-ea"/>
                <a:sym typeface="+mn-lt"/>
              </a:rPr>
              <a:t>()</a:t>
            </a:r>
            <a:r>
              <a:rPr lang="zh-CN" altLang="en-US" dirty="0">
                <a:cs typeface="+mn-ea"/>
                <a:sym typeface="+mn-lt"/>
              </a:rPr>
              <a:t>：收集成</a:t>
            </a:r>
            <a:r>
              <a:rPr lang="en-US" altLang="zh-CN" dirty="0">
                <a:cs typeface="+mn-ea"/>
                <a:sym typeface="+mn-lt"/>
              </a:rPr>
              <a:t>Set</a:t>
            </a:r>
            <a:endParaRPr lang="zh-CN" altLang="en-US" dirty="0">
              <a:cs typeface="+mn-ea"/>
              <a:sym typeface="+mn-lt"/>
            </a:endParaRPr>
          </a:p>
          <a:p>
            <a:pPr lvl="1">
              <a:lnSpc>
                <a:spcPct val="120000"/>
              </a:lnSpc>
              <a:spcBef>
                <a:spcPct val="0"/>
              </a:spcBef>
            </a:pPr>
            <a:r>
              <a:rPr lang="en-US" altLang="zh-CN" dirty="0" err="1">
                <a:cs typeface="+mn-ea"/>
                <a:sym typeface="+mn-lt"/>
              </a:rPr>
              <a:t>Collectors.toMap</a:t>
            </a:r>
            <a:r>
              <a:rPr lang="en-US" altLang="zh-CN" dirty="0">
                <a:cs typeface="+mn-ea"/>
                <a:sym typeface="+mn-lt"/>
              </a:rPr>
              <a:t>()</a:t>
            </a:r>
            <a:r>
              <a:rPr lang="zh-CN" altLang="en-US" dirty="0">
                <a:cs typeface="+mn-ea"/>
                <a:sym typeface="+mn-lt"/>
              </a:rPr>
              <a:t>：收集成</a:t>
            </a:r>
            <a:r>
              <a:rPr lang="en-US" altLang="zh-CN" dirty="0">
                <a:cs typeface="+mn-ea"/>
                <a:sym typeface="+mn-lt"/>
              </a:rPr>
              <a:t>Map</a:t>
            </a:r>
            <a:endParaRPr lang="zh-CN" altLang="en-US" dirty="0">
              <a:cs typeface="+mn-ea"/>
              <a:sym typeface="+mn-lt"/>
            </a:endParaRPr>
          </a:p>
          <a:p>
            <a:pPr lvl="1">
              <a:lnSpc>
                <a:spcPct val="120000"/>
              </a:lnSpc>
              <a:spcBef>
                <a:spcPct val="0"/>
              </a:spcBef>
            </a:pPr>
            <a:r>
              <a:rPr lang="en-US" altLang="zh-CN" dirty="0" err="1">
                <a:cs typeface="+mn-ea"/>
                <a:sym typeface="+mn-lt"/>
              </a:rPr>
              <a:t>Collectors.toCollection</a:t>
            </a:r>
            <a:r>
              <a:rPr lang="en-US" altLang="zh-CN" dirty="0">
                <a:cs typeface="+mn-ea"/>
                <a:sym typeface="+mn-lt"/>
              </a:rPr>
              <a:t>()</a:t>
            </a:r>
            <a:r>
              <a:rPr lang="zh-CN" altLang="en-US" dirty="0">
                <a:cs typeface="+mn-ea"/>
                <a:sym typeface="+mn-lt"/>
              </a:rPr>
              <a:t>：收集成指定的集合类</a:t>
            </a:r>
          </a:p>
          <a:p>
            <a:pPr marL="0" indent="0">
              <a:lnSpc>
                <a:spcPct val="120000"/>
              </a:lnSpc>
              <a:spcBef>
                <a:spcPct val="0"/>
              </a:spcBef>
              <a:buNone/>
            </a:pPr>
            <a:endParaRPr lang="en-US" altLang="zh-CN" dirty="0">
              <a:cs typeface="+mn-ea"/>
              <a:sym typeface="+mn-lt"/>
            </a:endParaRPr>
          </a:p>
          <a:p>
            <a:pPr>
              <a:lnSpc>
                <a:spcPct val="120000"/>
              </a:lnSpc>
              <a:spcBef>
                <a:spcPct val="0"/>
              </a:spcBef>
            </a:pPr>
            <a:endParaRPr lang="zh-CN" altLang="en-US" dirty="0">
              <a:cs typeface="+mn-ea"/>
              <a:sym typeface="+mn-lt"/>
            </a:endParaRPr>
          </a:p>
        </p:txBody>
      </p:sp>
    </p:spTree>
    <p:extLst>
      <p:ext uri="{BB962C8B-B14F-4D97-AF65-F5344CB8AC3E}">
        <p14:creationId xmlns:p14="http://schemas.microsoft.com/office/powerpoint/2010/main" val="11482121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nSpc>
                <a:spcPct val="120000"/>
              </a:lnSpc>
            </a:pPr>
            <a:r>
              <a:rPr lang="en-US" altLang="zh-CN" dirty="0">
                <a:latin typeface="+mn-lt"/>
                <a:ea typeface="+mn-ea"/>
                <a:cs typeface="+mn-ea"/>
                <a:sym typeface="+mn-lt"/>
              </a:rPr>
              <a:t>6.3.4.1 Collectors</a:t>
            </a:r>
            <a:r>
              <a:rPr lang="zh-CN" altLang="en-US" dirty="0">
                <a:latin typeface="+mn-lt"/>
                <a:ea typeface="+mn-ea"/>
                <a:cs typeface="+mn-ea"/>
                <a:sym typeface="+mn-lt"/>
              </a:rPr>
              <a:t>还可以做更多</a:t>
            </a:r>
          </a:p>
        </p:txBody>
      </p:sp>
      <p:sp>
        <p:nvSpPr>
          <p:cNvPr id="3" name="内容占位符 2"/>
          <p:cNvSpPr>
            <a:spLocks noGrp="1"/>
          </p:cNvSpPr>
          <p:nvPr>
            <p:ph idx="1"/>
          </p:nvPr>
        </p:nvSpPr>
        <p:spPr/>
        <p:txBody>
          <a:bodyPr/>
          <a:lstStyle/>
          <a:p>
            <a:pPr>
              <a:lnSpc>
                <a:spcPct val="120000"/>
              </a:lnSpc>
              <a:spcBef>
                <a:spcPts val="0"/>
              </a:spcBef>
            </a:pPr>
            <a:endParaRPr lang="en-US" altLang="zh-CN" dirty="0">
              <a:cs typeface="+mn-ea"/>
              <a:sym typeface="+mn-lt"/>
            </a:endParaRPr>
          </a:p>
          <a:p>
            <a:pPr>
              <a:lnSpc>
                <a:spcPct val="120000"/>
              </a:lnSpc>
              <a:spcBef>
                <a:spcPts val="0"/>
              </a:spcBef>
            </a:pPr>
            <a:endParaRPr lang="en-US" altLang="zh-CN" dirty="0">
              <a:cs typeface="+mn-ea"/>
              <a:sym typeface="+mn-lt"/>
            </a:endParaRPr>
          </a:p>
          <a:p>
            <a:pPr>
              <a:lnSpc>
                <a:spcPct val="120000"/>
              </a:lnSpc>
              <a:spcBef>
                <a:spcPts val="0"/>
              </a:spcBef>
            </a:pPr>
            <a:endParaRPr lang="en-US" altLang="zh-CN" dirty="0">
              <a:cs typeface="+mn-ea"/>
              <a:sym typeface="+mn-lt"/>
            </a:endParaRPr>
          </a:p>
          <a:p>
            <a:pPr>
              <a:lnSpc>
                <a:spcPct val="120000"/>
              </a:lnSpc>
              <a:spcBef>
                <a:spcPts val="0"/>
              </a:spcBef>
            </a:pPr>
            <a:r>
              <a:rPr lang="en-US" altLang="zh-CN" dirty="0" err="1">
                <a:cs typeface="+mn-ea"/>
                <a:sym typeface="+mn-lt"/>
              </a:rPr>
              <a:t>Collectors.joining</a:t>
            </a:r>
            <a:r>
              <a:rPr lang="en-US" altLang="zh-CN" dirty="0">
                <a:cs typeface="+mn-ea"/>
                <a:sym typeface="+mn-lt"/>
              </a:rPr>
              <a:t>()</a:t>
            </a:r>
            <a:r>
              <a:rPr lang="zh-CN" altLang="en-US" dirty="0">
                <a:cs typeface="+mn-ea"/>
                <a:sym typeface="+mn-lt"/>
              </a:rPr>
              <a:t>：收集成字符串</a:t>
            </a:r>
            <a:endParaRPr lang="en-US" altLang="zh-CN" dirty="0">
              <a:cs typeface="+mn-ea"/>
              <a:sym typeface="+mn-lt"/>
            </a:endParaRPr>
          </a:p>
          <a:p>
            <a:pPr>
              <a:lnSpc>
                <a:spcPct val="120000"/>
              </a:lnSpc>
              <a:spcBef>
                <a:spcPts val="0"/>
              </a:spcBef>
            </a:pPr>
            <a:r>
              <a:rPr lang="en-US" altLang="zh-CN" dirty="0" err="1">
                <a:cs typeface="+mn-ea"/>
                <a:sym typeface="+mn-lt"/>
              </a:rPr>
              <a:t>Collectors.groupingBy</a:t>
            </a:r>
            <a:r>
              <a:rPr lang="en-US" altLang="zh-CN" dirty="0">
                <a:cs typeface="+mn-ea"/>
                <a:sym typeface="+mn-lt"/>
              </a:rPr>
              <a:t>()</a:t>
            </a:r>
            <a:r>
              <a:rPr lang="zh-CN" altLang="en-US" dirty="0">
                <a:cs typeface="+mn-ea"/>
                <a:sym typeface="+mn-lt"/>
              </a:rPr>
              <a:t>：将运算结果进行分组操作</a:t>
            </a:r>
            <a:endParaRPr lang="en-US" altLang="zh-CN" dirty="0">
              <a:cs typeface="+mn-ea"/>
              <a:sym typeface="+mn-lt"/>
            </a:endParaRPr>
          </a:p>
          <a:p>
            <a:pPr>
              <a:lnSpc>
                <a:spcPct val="120000"/>
              </a:lnSpc>
              <a:spcBef>
                <a:spcPts val="0"/>
              </a:spcBef>
            </a:pPr>
            <a:r>
              <a:rPr lang="zh-CN" altLang="en-US" dirty="0">
                <a:cs typeface="+mn-ea"/>
                <a:sym typeface="+mn-lt"/>
              </a:rPr>
              <a:t>还有</a:t>
            </a:r>
            <a:r>
              <a:rPr lang="en-US" altLang="zh-CN" dirty="0">
                <a:cs typeface="+mn-ea"/>
                <a:sym typeface="+mn-lt"/>
              </a:rPr>
              <a:t>counting()</a:t>
            </a:r>
            <a:r>
              <a:rPr lang="zh-CN" altLang="en-US" dirty="0">
                <a:cs typeface="+mn-ea"/>
                <a:sym typeface="+mn-lt"/>
              </a:rPr>
              <a:t>，</a:t>
            </a:r>
            <a:r>
              <a:rPr lang="en-US" altLang="zh-CN" dirty="0" err="1">
                <a:cs typeface="+mn-ea"/>
                <a:sym typeface="+mn-lt"/>
              </a:rPr>
              <a:t>minBy</a:t>
            </a:r>
            <a:r>
              <a:rPr lang="en-US" altLang="zh-CN" dirty="0">
                <a:cs typeface="+mn-ea"/>
                <a:sym typeface="+mn-lt"/>
              </a:rPr>
              <a:t>()</a:t>
            </a:r>
            <a:r>
              <a:rPr lang="zh-CN" altLang="en-US" dirty="0">
                <a:cs typeface="+mn-ea"/>
                <a:sym typeface="+mn-lt"/>
              </a:rPr>
              <a:t>，</a:t>
            </a:r>
            <a:r>
              <a:rPr lang="en-US" altLang="zh-CN" dirty="0" err="1">
                <a:cs typeface="+mn-ea"/>
                <a:sym typeface="+mn-lt"/>
              </a:rPr>
              <a:t>maxBy</a:t>
            </a:r>
            <a:r>
              <a:rPr lang="en-US" altLang="zh-CN" dirty="0">
                <a:cs typeface="+mn-ea"/>
                <a:sym typeface="+mn-lt"/>
              </a:rPr>
              <a:t>()</a:t>
            </a:r>
            <a:r>
              <a:rPr lang="zh-CN" altLang="en-US" dirty="0">
                <a:cs typeface="+mn-ea"/>
                <a:sym typeface="+mn-lt"/>
              </a:rPr>
              <a:t>，</a:t>
            </a:r>
            <a:r>
              <a:rPr lang="en-US" altLang="zh-CN" dirty="0" err="1">
                <a:cs typeface="+mn-ea"/>
                <a:sym typeface="+mn-lt"/>
              </a:rPr>
              <a:t>summingInt</a:t>
            </a:r>
            <a:r>
              <a:rPr lang="en-US" altLang="zh-CN" dirty="0">
                <a:cs typeface="+mn-ea"/>
                <a:sym typeface="+mn-lt"/>
              </a:rPr>
              <a:t>()</a:t>
            </a:r>
            <a:r>
              <a:rPr lang="zh-CN" altLang="en-US" dirty="0">
                <a:cs typeface="+mn-ea"/>
                <a:sym typeface="+mn-lt"/>
              </a:rPr>
              <a:t>，</a:t>
            </a:r>
            <a:r>
              <a:rPr lang="en-US" altLang="zh-CN" dirty="0" err="1">
                <a:cs typeface="+mn-ea"/>
                <a:sym typeface="+mn-lt"/>
              </a:rPr>
              <a:t>averagingInt</a:t>
            </a:r>
            <a:r>
              <a:rPr lang="en-US" altLang="zh-CN" dirty="0">
                <a:cs typeface="+mn-ea"/>
                <a:sym typeface="+mn-lt"/>
              </a:rPr>
              <a:t> ()</a:t>
            </a:r>
            <a:r>
              <a:rPr lang="zh-CN" altLang="en-US" dirty="0">
                <a:cs typeface="+mn-ea"/>
                <a:sym typeface="+mn-lt"/>
              </a:rPr>
              <a:t>，</a:t>
            </a:r>
            <a:r>
              <a:rPr lang="en-US" altLang="zh-CN" dirty="0">
                <a:cs typeface="+mn-ea"/>
                <a:sym typeface="+mn-lt"/>
              </a:rPr>
              <a:t>......</a:t>
            </a:r>
            <a:r>
              <a:rPr lang="zh-CN" altLang="en-US" dirty="0">
                <a:cs typeface="+mn-ea"/>
                <a:sym typeface="+mn-lt"/>
              </a:rPr>
              <a:t>等你来发现</a:t>
            </a:r>
          </a:p>
          <a:p>
            <a:pPr marL="0" indent="0">
              <a:lnSpc>
                <a:spcPct val="120000"/>
              </a:lnSpc>
              <a:spcBef>
                <a:spcPts val="0"/>
              </a:spcBef>
              <a:buNone/>
            </a:pPr>
            <a:endParaRPr lang="zh-CN" altLang="en-US" dirty="0">
              <a:cs typeface="+mn-ea"/>
              <a:sym typeface="+mn-lt"/>
            </a:endParaRPr>
          </a:p>
        </p:txBody>
      </p:sp>
    </p:spTree>
    <p:extLst>
      <p:ext uri="{BB962C8B-B14F-4D97-AF65-F5344CB8AC3E}">
        <p14:creationId xmlns:p14="http://schemas.microsoft.com/office/powerpoint/2010/main" val="10917858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90DBC06-3D90-4F4E-9CAC-0D334C162080}"/>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6.4</a:t>
            </a:r>
            <a:r>
              <a:rPr lang="zh-CN" altLang="en-US" dirty="0">
                <a:latin typeface="+mn-lt"/>
                <a:ea typeface="+mn-ea"/>
                <a:cs typeface="+mn-ea"/>
                <a:sym typeface="+mn-lt"/>
              </a:rPr>
              <a:t>思考</a:t>
            </a:r>
          </a:p>
        </p:txBody>
      </p:sp>
      <p:sp>
        <p:nvSpPr>
          <p:cNvPr id="3" name="内容占位符 2">
            <a:extLst>
              <a:ext uri="{FF2B5EF4-FFF2-40B4-BE49-F238E27FC236}">
                <a16:creationId xmlns:a16="http://schemas.microsoft.com/office/drawing/2014/main" id="{803E49AB-9846-464E-880F-12D9DE7AC2FC}"/>
              </a:ext>
            </a:extLst>
          </p:cNvPr>
          <p:cNvSpPr>
            <a:spLocks noGrp="1"/>
          </p:cNvSpPr>
          <p:nvPr>
            <p:ph idx="1"/>
          </p:nvPr>
        </p:nvSpPr>
        <p:spPr/>
        <p:txBody>
          <a:bodyPr/>
          <a:lstStyle/>
          <a:p>
            <a:pPr>
              <a:lnSpc>
                <a:spcPct val="120000"/>
              </a:lnSpc>
              <a:spcBef>
                <a:spcPts val="0"/>
              </a:spcBef>
            </a:pPr>
            <a:r>
              <a:rPr lang="zh-CN" altLang="en-US" dirty="0">
                <a:cs typeface="+mn-ea"/>
                <a:sym typeface="+mn-lt"/>
              </a:rPr>
              <a:t>流的性能如何</a:t>
            </a:r>
            <a:endParaRPr lang="en-US" altLang="zh-CN" dirty="0">
              <a:cs typeface="+mn-ea"/>
              <a:sym typeface="+mn-lt"/>
            </a:endParaRPr>
          </a:p>
          <a:p>
            <a:pPr>
              <a:lnSpc>
                <a:spcPct val="120000"/>
              </a:lnSpc>
              <a:spcBef>
                <a:spcPts val="0"/>
              </a:spcBef>
            </a:pPr>
            <a:endParaRPr lang="en-US" altLang="zh-CN" dirty="0">
              <a:cs typeface="+mn-ea"/>
              <a:sym typeface="+mn-lt"/>
            </a:endParaRPr>
          </a:p>
          <a:p>
            <a:pPr marL="0" indent="0">
              <a:lnSpc>
                <a:spcPct val="120000"/>
              </a:lnSpc>
              <a:spcBef>
                <a:spcPts val="0"/>
              </a:spcBef>
              <a:buNone/>
            </a:pPr>
            <a:endParaRPr lang="en-US" altLang="zh-CN" dirty="0">
              <a:cs typeface="+mn-ea"/>
              <a:sym typeface="+mn-lt"/>
            </a:endParaRPr>
          </a:p>
        </p:txBody>
      </p:sp>
    </p:spTree>
    <p:extLst>
      <p:ext uri="{BB962C8B-B14F-4D97-AF65-F5344CB8AC3E}">
        <p14:creationId xmlns:p14="http://schemas.microsoft.com/office/powerpoint/2010/main" val="32297639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nSpc>
                <a:spcPct val="120000"/>
              </a:lnSpc>
            </a:pPr>
            <a:r>
              <a:rPr lang="en-US" altLang="zh-CN" dirty="0">
                <a:latin typeface="+mn-lt"/>
                <a:ea typeface="+mn-ea"/>
                <a:cs typeface="+mn-ea"/>
                <a:sym typeface="+mn-lt"/>
              </a:rPr>
              <a:t>6.4.1 </a:t>
            </a:r>
            <a:r>
              <a:rPr lang="zh-CN" altLang="en-US" dirty="0">
                <a:latin typeface="+mn-lt"/>
                <a:ea typeface="+mn-ea"/>
                <a:cs typeface="+mn-ea"/>
                <a:sym typeface="+mn-lt"/>
              </a:rPr>
              <a:t>你认为的流实现原理</a:t>
            </a:r>
          </a:p>
        </p:txBody>
      </p:sp>
      <p:pic>
        <p:nvPicPr>
          <p:cNvPr id="4" name="内容占位符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31867" y="1825625"/>
            <a:ext cx="7528266" cy="4351338"/>
          </a:xfrm>
        </p:spPr>
      </p:pic>
    </p:spTree>
    <p:extLst>
      <p:ext uri="{BB962C8B-B14F-4D97-AF65-F5344CB8AC3E}">
        <p14:creationId xmlns:p14="http://schemas.microsoft.com/office/powerpoint/2010/main" val="3233190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nSpc>
                <a:spcPct val="120000"/>
              </a:lnSpc>
            </a:pPr>
            <a:r>
              <a:rPr lang="en-US" altLang="zh-CN" dirty="0">
                <a:latin typeface="+mn-lt"/>
                <a:ea typeface="+mn-ea"/>
                <a:cs typeface="+mn-ea"/>
                <a:sym typeface="+mn-lt"/>
              </a:rPr>
              <a:t>6.4.2 </a:t>
            </a:r>
            <a:r>
              <a:rPr lang="zh-CN" altLang="en-US" dirty="0">
                <a:latin typeface="+mn-lt"/>
                <a:ea typeface="+mn-ea"/>
                <a:cs typeface="+mn-ea"/>
                <a:sym typeface="+mn-lt"/>
              </a:rPr>
              <a:t>实际的流实现原理</a:t>
            </a:r>
          </a:p>
        </p:txBody>
      </p:sp>
      <p:pic>
        <p:nvPicPr>
          <p:cNvPr id="4" name="内容占位符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643187" y="3096419"/>
            <a:ext cx="6905625" cy="1809750"/>
          </a:xfrm>
        </p:spPr>
      </p:pic>
    </p:spTree>
    <p:extLst>
      <p:ext uri="{BB962C8B-B14F-4D97-AF65-F5344CB8AC3E}">
        <p14:creationId xmlns:p14="http://schemas.microsoft.com/office/powerpoint/2010/main" val="412965311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3D3D1F2-BF67-4085-95A3-425C2EEE23C8}"/>
              </a:ext>
            </a:extLst>
          </p:cNvPr>
          <p:cNvSpPr>
            <a:spLocks noGrp="1"/>
          </p:cNvSpPr>
          <p:nvPr>
            <p:ph type="title"/>
          </p:nvPr>
        </p:nvSpPr>
        <p:spPr/>
        <p:txBody>
          <a:bodyPr/>
          <a:lstStyle/>
          <a:p>
            <a:pPr>
              <a:lnSpc>
                <a:spcPct val="120000"/>
              </a:lnSpc>
            </a:pPr>
            <a:r>
              <a:rPr lang="en-US" altLang="zh-CN" dirty="0">
                <a:latin typeface="+mn-lt"/>
                <a:ea typeface="+mn-ea"/>
                <a:cs typeface="+mn-ea"/>
                <a:sym typeface="+mn-lt"/>
              </a:rPr>
              <a:t>7.IDEA</a:t>
            </a:r>
            <a:r>
              <a:rPr lang="zh-CN" altLang="en-US" dirty="0">
                <a:latin typeface="+mn-lt"/>
                <a:ea typeface="+mn-ea"/>
                <a:cs typeface="+mn-ea"/>
                <a:sym typeface="+mn-lt"/>
              </a:rPr>
              <a:t>调试流</a:t>
            </a:r>
          </a:p>
        </p:txBody>
      </p:sp>
      <p:sp>
        <p:nvSpPr>
          <p:cNvPr id="3" name="内容占位符 2">
            <a:extLst>
              <a:ext uri="{FF2B5EF4-FFF2-40B4-BE49-F238E27FC236}">
                <a16:creationId xmlns:a16="http://schemas.microsoft.com/office/drawing/2014/main" id="{4EF88901-F068-405D-B296-491EA7EA84BF}"/>
              </a:ext>
            </a:extLst>
          </p:cNvPr>
          <p:cNvSpPr>
            <a:spLocks noGrp="1"/>
          </p:cNvSpPr>
          <p:nvPr>
            <p:ph idx="1"/>
          </p:nvPr>
        </p:nvSpPr>
        <p:spPr/>
        <p:txBody>
          <a:bodyPr/>
          <a:lstStyle/>
          <a:p>
            <a:pPr>
              <a:lnSpc>
                <a:spcPct val="120000"/>
              </a:lnSpc>
              <a:spcBef>
                <a:spcPts val="0"/>
              </a:spcBef>
            </a:pPr>
            <a:r>
              <a:rPr lang="zh-CN" altLang="en-US" dirty="0">
                <a:cs typeface="+mn-ea"/>
                <a:sym typeface="+mn-lt"/>
              </a:rPr>
              <a:t>加断点</a:t>
            </a:r>
            <a:r>
              <a:rPr lang="en-US" altLang="zh-CN" dirty="0">
                <a:cs typeface="+mn-ea"/>
                <a:sym typeface="+mn-lt"/>
              </a:rPr>
              <a:t>Debug</a:t>
            </a:r>
            <a:r>
              <a:rPr lang="en-US" altLang="zh-CN" baseline="30000" dirty="0">
                <a:cs typeface="+mn-ea"/>
                <a:sym typeface="+mn-lt"/>
              </a:rPr>
              <a:t>[1]</a:t>
            </a:r>
          </a:p>
          <a:p>
            <a:pPr>
              <a:lnSpc>
                <a:spcPct val="120000"/>
              </a:lnSpc>
              <a:spcBef>
                <a:spcPts val="0"/>
              </a:spcBef>
            </a:pPr>
            <a:r>
              <a:rPr lang="zh-CN" altLang="en-US" dirty="0">
                <a:cs typeface="+mn-ea"/>
                <a:sym typeface="+mn-lt"/>
              </a:rPr>
              <a:t>查看流的追踪链</a:t>
            </a:r>
            <a:r>
              <a:rPr lang="en-US" altLang="zh-CN" baseline="30000" dirty="0">
                <a:cs typeface="+mn-ea"/>
                <a:sym typeface="+mn-lt"/>
              </a:rPr>
              <a:t>[2]</a:t>
            </a:r>
          </a:p>
          <a:p>
            <a:pPr>
              <a:lnSpc>
                <a:spcPct val="120000"/>
              </a:lnSpc>
              <a:spcBef>
                <a:spcPts val="0"/>
              </a:spcBef>
            </a:pPr>
            <a:endParaRPr lang="en-US" altLang="zh-CN" baseline="30000" dirty="0">
              <a:cs typeface="+mn-ea"/>
              <a:sym typeface="+mn-lt"/>
            </a:endParaRPr>
          </a:p>
          <a:p>
            <a:pPr>
              <a:lnSpc>
                <a:spcPct val="120000"/>
              </a:lnSpc>
              <a:spcBef>
                <a:spcPts val="0"/>
              </a:spcBef>
            </a:pPr>
            <a:endParaRPr lang="en-US" altLang="zh-CN" baseline="30000" dirty="0">
              <a:cs typeface="+mn-ea"/>
              <a:sym typeface="+mn-lt"/>
            </a:endParaRPr>
          </a:p>
          <a:p>
            <a:pPr>
              <a:lnSpc>
                <a:spcPct val="120000"/>
              </a:lnSpc>
              <a:spcBef>
                <a:spcPts val="0"/>
              </a:spcBef>
            </a:pPr>
            <a:r>
              <a:rPr lang="zh-CN" altLang="en-US" baseline="30000" dirty="0">
                <a:cs typeface="+mn-ea"/>
                <a:sym typeface="+mn-lt"/>
              </a:rPr>
              <a:t>注意：两者不能同时操作，因为流只能被操作一次</a:t>
            </a:r>
            <a:r>
              <a:rPr lang="en-US" altLang="zh-CN" baseline="30000" dirty="0">
                <a:cs typeface="+mn-ea"/>
                <a:sym typeface="+mn-lt"/>
              </a:rPr>
              <a:t>[3]</a:t>
            </a:r>
          </a:p>
          <a:p>
            <a:pPr>
              <a:lnSpc>
                <a:spcPct val="120000"/>
              </a:lnSpc>
              <a:spcBef>
                <a:spcPts val="0"/>
              </a:spcBef>
            </a:pPr>
            <a:endParaRPr lang="en-US" altLang="zh-CN" baseline="30000" dirty="0">
              <a:cs typeface="+mn-ea"/>
              <a:sym typeface="+mn-lt"/>
            </a:endParaRPr>
          </a:p>
          <a:p>
            <a:pPr>
              <a:lnSpc>
                <a:spcPct val="120000"/>
              </a:lnSpc>
              <a:spcBef>
                <a:spcPts val="0"/>
              </a:spcBef>
            </a:pPr>
            <a:r>
              <a:rPr lang="zh-CN" altLang="en-US" baseline="30000" dirty="0">
                <a:cs typeface="+mn-ea"/>
                <a:sym typeface="+mn-lt"/>
              </a:rPr>
              <a:t>小提示：如果</a:t>
            </a:r>
            <a:r>
              <a:rPr lang="en-US" altLang="zh-CN" baseline="30000" dirty="0">
                <a:cs typeface="+mn-ea"/>
                <a:sym typeface="+mn-lt"/>
              </a:rPr>
              <a:t>IDEA</a:t>
            </a:r>
            <a:r>
              <a:rPr lang="zh-CN" altLang="en-US" baseline="30000" dirty="0">
                <a:cs typeface="+mn-ea"/>
                <a:sym typeface="+mn-lt"/>
              </a:rPr>
              <a:t>提示不支持</a:t>
            </a:r>
            <a:r>
              <a:rPr lang="en-US" altLang="zh-CN" baseline="30000" dirty="0">
                <a:cs typeface="+mn-ea"/>
                <a:sym typeface="+mn-lt"/>
              </a:rPr>
              <a:t>lambda</a:t>
            </a:r>
            <a:r>
              <a:rPr lang="zh-CN" altLang="en-US" baseline="30000" dirty="0">
                <a:cs typeface="+mn-ea"/>
                <a:sym typeface="+mn-lt"/>
              </a:rPr>
              <a:t>表达式，则需要去</a:t>
            </a:r>
            <a:r>
              <a:rPr lang="en-US" altLang="zh-CN" baseline="30000" dirty="0">
                <a:cs typeface="+mn-ea"/>
                <a:sym typeface="+mn-lt"/>
              </a:rPr>
              <a:t>File-&gt;Project </a:t>
            </a:r>
            <a:r>
              <a:rPr lang="en-US" altLang="zh-CN" baseline="30000" dirty="0" err="1">
                <a:cs typeface="+mn-ea"/>
                <a:sym typeface="+mn-lt"/>
              </a:rPr>
              <a:t>Strucrture</a:t>
            </a:r>
            <a:r>
              <a:rPr lang="en-US" altLang="zh-CN" baseline="30000" dirty="0">
                <a:cs typeface="+mn-ea"/>
                <a:sym typeface="+mn-lt"/>
              </a:rPr>
              <a:t>-&gt;Project</a:t>
            </a:r>
            <a:r>
              <a:rPr lang="zh-CN" altLang="en-US" baseline="30000" dirty="0">
                <a:cs typeface="+mn-ea"/>
                <a:sym typeface="+mn-lt"/>
              </a:rPr>
              <a:t>，确保</a:t>
            </a:r>
            <a:r>
              <a:rPr lang="en-US" altLang="zh-CN" baseline="30000" dirty="0">
                <a:cs typeface="+mn-ea"/>
                <a:sym typeface="+mn-lt"/>
              </a:rPr>
              <a:t>Project SDK</a:t>
            </a:r>
            <a:r>
              <a:rPr lang="zh-CN" altLang="en-US" baseline="30000" dirty="0">
                <a:cs typeface="+mn-ea"/>
                <a:sym typeface="+mn-lt"/>
              </a:rPr>
              <a:t>版本为</a:t>
            </a:r>
            <a:r>
              <a:rPr lang="en-US" altLang="zh-CN" baseline="30000" dirty="0">
                <a:cs typeface="+mn-ea"/>
                <a:sym typeface="+mn-lt"/>
              </a:rPr>
              <a:t>jdk1.8</a:t>
            </a:r>
            <a:r>
              <a:rPr lang="zh-CN" altLang="en-US" baseline="30000" dirty="0">
                <a:cs typeface="+mn-ea"/>
                <a:sym typeface="+mn-lt"/>
              </a:rPr>
              <a:t>，</a:t>
            </a:r>
            <a:r>
              <a:rPr lang="en-US" altLang="zh-CN" baseline="30000" dirty="0">
                <a:cs typeface="+mn-ea"/>
                <a:sym typeface="+mn-lt"/>
              </a:rPr>
              <a:t>Project language level</a:t>
            </a:r>
            <a:r>
              <a:rPr lang="zh-CN" altLang="en-US" baseline="30000" dirty="0">
                <a:cs typeface="+mn-ea"/>
                <a:sym typeface="+mn-lt"/>
              </a:rPr>
              <a:t>为</a:t>
            </a:r>
            <a:r>
              <a:rPr lang="en-US" altLang="zh-CN" baseline="30000" dirty="0">
                <a:cs typeface="+mn-ea"/>
                <a:sym typeface="+mn-lt"/>
              </a:rPr>
              <a:t>8</a:t>
            </a:r>
            <a:endParaRPr lang="zh-CN" altLang="en-US" baseline="30000" dirty="0">
              <a:cs typeface="+mn-ea"/>
              <a:sym typeface="+mn-lt"/>
            </a:endParaRPr>
          </a:p>
        </p:txBody>
      </p:sp>
    </p:spTree>
    <p:extLst>
      <p:ext uri="{BB962C8B-B14F-4D97-AF65-F5344CB8AC3E}">
        <p14:creationId xmlns:p14="http://schemas.microsoft.com/office/powerpoint/2010/main" val="31428081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313D09F-A08F-45A5-BB23-7784C1D59E06}"/>
              </a:ext>
            </a:extLst>
          </p:cNvPr>
          <p:cNvSpPr>
            <a:spLocks noGrp="1"/>
          </p:cNvSpPr>
          <p:nvPr>
            <p:ph type="title"/>
          </p:nvPr>
        </p:nvSpPr>
        <p:spPr/>
        <p:txBody>
          <a:bodyPr/>
          <a:lstStyle/>
          <a:p>
            <a:pPr>
              <a:lnSpc>
                <a:spcPct val="120000"/>
              </a:lnSpc>
            </a:pPr>
            <a:r>
              <a:rPr lang="zh-CN" altLang="en-US" dirty="0">
                <a:latin typeface="+mn-lt"/>
                <a:ea typeface="+mn-ea"/>
                <a:cs typeface="+mn-ea"/>
                <a:sym typeface="+mn-lt"/>
              </a:rPr>
              <a:t>流的利弊</a:t>
            </a:r>
          </a:p>
        </p:txBody>
      </p:sp>
      <p:sp>
        <p:nvSpPr>
          <p:cNvPr id="3" name="内容占位符 2">
            <a:extLst>
              <a:ext uri="{FF2B5EF4-FFF2-40B4-BE49-F238E27FC236}">
                <a16:creationId xmlns:a16="http://schemas.microsoft.com/office/drawing/2014/main" id="{24B91F43-F249-4AFF-ADB3-C3C9B372FBFA}"/>
              </a:ext>
            </a:extLst>
          </p:cNvPr>
          <p:cNvSpPr>
            <a:spLocks noGrp="1"/>
          </p:cNvSpPr>
          <p:nvPr>
            <p:ph idx="1"/>
          </p:nvPr>
        </p:nvSpPr>
        <p:spPr/>
        <p:txBody>
          <a:bodyPr>
            <a:normAutofit/>
          </a:bodyPr>
          <a:lstStyle/>
          <a:p>
            <a:pPr>
              <a:lnSpc>
                <a:spcPct val="120000"/>
              </a:lnSpc>
              <a:spcBef>
                <a:spcPct val="0"/>
              </a:spcBef>
            </a:pPr>
            <a:r>
              <a:rPr lang="zh-CN" altLang="en-US" dirty="0">
                <a:cs typeface="+mn-ea"/>
                <a:sym typeface="+mn-lt"/>
              </a:rPr>
              <a:t>优点</a:t>
            </a:r>
            <a:endParaRPr lang="en-US" altLang="zh-CN" dirty="0">
              <a:cs typeface="+mn-ea"/>
              <a:sym typeface="+mn-lt"/>
            </a:endParaRPr>
          </a:p>
          <a:p>
            <a:pPr lvl="1">
              <a:lnSpc>
                <a:spcPct val="120000"/>
              </a:lnSpc>
              <a:spcBef>
                <a:spcPct val="0"/>
              </a:spcBef>
            </a:pPr>
            <a:r>
              <a:rPr lang="zh-CN" altLang="en-US" dirty="0">
                <a:cs typeface="+mn-ea"/>
                <a:sym typeface="+mn-lt"/>
              </a:rPr>
              <a:t>代码简洁，开发迅速</a:t>
            </a:r>
            <a:endParaRPr lang="en-US" altLang="zh-CN" dirty="0">
              <a:cs typeface="+mn-ea"/>
              <a:sym typeface="+mn-lt"/>
            </a:endParaRPr>
          </a:p>
          <a:p>
            <a:pPr lvl="1">
              <a:lnSpc>
                <a:spcPct val="120000"/>
              </a:lnSpc>
              <a:spcBef>
                <a:spcPct val="0"/>
              </a:spcBef>
            </a:pPr>
            <a:r>
              <a:rPr lang="zh-CN" altLang="en-US" dirty="0">
                <a:cs typeface="+mn-ea"/>
                <a:sym typeface="+mn-lt"/>
              </a:rPr>
              <a:t>直观易理解</a:t>
            </a:r>
            <a:endParaRPr lang="en-US" altLang="zh-CN" dirty="0">
              <a:cs typeface="+mn-ea"/>
              <a:sym typeface="+mn-lt"/>
            </a:endParaRPr>
          </a:p>
          <a:p>
            <a:pPr lvl="1">
              <a:lnSpc>
                <a:spcPct val="120000"/>
              </a:lnSpc>
              <a:spcBef>
                <a:spcPct val="0"/>
              </a:spcBef>
            </a:pPr>
            <a:r>
              <a:rPr lang="zh-CN" altLang="en-US" dirty="0">
                <a:cs typeface="+mn-ea"/>
                <a:sym typeface="+mn-lt"/>
              </a:rPr>
              <a:t>非常容易并行化，性能更高</a:t>
            </a:r>
            <a:endParaRPr lang="en-US" altLang="zh-CN" dirty="0">
              <a:cs typeface="+mn-ea"/>
              <a:sym typeface="+mn-lt"/>
            </a:endParaRPr>
          </a:p>
          <a:p>
            <a:pPr marL="0" indent="0">
              <a:lnSpc>
                <a:spcPct val="120000"/>
              </a:lnSpc>
              <a:spcBef>
                <a:spcPct val="0"/>
              </a:spcBef>
              <a:buNone/>
            </a:pPr>
            <a:endParaRPr lang="en-US" altLang="zh-CN" dirty="0">
              <a:cs typeface="+mn-ea"/>
              <a:sym typeface="+mn-lt"/>
            </a:endParaRPr>
          </a:p>
          <a:p>
            <a:pPr>
              <a:lnSpc>
                <a:spcPct val="120000"/>
              </a:lnSpc>
              <a:spcBef>
                <a:spcPct val="0"/>
              </a:spcBef>
            </a:pPr>
            <a:r>
              <a:rPr lang="zh-CN" altLang="en-US" dirty="0">
                <a:cs typeface="+mn-ea"/>
                <a:sym typeface="+mn-lt"/>
              </a:rPr>
              <a:t>缺点</a:t>
            </a:r>
            <a:endParaRPr lang="en-US" altLang="zh-CN" dirty="0">
              <a:cs typeface="+mn-ea"/>
              <a:sym typeface="+mn-lt"/>
            </a:endParaRPr>
          </a:p>
          <a:p>
            <a:pPr lvl="1">
              <a:lnSpc>
                <a:spcPct val="120000"/>
              </a:lnSpc>
              <a:spcBef>
                <a:spcPct val="0"/>
              </a:spcBef>
            </a:pPr>
            <a:r>
              <a:rPr lang="zh-CN" altLang="en-US" dirty="0">
                <a:cs typeface="+mn-ea"/>
                <a:sym typeface="+mn-lt"/>
              </a:rPr>
              <a:t>有一定的学习门槛</a:t>
            </a:r>
            <a:endParaRPr lang="en-US" altLang="zh-CN" dirty="0">
              <a:cs typeface="+mn-ea"/>
              <a:sym typeface="+mn-lt"/>
            </a:endParaRPr>
          </a:p>
          <a:p>
            <a:pPr lvl="1">
              <a:lnSpc>
                <a:spcPct val="120000"/>
              </a:lnSpc>
              <a:spcBef>
                <a:spcPct val="0"/>
              </a:spcBef>
            </a:pPr>
            <a:r>
              <a:rPr lang="zh-CN" altLang="en-US" dirty="0">
                <a:cs typeface="+mn-ea"/>
                <a:sym typeface="+mn-lt"/>
              </a:rPr>
              <a:t>调试困难</a:t>
            </a:r>
            <a:endParaRPr lang="en-US" altLang="zh-CN" dirty="0">
              <a:cs typeface="+mn-ea"/>
              <a:sym typeface="+mn-lt"/>
            </a:endParaRPr>
          </a:p>
        </p:txBody>
      </p:sp>
    </p:spTree>
    <p:extLst>
      <p:ext uri="{BB962C8B-B14F-4D97-AF65-F5344CB8AC3E}">
        <p14:creationId xmlns:p14="http://schemas.microsoft.com/office/powerpoint/2010/main" val="30697516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nSpc>
                <a:spcPct val="120000"/>
              </a:lnSpc>
            </a:pPr>
            <a:r>
              <a:rPr lang="zh-CN" altLang="en-US" dirty="0">
                <a:latin typeface="+mn-lt"/>
                <a:ea typeface="+mn-ea"/>
                <a:cs typeface="+mn-ea"/>
                <a:sym typeface="+mn-lt"/>
              </a:rPr>
              <a:t>结语</a:t>
            </a:r>
          </a:p>
        </p:txBody>
      </p:sp>
      <p:sp>
        <p:nvSpPr>
          <p:cNvPr id="3" name="内容占位符 2"/>
          <p:cNvSpPr>
            <a:spLocks noGrp="1"/>
          </p:cNvSpPr>
          <p:nvPr>
            <p:ph idx="1"/>
          </p:nvPr>
        </p:nvSpPr>
        <p:spPr/>
        <p:txBody>
          <a:bodyPr/>
          <a:lstStyle/>
          <a:p>
            <a:pPr>
              <a:lnSpc>
                <a:spcPct val="120000"/>
              </a:lnSpc>
              <a:spcBef>
                <a:spcPts val="0"/>
              </a:spcBef>
            </a:pPr>
            <a:r>
              <a:rPr lang="zh-CN" altLang="en-US" dirty="0">
                <a:cs typeface="+mn-ea"/>
                <a:sym typeface="+mn-lt"/>
              </a:rPr>
              <a:t>培训</a:t>
            </a:r>
            <a:r>
              <a:rPr lang="en-US" altLang="zh-CN" dirty="0">
                <a:cs typeface="+mn-ea"/>
                <a:sym typeface="+mn-lt"/>
              </a:rPr>
              <a:t>721</a:t>
            </a:r>
            <a:r>
              <a:rPr lang="zh-CN" altLang="en-US" dirty="0">
                <a:cs typeface="+mn-ea"/>
                <a:sym typeface="+mn-lt"/>
              </a:rPr>
              <a:t>法则，建议大家再次私下抽空阅读</a:t>
            </a:r>
            <a:r>
              <a:rPr lang="en-US" altLang="zh-CN" dirty="0">
                <a:cs typeface="+mn-ea"/>
                <a:sym typeface="+mn-lt"/>
              </a:rPr>
              <a:t>PPT</a:t>
            </a:r>
          </a:p>
          <a:p>
            <a:pPr>
              <a:lnSpc>
                <a:spcPct val="120000"/>
              </a:lnSpc>
              <a:spcBef>
                <a:spcPts val="0"/>
              </a:spcBef>
            </a:pPr>
            <a:r>
              <a:rPr lang="en-US" altLang="zh-CN" dirty="0">
                <a:cs typeface="+mn-ea"/>
                <a:sym typeface="+mn-lt"/>
              </a:rPr>
              <a:t>PPT</a:t>
            </a:r>
            <a:r>
              <a:rPr lang="zh-CN" altLang="en-US" dirty="0">
                <a:cs typeface="+mn-ea"/>
                <a:sym typeface="+mn-lt"/>
              </a:rPr>
              <a:t>和实例代码都是本人纯手打的，觉得我讲的还</a:t>
            </a:r>
            <a:r>
              <a:rPr lang="en-US" altLang="zh-CN" dirty="0">
                <a:cs typeface="+mn-ea"/>
                <a:sym typeface="+mn-lt"/>
              </a:rPr>
              <a:t>OK</a:t>
            </a:r>
            <a:r>
              <a:rPr lang="zh-CN" altLang="en-US" dirty="0">
                <a:cs typeface="+mn-ea"/>
                <a:sym typeface="+mn-lt"/>
              </a:rPr>
              <a:t>的老铁可以给个三连</a:t>
            </a:r>
          </a:p>
        </p:txBody>
      </p:sp>
    </p:spTree>
    <p:extLst>
      <p:ext uri="{BB962C8B-B14F-4D97-AF65-F5344CB8AC3E}">
        <p14:creationId xmlns:p14="http://schemas.microsoft.com/office/powerpoint/2010/main" val="1075010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67BABCF-9BFD-4F0D-B05B-D18BC2C63851}"/>
              </a:ext>
            </a:extLst>
          </p:cNvPr>
          <p:cNvSpPr>
            <a:spLocks noGrp="1"/>
          </p:cNvSpPr>
          <p:nvPr>
            <p:ph type="title"/>
          </p:nvPr>
        </p:nvSpPr>
        <p:spPr/>
        <p:txBody>
          <a:bodyPr/>
          <a:lstStyle/>
          <a:p>
            <a:r>
              <a:rPr lang="zh-CN" altLang="en-US" dirty="0"/>
              <a:t>区别</a:t>
            </a:r>
          </a:p>
        </p:txBody>
      </p:sp>
      <p:sp>
        <p:nvSpPr>
          <p:cNvPr id="3" name="页脚占位符 2">
            <a:extLst>
              <a:ext uri="{FF2B5EF4-FFF2-40B4-BE49-F238E27FC236}">
                <a16:creationId xmlns:a16="http://schemas.microsoft.com/office/drawing/2014/main" id="{639232ED-FD91-4CB2-B72D-65D17B15BC13}"/>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7AA2C86F-8EF2-4A84-9284-CAB7AABA9DA1}"/>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grpSp>
        <p:nvGrpSpPr>
          <p:cNvPr id="113" name="f6076cd9-4f07-4238-a8fa-5335d9ac527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214CE9D-8CD9-47E3-B7A5-0A850445D4E7}"/>
              </a:ext>
            </a:extLst>
          </p:cNvPr>
          <p:cNvGrpSpPr>
            <a:grpSpLocks noChangeAspect="1"/>
          </p:cNvGrpSpPr>
          <p:nvPr>
            <p:custDataLst>
              <p:tags r:id="rId2"/>
            </p:custDataLst>
          </p:nvPr>
        </p:nvGrpSpPr>
        <p:grpSpPr>
          <a:xfrm>
            <a:off x="5259044" y="3318249"/>
            <a:ext cx="1696348" cy="1283723"/>
            <a:chOff x="3217863" y="1250950"/>
            <a:chExt cx="5756275" cy="4356101"/>
          </a:xfrm>
        </p:grpSpPr>
        <p:sp>
          <p:nvSpPr>
            <p:cNvPr id="114" name="ïśḻïḍê">
              <a:extLst>
                <a:ext uri="{FF2B5EF4-FFF2-40B4-BE49-F238E27FC236}">
                  <a16:creationId xmlns:a16="http://schemas.microsoft.com/office/drawing/2014/main" id="{E413D075-D711-4569-95E2-DB77CAFF83BB}"/>
                </a:ext>
              </a:extLst>
            </p:cNvPr>
            <p:cNvSpPr/>
            <p:nvPr/>
          </p:nvSpPr>
          <p:spPr bwMode="auto">
            <a:xfrm>
              <a:off x="6505575" y="2708275"/>
              <a:ext cx="768350" cy="1392238"/>
            </a:xfrm>
            <a:custGeom>
              <a:avLst/>
              <a:gdLst>
                <a:gd name="T0" fmla="*/ 0 w 47"/>
                <a:gd name="T1" fmla="*/ 67 h 85"/>
                <a:gd name="T2" fmla="*/ 17 w 47"/>
                <a:gd name="T3" fmla="*/ 85 h 85"/>
                <a:gd name="T4" fmla="*/ 47 w 47"/>
                <a:gd name="T5" fmla="*/ 13 h 85"/>
                <a:gd name="T6" fmla="*/ 47 w 47"/>
                <a:gd name="T7" fmla="*/ 9 h 85"/>
                <a:gd name="T8" fmla="*/ 21 w 47"/>
                <a:gd name="T9" fmla="*/ 0 h 85"/>
                <a:gd name="T10" fmla="*/ 22 w 47"/>
                <a:gd name="T11" fmla="*/ 13 h 85"/>
                <a:gd name="T12" fmla="*/ 0 w 47"/>
                <a:gd name="T13" fmla="*/ 67 h 85"/>
              </a:gdLst>
              <a:ahLst/>
              <a:cxnLst>
                <a:cxn ang="0">
                  <a:pos x="T0" y="T1"/>
                </a:cxn>
                <a:cxn ang="0">
                  <a:pos x="T2" y="T3"/>
                </a:cxn>
                <a:cxn ang="0">
                  <a:pos x="T4" y="T5"/>
                </a:cxn>
                <a:cxn ang="0">
                  <a:pos x="T6" y="T7"/>
                </a:cxn>
                <a:cxn ang="0">
                  <a:pos x="T8" y="T9"/>
                </a:cxn>
                <a:cxn ang="0">
                  <a:pos x="T10" y="T11"/>
                </a:cxn>
                <a:cxn ang="0">
                  <a:pos x="T12" y="T13"/>
                </a:cxn>
              </a:cxnLst>
              <a:rect l="0" t="0" r="r" b="b"/>
              <a:pathLst>
                <a:path w="47" h="85">
                  <a:moveTo>
                    <a:pt x="0" y="67"/>
                  </a:moveTo>
                  <a:cubicBezTo>
                    <a:pt x="17" y="85"/>
                    <a:pt x="17" y="85"/>
                    <a:pt x="17" y="85"/>
                  </a:cubicBezTo>
                  <a:cubicBezTo>
                    <a:pt x="36" y="66"/>
                    <a:pt x="47" y="41"/>
                    <a:pt x="47" y="13"/>
                  </a:cubicBezTo>
                  <a:cubicBezTo>
                    <a:pt x="47" y="12"/>
                    <a:pt x="47" y="11"/>
                    <a:pt x="47" y="9"/>
                  </a:cubicBezTo>
                  <a:cubicBezTo>
                    <a:pt x="39" y="5"/>
                    <a:pt x="30" y="1"/>
                    <a:pt x="21" y="0"/>
                  </a:cubicBezTo>
                  <a:cubicBezTo>
                    <a:pt x="22" y="4"/>
                    <a:pt x="22" y="8"/>
                    <a:pt x="22" y="13"/>
                  </a:cubicBezTo>
                  <a:cubicBezTo>
                    <a:pt x="22" y="34"/>
                    <a:pt x="14" y="53"/>
                    <a:pt x="0" y="67"/>
                  </a:cubicBezTo>
                  <a:close/>
                </a:path>
              </a:pathLst>
            </a:custGeom>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endParaRPr/>
            </a:p>
          </p:txBody>
        </p:sp>
        <p:sp>
          <p:nvSpPr>
            <p:cNvPr id="115" name="í$ḻiḍé">
              <a:extLst>
                <a:ext uri="{FF2B5EF4-FFF2-40B4-BE49-F238E27FC236}">
                  <a16:creationId xmlns:a16="http://schemas.microsoft.com/office/drawing/2014/main" id="{CB889CCC-7F84-4128-B6CB-670CE3D49744}"/>
                </a:ext>
              </a:extLst>
            </p:cNvPr>
            <p:cNvSpPr/>
            <p:nvPr/>
          </p:nvSpPr>
          <p:spPr bwMode="auto">
            <a:xfrm>
              <a:off x="5392738" y="3805238"/>
              <a:ext cx="1390650" cy="787400"/>
            </a:xfrm>
            <a:custGeom>
              <a:avLst/>
              <a:gdLst>
                <a:gd name="T0" fmla="*/ 85 w 85"/>
                <a:gd name="T1" fmla="*/ 18 h 48"/>
                <a:gd name="T2" fmla="*/ 68 w 85"/>
                <a:gd name="T3" fmla="*/ 0 h 48"/>
                <a:gd name="T4" fmla="*/ 13 w 85"/>
                <a:gd name="T5" fmla="*/ 23 h 48"/>
                <a:gd name="T6" fmla="*/ 0 w 85"/>
                <a:gd name="T7" fmla="*/ 22 h 48"/>
                <a:gd name="T8" fmla="*/ 10 w 85"/>
                <a:gd name="T9" fmla="*/ 48 h 48"/>
                <a:gd name="T10" fmla="*/ 13 w 85"/>
                <a:gd name="T11" fmla="*/ 48 h 48"/>
                <a:gd name="T12" fmla="*/ 85 w 85"/>
                <a:gd name="T13" fmla="*/ 18 h 48"/>
              </a:gdLst>
              <a:ahLst/>
              <a:cxnLst>
                <a:cxn ang="0">
                  <a:pos x="T0" y="T1"/>
                </a:cxn>
                <a:cxn ang="0">
                  <a:pos x="T2" y="T3"/>
                </a:cxn>
                <a:cxn ang="0">
                  <a:pos x="T4" y="T5"/>
                </a:cxn>
                <a:cxn ang="0">
                  <a:pos x="T6" y="T7"/>
                </a:cxn>
                <a:cxn ang="0">
                  <a:pos x="T8" y="T9"/>
                </a:cxn>
                <a:cxn ang="0">
                  <a:pos x="T10" y="T11"/>
                </a:cxn>
                <a:cxn ang="0">
                  <a:pos x="T12" y="T13"/>
                </a:cxn>
              </a:cxnLst>
              <a:rect l="0" t="0" r="r" b="b"/>
              <a:pathLst>
                <a:path w="85" h="48">
                  <a:moveTo>
                    <a:pt x="85" y="18"/>
                  </a:moveTo>
                  <a:cubicBezTo>
                    <a:pt x="68" y="0"/>
                    <a:pt x="68" y="0"/>
                    <a:pt x="68" y="0"/>
                  </a:cubicBezTo>
                  <a:cubicBezTo>
                    <a:pt x="54" y="14"/>
                    <a:pt x="35" y="23"/>
                    <a:pt x="13" y="23"/>
                  </a:cubicBezTo>
                  <a:cubicBezTo>
                    <a:pt x="9" y="23"/>
                    <a:pt x="5" y="22"/>
                    <a:pt x="0" y="22"/>
                  </a:cubicBezTo>
                  <a:cubicBezTo>
                    <a:pt x="2" y="31"/>
                    <a:pt x="5" y="40"/>
                    <a:pt x="10" y="48"/>
                  </a:cubicBezTo>
                  <a:cubicBezTo>
                    <a:pt x="11" y="48"/>
                    <a:pt x="12" y="48"/>
                    <a:pt x="13" y="48"/>
                  </a:cubicBezTo>
                  <a:cubicBezTo>
                    <a:pt x="42" y="48"/>
                    <a:pt x="67" y="36"/>
                    <a:pt x="85" y="18"/>
                  </a:cubicBezTo>
                  <a:close/>
                </a:path>
              </a:pathLst>
            </a:custGeom>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endParaRPr/>
            </a:p>
          </p:txBody>
        </p:sp>
        <p:sp>
          <p:nvSpPr>
            <p:cNvPr id="116" name="îṩḻîḓé">
              <a:extLst>
                <a:ext uri="{FF2B5EF4-FFF2-40B4-BE49-F238E27FC236}">
                  <a16:creationId xmlns:a16="http://schemas.microsoft.com/office/drawing/2014/main" id="{A7092EEC-7B6B-4199-BD6E-222E2D9AE49B}"/>
                </a:ext>
              </a:extLst>
            </p:cNvPr>
            <p:cNvSpPr/>
            <p:nvPr/>
          </p:nvSpPr>
          <p:spPr bwMode="auto">
            <a:xfrm>
              <a:off x="4427538" y="1250950"/>
              <a:ext cx="2763838" cy="1112838"/>
            </a:xfrm>
            <a:custGeom>
              <a:avLst/>
              <a:gdLst>
                <a:gd name="T0" fmla="*/ 72 w 169"/>
                <a:gd name="T1" fmla="*/ 25 h 68"/>
                <a:gd name="T2" fmla="*/ 139 w 169"/>
                <a:gd name="T3" fmla="*/ 63 h 68"/>
                <a:gd name="T4" fmla="*/ 169 w 169"/>
                <a:gd name="T5" fmla="*/ 68 h 68"/>
                <a:gd name="T6" fmla="*/ 72 w 169"/>
                <a:gd name="T7" fmla="*/ 0 h 68"/>
                <a:gd name="T8" fmla="*/ 0 w 169"/>
                <a:gd name="T9" fmla="*/ 30 h 68"/>
                <a:gd name="T10" fmla="*/ 18 w 169"/>
                <a:gd name="T11" fmla="*/ 48 h 68"/>
                <a:gd name="T12" fmla="*/ 72 w 169"/>
                <a:gd name="T13" fmla="*/ 25 h 68"/>
              </a:gdLst>
              <a:ahLst/>
              <a:cxnLst>
                <a:cxn ang="0">
                  <a:pos x="T0" y="T1"/>
                </a:cxn>
                <a:cxn ang="0">
                  <a:pos x="T2" y="T3"/>
                </a:cxn>
                <a:cxn ang="0">
                  <a:pos x="T4" y="T5"/>
                </a:cxn>
                <a:cxn ang="0">
                  <a:pos x="T6" y="T7"/>
                </a:cxn>
                <a:cxn ang="0">
                  <a:pos x="T8" y="T9"/>
                </a:cxn>
                <a:cxn ang="0">
                  <a:pos x="T10" y="T11"/>
                </a:cxn>
                <a:cxn ang="0">
                  <a:pos x="T12" y="T13"/>
                </a:cxn>
              </a:cxnLst>
              <a:rect l="0" t="0" r="r" b="b"/>
              <a:pathLst>
                <a:path w="169" h="68">
                  <a:moveTo>
                    <a:pt x="72" y="25"/>
                  </a:moveTo>
                  <a:cubicBezTo>
                    <a:pt x="101" y="25"/>
                    <a:pt x="125" y="40"/>
                    <a:pt x="139" y="63"/>
                  </a:cubicBezTo>
                  <a:cubicBezTo>
                    <a:pt x="149" y="63"/>
                    <a:pt x="159" y="65"/>
                    <a:pt x="169" y="68"/>
                  </a:cubicBezTo>
                  <a:cubicBezTo>
                    <a:pt x="155" y="29"/>
                    <a:pt x="117" y="0"/>
                    <a:pt x="72" y="0"/>
                  </a:cubicBezTo>
                  <a:cubicBezTo>
                    <a:pt x="44" y="0"/>
                    <a:pt x="19" y="11"/>
                    <a:pt x="0" y="30"/>
                  </a:cubicBezTo>
                  <a:cubicBezTo>
                    <a:pt x="18" y="48"/>
                    <a:pt x="18" y="48"/>
                    <a:pt x="18" y="48"/>
                  </a:cubicBezTo>
                  <a:cubicBezTo>
                    <a:pt x="32" y="34"/>
                    <a:pt x="51" y="25"/>
                    <a:pt x="72" y="25"/>
                  </a:cubicBezTo>
                  <a:close/>
                </a:path>
              </a:pathLst>
            </a:custGeom>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endParaRPr/>
            </a:p>
          </p:txBody>
        </p:sp>
        <p:sp>
          <p:nvSpPr>
            <p:cNvPr id="117" name="íślíḑé">
              <a:extLst>
                <a:ext uri="{FF2B5EF4-FFF2-40B4-BE49-F238E27FC236}">
                  <a16:creationId xmlns:a16="http://schemas.microsoft.com/office/drawing/2014/main" id="{885A08EB-DE3A-423A-8599-505DA0E3C268}"/>
                </a:ext>
              </a:extLst>
            </p:cNvPr>
            <p:cNvSpPr/>
            <p:nvPr/>
          </p:nvSpPr>
          <p:spPr bwMode="auto">
            <a:xfrm>
              <a:off x="3952875" y="1741488"/>
              <a:ext cx="1112838" cy="2752725"/>
            </a:xfrm>
            <a:custGeom>
              <a:avLst/>
              <a:gdLst>
                <a:gd name="T0" fmla="*/ 24 w 68"/>
                <a:gd name="T1" fmla="*/ 72 h 168"/>
                <a:gd name="T2" fmla="*/ 47 w 68"/>
                <a:gd name="T3" fmla="*/ 18 h 168"/>
                <a:gd name="T4" fmla="*/ 29 w 68"/>
                <a:gd name="T5" fmla="*/ 0 h 168"/>
                <a:gd name="T6" fmla="*/ 0 w 68"/>
                <a:gd name="T7" fmla="*/ 72 h 168"/>
                <a:gd name="T8" fmla="*/ 68 w 68"/>
                <a:gd name="T9" fmla="*/ 168 h 168"/>
                <a:gd name="T10" fmla="*/ 62 w 68"/>
                <a:gd name="T11" fmla="*/ 138 h 168"/>
                <a:gd name="T12" fmla="*/ 24 w 68"/>
                <a:gd name="T13" fmla="*/ 72 h 168"/>
              </a:gdLst>
              <a:ahLst/>
              <a:cxnLst>
                <a:cxn ang="0">
                  <a:pos x="T0" y="T1"/>
                </a:cxn>
                <a:cxn ang="0">
                  <a:pos x="T2" y="T3"/>
                </a:cxn>
                <a:cxn ang="0">
                  <a:pos x="T4" y="T5"/>
                </a:cxn>
                <a:cxn ang="0">
                  <a:pos x="T6" y="T7"/>
                </a:cxn>
                <a:cxn ang="0">
                  <a:pos x="T8" y="T9"/>
                </a:cxn>
                <a:cxn ang="0">
                  <a:pos x="T10" y="T11"/>
                </a:cxn>
                <a:cxn ang="0">
                  <a:pos x="T12" y="T13"/>
                </a:cxn>
              </a:cxnLst>
              <a:rect l="0" t="0" r="r" b="b"/>
              <a:pathLst>
                <a:path w="68" h="168">
                  <a:moveTo>
                    <a:pt x="24" y="72"/>
                  </a:moveTo>
                  <a:cubicBezTo>
                    <a:pt x="24" y="51"/>
                    <a:pt x="33" y="31"/>
                    <a:pt x="47" y="18"/>
                  </a:cubicBezTo>
                  <a:cubicBezTo>
                    <a:pt x="29" y="0"/>
                    <a:pt x="29" y="0"/>
                    <a:pt x="29" y="0"/>
                  </a:cubicBezTo>
                  <a:cubicBezTo>
                    <a:pt x="11" y="18"/>
                    <a:pt x="0" y="44"/>
                    <a:pt x="0" y="72"/>
                  </a:cubicBezTo>
                  <a:cubicBezTo>
                    <a:pt x="0" y="116"/>
                    <a:pt x="28" y="154"/>
                    <a:pt x="68" y="168"/>
                  </a:cubicBezTo>
                  <a:cubicBezTo>
                    <a:pt x="65" y="159"/>
                    <a:pt x="63" y="149"/>
                    <a:pt x="62" y="138"/>
                  </a:cubicBezTo>
                  <a:cubicBezTo>
                    <a:pt x="40" y="125"/>
                    <a:pt x="24" y="100"/>
                    <a:pt x="24" y="72"/>
                  </a:cubicBezTo>
                  <a:close/>
                </a:path>
              </a:pathLst>
            </a:custGeom>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endParaRPr/>
            </a:p>
          </p:txBody>
        </p:sp>
        <p:sp>
          <p:nvSpPr>
            <p:cNvPr id="118" name="î$lidè">
              <a:extLst>
                <a:ext uri="{FF2B5EF4-FFF2-40B4-BE49-F238E27FC236}">
                  <a16:creationId xmlns:a16="http://schemas.microsoft.com/office/drawing/2014/main" id="{0301C8F8-E373-4063-87B1-A9023B8979E7}"/>
                </a:ext>
              </a:extLst>
            </p:cNvPr>
            <p:cNvSpPr/>
            <p:nvPr/>
          </p:nvSpPr>
          <p:spPr bwMode="auto">
            <a:xfrm>
              <a:off x="5457825" y="2282825"/>
              <a:ext cx="2846388" cy="2849563"/>
            </a:xfrm>
            <a:custGeom>
              <a:avLst/>
              <a:gdLst>
                <a:gd name="T0" fmla="*/ 106 w 174"/>
                <a:gd name="T1" fmla="*/ 5 h 174"/>
                <a:gd name="T2" fmla="*/ 76 w 174"/>
                <a:gd name="T3" fmla="*/ 0 h 174"/>
                <a:gd name="T4" fmla="*/ 72 w 174"/>
                <a:gd name="T5" fmla="*/ 0 h 174"/>
                <a:gd name="T6" fmla="*/ 0 w 174"/>
                <a:gd name="T7" fmla="*/ 30 h 174"/>
                <a:gd name="T8" fmla="*/ 18 w 174"/>
                <a:gd name="T9" fmla="*/ 47 h 174"/>
                <a:gd name="T10" fmla="*/ 72 w 174"/>
                <a:gd name="T11" fmla="*/ 25 h 174"/>
                <a:gd name="T12" fmla="*/ 85 w 174"/>
                <a:gd name="T13" fmla="*/ 26 h 174"/>
                <a:gd name="T14" fmla="*/ 111 w 174"/>
                <a:gd name="T15" fmla="*/ 35 h 174"/>
                <a:gd name="T16" fmla="*/ 149 w 174"/>
                <a:gd name="T17" fmla="*/ 102 h 174"/>
                <a:gd name="T18" fmla="*/ 126 w 174"/>
                <a:gd name="T19" fmla="*/ 156 h 174"/>
                <a:gd name="T20" fmla="*/ 144 w 174"/>
                <a:gd name="T21" fmla="*/ 174 h 174"/>
                <a:gd name="T22" fmla="*/ 174 w 174"/>
                <a:gd name="T23" fmla="*/ 102 h 174"/>
                <a:gd name="T24" fmla="*/ 106 w 174"/>
                <a:gd name="T25" fmla="*/ 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174">
                  <a:moveTo>
                    <a:pt x="106" y="5"/>
                  </a:moveTo>
                  <a:cubicBezTo>
                    <a:pt x="96" y="2"/>
                    <a:pt x="86" y="0"/>
                    <a:pt x="76" y="0"/>
                  </a:cubicBezTo>
                  <a:cubicBezTo>
                    <a:pt x="74" y="0"/>
                    <a:pt x="73" y="0"/>
                    <a:pt x="72" y="0"/>
                  </a:cubicBezTo>
                  <a:cubicBezTo>
                    <a:pt x="44" y="0"/>
                    <a:pt x="19" y="11"/>
                    <a:pt x="0" y="30"/>
                  </a:cubicBezTo>
                  <a:cubicBezTo>
                    <a:pt x="18" y="47"/>
                    <a:pt x="18" y="47"/>
                    <a:pt x="18" y="47"/>
                  </a:cubicBezTo>
                  <a:cubicBezTo>
                    <a:pt x="32" y="33"/>
                    <a:pt x="51" y="25"/>
                    <a:pt x="72" y="25"/>
                  </a:cubicBezTo>
                  <a:cubicBezTo>
                    <a:pt x="77" y="25"/>
                    <a:pt x="81" y="25"/>
                    <a:pt x="85" y="26"/>
                  </a:cubicBezTo>
                  <a:cubicBezTo>
                    <a:pt x="94" y="27"/>
                    <a:pt x="103" y="31"/>
                    <a:pt x="111" y="35"/>
                  </a:cubicBezTo>
                  <a:cubicBezTo>
                    <a:pt x="134" y="49"/>
                    <a:pt x="149" y="73"/>
                    <a:pt x="149" y="102"/>
                  </a:cubicBezTo>
                  <a:cubicBezTo>
                    <a:pt x="149" y="123"/>
                    <a:pt x="140" y="142"/>
                    <a:pt x="126" y="156"/>
                  </a:cubicBezTo>
                  <a:cubicBezTo>
                    <a:pt x="144" y="174"/>
                    <a:pt x="144" y="174"/>
                    <a:pt x="144" y="174"/>
                  </a:cubicBezTo>
                  <a:cubicBezTo>
                    <a:pt x="163" y="155"/>
                    <a:pt x="174" y="130"/>
                    <a:pt x="174" y="102"/>
                  </a:cubicBezTo>
                  <a:cubicBezTo>
                    <a:pt x="174" y="57"/>
                    <a:pt x="145" y="19"/>
                    <a:pt x="106" y="5"/>
                  </a:cubicBezTo>
                  <a:close/>
                </a:path>
              </a:pathLst>
            </a:cu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endParaRPr/>
            </a:p>
          </p:txBody>
        </p:sp>
        <p:sp>
          <p:nvSpPr>
            <p:cNvPr id="119" name="îṩḻiḋè">
              <a:extLst>
                <a:ext uri="{FF2B5EF4-FFF2-40B4-BE49-F238E27FC236}">
                  <a16:creationId xmlns:a16="http://schemas.microsoft.com/office/drawing/2014/main" id="{39333D78-C504-430E-9392-1D21FE29FCC2}"/>
                </a:ext>
              </a:extLst>
            </p:cNvPr>
            <p:cNvSpPr/>
            <p:nvPr/>
          </p:nvSpPr>
          <p:spPr bwMode="auto">
            <a:xfrm>
              <a:off x="4967288" y="2773363"/>
              <a:ext cx="2846388" cy="2833688"/>
            </a:xfrm>
            <a:custGeom>
              <a:avLst/>
              <a:gdLst>
                <a:gd name="T0" fmla="*/ 156 w 174"/>
                <a:gd name="T1" fmla="*/ 126 h 173"/>
                <a:gd name="T2" fmla="*/ 102 w 174"/>
                <a:gd name="T3" fmla="*/ 149 h 173"/>
                <a:gd name="T4" fmla="*/ 36 w 174"/>
                <a:gd name="T5" fmla="*/ 111 h 173"/>
                <a:gd name="T6" fmla="*/ 26 w 174"/>
                <a:gd name="T7" fmla="*/ 85 h 173"/>
                <a:gd name="T8" fmla="*/ 25 w 174"/>
                <a:gd name="T9" fmla="*/ 72 h 173"/>
                <a:gd name="T10" fmla="*/ 48 w 174"/>
                <a:gd name="T11" fmla="*/ 17 h 173"/>
                <a:gd name="T12" fmla="*/ 30 w 174"/>
                <a:gd name="T13" fmla="*/ 0 h 173"/>
                <a:gd name="T14" fmla="*/ 0 w 174"/>
                <a:gd name="T15" fmla="*/ 72 h 173"/>
                <a:gd name="T16" fmla="*/ 0 w 174"/>
                <a:gd name="T17" fmla="*/ 75 h 173"/>
                <a:gd name="T18" fmla="*/ 6 w 174"/>
                <a:gd name="T19" fmla="*/ 105 h 173"/>
                <a:gd name="T20" fmla="*/ 102 w 174"/>
                <a:gd name="T21" fmla="*/ 173 h 173"/>
                <a:gd name="T22" fmla="*/ 174 w 174"/>
                <a:gd name="T23" fmla="*/ 144 h 173"/>
                <a:gd name="T24" fmla="*/ 156 w 174"/>
                <a:gd name="T25" fmla="*/ 12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173">
                  <a:moveTo>
                    <a:pt x="156" y="126"/>
                  </a:moveTo>
                  <a:cubicBezTo>
                    <a:pt x="143" y="140"/>
                    <a:pt x="123" y="149"/>
                    <a:pt x="102" y="149"/>
                  </a:cubicBezTo>
                  <a:cubicBezTo>
                    <a:pt x="74" y="149"/>
                    <a:pt x="49" y="133"/>
                    <a:pt x="36" y="111"/>
                  </a:cubicBezTo>
                  <a:cubicBezTo>
                    <a:pt x="31" y="103"/>
                    <a:pt x="28" y="94"/>
                    <a:pt x="26" y="85"/>
                  </a:cubicBezTo>
                  <a:cubicBezTo>
                    <a:pt x="26" y="80"/>
                    <a:pt x="25" y="76"/>
                    <a:pt x="25" y="72"/>
                  </a:cubicBezTo>
                  <a:cubicBezTo>
                    <a:pt x="25" y="50"/>
                    <a:pt x="34" y="31"/>
                    <a:pt x="48" y="17"/>
                  </a:cubicBezTo>
                  <a:cubicBezTo>
                    <a:pt x="30" y="0"/>
                    <a:pt x="30" y="0"/>
                    <a:pt x="30" y="0"/>
                  </a:cubicBezTo>
                  <a:cubicBezTo>
                    <a:pt x="12" y="18"/>
                    <a:pt x="0" y="43"/>
                    <a:pt x="0" y="72"/>
                  </a:cubicBezTo>
                  <a:cubicBezTo>
                    <a:pt x="0" y="73"/>
                    <a:pt x="0" y="74"/>
                    <a:pt x="0" y="75"/>
                  </a:cubicBezTo>
                  <a:cubicBezTo>
                    <a:pt x="1" y="86"/>
                    <a:pt x="3" y="96"/>
                    <a:pt x="6" y="105"/>
                  </a:cubicBezTo>
                  <a:cubicBezTo>
                    <a:pt x="20" y="145"/>
                    <a:pt x="58" y="173"/>
                    <a:pt x="102" y="173"/>
                  </a:cubicBezTo>
                  <a:cubicBezTo>
                    <a:pt x="130" y="173"/>
                    <a:pt x="156" y="162"/>
                    <a:pt x="174" y="144"/>
                  </a:cubicBezTo>
                  <a:lnTo>
                    <a:pt x="156" y="126"/>
                  </a:lnTo>
                  <a:close/>
                </a:path>
              </a:pathLst>
            </a:cu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endParaRPr/>
            </a:p>
          </p:txBody>
        </p:sp>
        <p:sp>
          <p:nvSpPr>
            <p:cNvPr id="120" name="îŝḻîḍê">
              <a:extLst>
                <a:ext uri="{FF2B5EF4-FFF2-40B4-BE49-F238E27FC236}">
                  <a16:creationId xmlns:a16="http://schemas.microsoft.com/office/drawing/2014/main" id="{A30B82B4-8333-443D-9E9C-AF20722D2E35}"/>
                </a:ext>
              </a:extLst>
            </p:cNvPr>
            <p:cNvSpPr/>
            <p:nvPr/>
          </p:nvSpPr>
          <p:spPr bwMode="auto">
            <a:xfrm>
              <a:off x="7518400" y="1660525"/>
              <a:ext cx="1390650" cy="1392238"/>
            </a:xfrm>
            <a:custGeom>
              <a:avLst/>
              <a:gdLst>
                <a:gd name="T0" fmla="*/ 186 w 876"/>
                <a:gd name="T1" fmla="*/ 877 h 877"/>
                <a:gd name="T2" fmla="*/ 0 w 876"/>
                <a:gd name="T3" fmla="*/ 701 h 877"/>
                <a:gd name="T4" fmla="*/ 701 w 876"/>
                <a:gd name="T5" fmla="*/ 0 h 877"/>
                <a:gd name="T6" fmla="*/ 876 w 876"/>
                <a:gd name="T7" fmla="*/ 185 h 877"/>
                <a:gd name="T8" fmla="*/ 186 w 876"/>
                <a:gd name="T9" fmla="*/ 877 h 877"/>
              </a:gdLst>
              <a:ahLst/>
              <a:cxnLst>
                <a:cxn ang="0">
                  <a:pos x="T0" y="T1"/>
                </a:cxn>
                <a:cxn ang="0">
                  <a:pos x="T2" y="T3"/>
                </a:cxn>
                <a:cxn ang="0">
                  <a:pos x="T4" y="T5"/>
                </a:cxn>
                <a:cxn ang="0">
                  <a:pos x="T6" y="T7"/>
                </a:cxn>
                <a:cxn ang="0">
                  <a:pos x="T8" y="T9"/>
                </a:cxn>
              </a:cxnLst>
              <a:rect l="0" t="0" r="r" b="b"/>
              <a:pathLst>
                <a:path w="876" h="877">
                  <a:moveTo>
                    <a:pt x="186" y="877"/>
                  </a:moveTo>
                  <a:lnTo>
                    <a:pt x="0" y="701"/>
                  </a:lnTo>
                  <a:lnTo>
                    <a:pt x="701" y="0"/>
                  </a:lnTo>
                  <a:lnTo>
                    <a:pt x="876" y="185"/>
                  </a:lnTo>
                  <a:lnTo>
                    <a:pt x="186" y="877"/>
                  </a:lnTo>
                  <a:close/>
                </a:path>
              </a:pathLst>
            </a:cu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endParaRPr/>
            </a:p>
          </p:txBody>
        </p:sp>
        <p:sp>
          <p:nvSpPr>
            <p:cNvPr id="121" name="iSļîďe">
              <a:extLst>
                <a:ext uri="{FF2B5EF4-FFF2-40B4-BE49-F238E27FC236}">
                  <a16:creationId xmlns:a16="http://schemas.microsoft.com/office/drawing/2014/main" id="{B7F9E56A-C9C8-4867-90F3-12A8C392B934}"/>
                </a:ext>
              </a:extLst>
            </p:cNvPr>
            <p:cNvSpPr/>
            <p:nvPr/>
          </p:nvSpPr>
          <p:spPr bwMode="auto">
            <a:xfrm>
              <a:off x="3217863" y="3805238"/>
              <a:ext cx="1503363" cy="1508125"/>
            </a:xfrm>
            <a:custGeom>
              <a:avLst/>
              <a:gdLst>
                <a:gd name="T0" fmla="*/ 185 w 947"/>
                <a:gd name="T1" fmla="*/ 950 h 950"/>
                <a:gd name="T2" fmla="*/ 0 w 947"/>
                <a:gd name="T3" fmla="*/ 764 h 950"/>
                <a:gd name="T4" fmla="*/ 762 w 947"/>
                <a:gd name="T5" fmla="*/ 0 h 950"/>
                <a:gd name="T6" fmla="*/ 947 w 947"/>
                <a:gd name="T7" fmla="*/ 186 h 950"/>
                <a:gd name="T8" fmla="*/ 185 w 947"/>
                <a:gd name="T9" fmla="*/ 950 h 950"/>
              </a:gdLst>
              <a:ahLst/>
              <a:cxnLst>
                <a:cxn ang="0">
                  <a:pos x="T0" y="T1"/>
                </a:cxn>
                <a:cxn ang="0">
                  <a:pos x="T2" y="T3"/>
                </a:cxn>
                <a:cxn ang="0">
                  <a:pos x="T4" y="T5"/>
                </a:cxn>
                <a:cxn ang="0">
                  <a:pos x="T6" y="T7"/>
                </a:cxn>
                <a:cxn ang="0">
                  <a:pos x="T8" y="T9"/>
                </a:cxn>
              </a:cxnLst>
              <a:rect l="0" t="0" r="r" b="b"/>
              <a:pathLst>
                <a:path w="947" h="950">
                  <a:moveTo>
                    <a:pt x="185" y="950"/>
                  </a:moveTo>
                  <a:lnTo>
                    <a:pt x="0" y="764"/>
                  </a:lnTo>
                  <a:lnTo>
                    <a:pt x="762" y="0"/>
                  </a:lnTo>
                  <a:lnTo>
                    <a:pt x="947" y="186"/>
                  </a:lnTo>
                  <a:lnTo>
                    <a:pt x="185" y="950"/>
                  </a:lnTo>
                  <a:close/>
                </a:path>
              </a:pathLst>
            </a:custGeom>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endParaRPr/>
            </a:p>
          </p:txBody>
        </p:sp>
        <p:sp>
          <p:nvSpPr>
            <p:cNvPr id="122" name="ïṣlîḓe">
              <a:extLst>
                <a:ext uri="{FF2B5EF4-FFF2-40B4-BE49-F238E27FC236}">
                  <a16:creationId xmlns:a16="http://schemas.microsoft.com/office/drawing/2014/main" id="{1855DE10-1F6D-4016-90A9-D7C67418D4C1}"/>
                </a:ext>
              </a:extLst>
            </p:cNvPr>
            <p:cNvSpPr/>
            <p:nvPr/>
          </p:nvSpPr>
          <p:spPr bwMode="auto">
            <a:xfrm>
              <a:off x="3217863" y="4100513"/>
              <a:ext cx="1209675" cy="1212850"/>
            </a:xfrm>
            <a:custGeom>
              <a:avLst/>
              <a:gdLst>
                <a:gd name="T0" fmla="*/ 577 w 762"/>
                <a:gd name="T1" fmla="*/ 764 h 764"/>
                <a:gd name="T2" fmla="*/ 0 w 762"/>
                <a:gd name="T3" fmla="*/ 186 h 764"/>
                <a:gd name="T4" fmla="*/ 185 w 762"/>
                <a:gd name="T5" fmla="*/ 0 h 764"/>
                <a:gd name="T6" fmla="*/ 762 w 762"/>
                <a:gd name="T7" fmla="*/ 578 h 764"/>
                <a:gd name="T8" fmla="*/ 577 w 762"/>
                <a:gd name="T9" fmla="*/ 764 h 764"/>
              </a:gdLst>
              <a:ahLst/>
              <a:cxnLst>
                <a:cxn ang="0">
                  <a:pos x="T0" y="T1"/>
                </a:cxn>
                <a:cxn ang="0">
                  <a:pos x="T2" y="T3"/>
                </a:cxn>
                <a:cxn ang="0">
                  <a:pos x="T4" y="T5"/>
                </a:cxn>
                <a:cxn ang="0">
                  <a:pos x="T6" y="T7"/>
                </a:cxn>
                <a:cxn ang="0">
                  <a:pos x="T8" y="T9"/>
                </a:cxn>
              </a:cxnLst>
              <a:rect l="0" t="0" r="r" b="b"/>
              <a:pathLst>
                <a:path w="762" h="764">
                  <a:moveTo>
                    <a:pt x="577" y="764"/>
                  </a:moveTo>
                  <a:lnTo>
                    <a:pt x="0" y="186"/>
                  </a:lnTo>
                  <a:lnTo>
                    <a:pt x="185" y="0"/>
                  </a:lnTo>
                  <a:lnTo>
                    <a:pt x="762" y="578"/>
                  </a:lnTo>
                  <a:lnTo>
                    <a:pt x="577" y="764"/>
                  </a:lnTo>
                  <a:close/>
                </a:path>
              </a:pathLst>
            </a:custGeom>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endParaRPr/>
            </a:p>
          </p:txBody>
        </p:sp>
        <p:sp>
          <p:nvSpPr>
            <p:cNvPr id="123" name="ïṣḷiḋè">
              <a:extLst>
                <a:ext uri="{FF2B5EF4-FFF2-40B4-BE49-F238E27FC236}">
                  <a16:creationId xmlns:a16="http://schemas.microsoft.com/office/drawing/2014/main" id="{F71ECCF7-89DF-4F51-B895-F39CCDE1C2CE}"/>
                </a:ext>
              </a:extLst>
            </p:cNvPr>
            <p:cNvSpPr/>
            <p:nvPr/>
          </p:nvSpPr>
          <p:spPr bwMode="auto">
            <a:xfrm>
              <a:off x="7748588" y="1611313"/>
              <a:ext cx="1225550" cy="1228725"/>
            </a:xfrm>
            <a:custGeom>
              <a:avLst/>
              <a:gdLst>
                <a:gd name="T0" fmla="*/ 772 w 772"/>
                <a:gd name="T1" fmla="*/ 774 h 774"/>
                <a:gd name="T2" fmla="*/ 515 w 772"/>
                <a:gd name="T3" fmla="*/ 774 h 774"/>
                <a:gd name="T4" fmla="*/ 515 w 772"/>
                <a:gd name="T5" fmla="*/ 258 h 774"/>
                <a:gd name="T6" fmla="*/ 0 w 772"/>
                <a:gd name="T7" fmla="*/ 258 h 774"/>
                <a:gd name="T8" fmla="*/ 0 w 772"/>
                <a:gd name="T9" fmla="*/ 0 h 774"/>
                <a:gd name="T10" fmla="*/ 772 w 772"/>
                <a:gd name="T11" fmla="*/ 0 h 774"/>
                <a:gd name="T12" fmla="*/ 772 w 772"/>
                <a:gd name="T13" fmla="*/ 774 h 774"/>
              </a:gdLst>
              <a:ahLst/>
              <a:cxnLst>
                <a:cxn ang="0">
                  <a:pos x="T0" y="T1"/>
                </a:cxn>
                <a:cxn ang="0">
                  <a:pos x="T2" y="T3"/>
                </a:cxn>
                <a:cxn ang="0">
                  <a:pos x="T4" y="T5"/>
                </a:cxn>
                <a:cxn ang="0">
                  <a:pos x="T6" y="T7"/>
                </a:cxn>
                <a:cxn ang="0">
                  <a:pos x="T8" y="T9"/>
                </a:cxn>
                <a:cxn ang="0">
                  <a:pos x="T10" y="T11"/>
                </a:cxn>
                <a:cxn ang="0">
                  <a:pos x="T12" y="T13"/>
                </a:cxn>
              </a:cxnLst>
              <a:rect l="0" t="0" r="r" b="b"/>
              <a:pathLst>
                <a:path w="772" h="774">
                  <a:moveTo>
                    <a:pt x="772" y="774"/>
                  </a:moveTo>
                  <a:lnTo>
                    <a:pt x="515" y="774"/>
                  </a:lnTo>
                  <a:lnTo>
                    <a:pt x="515" y="258"/>
                  </a:lnTo>
                  <a:lnTo>
                    <a:pt x="0" y="258"/>
                  </a:lnTo>
                  <a:lnTo>
                    <a:pt x="0" y="0"/>
                  </a:lnTo>
                  <a:lnTo>
                    <a:pt x="772" y="0"/>
                  </a:lnTo>
                  <a:lnTo>
                    <a:pt x="772" y="774"/>
                  </a:lnTo>
                  <a:close/>
                </a:path>
              </a:pathLst>
            </a:cu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endParaRPr/>
            </a:p>
          </p:txBody>
        </p:sp>
      </p:grpSp>
      <p:grpSp>
        <p:nvGrpSpPr>
          <p:cNvPr id="5" name="组合 4">
            <a:extLst>
              <a:ext uri="{FF2B5EF4-FFF2-40B4-BE49-F238E27FC236}">
                <a16:creationId xmlns:a16="http://schemas.microsoft.com/office/drawing/2014/main" id="{D9CD8C50-25CA-428D-B82C-97299A536DE0}"/>
              </a:ext>
            </a:extLst>
          </p:cNvPr>
          <p:cNvGrpSpPr/>
          <p:nvPr/>
        </p:nvGrpSpPr>
        <p:grpSpPr>
          <a:xfrm>
            <a:off x="786267" y="1742220"/>
            <a:ext cx="10473016" cy="3121524"/>
            <a:chOff x="801788" y="1711687"/>
            <a:chExt cx="10473016" cy="3121524"/>
          </a:xfrm>
        </p:grpSpPr>
        <p:grpSp>
          <p:nvGrpSpPr>
            <p:cNvPr id="7" name="îṧľïdé">
              <a:extLst>
                <a:ext uri="{FF2B5EF4-FFF2-40B4-BE49-F238E27FC236}">
                  <a16:creationId xmlns:a16="http://schemas.microsoft.com/office/drawing/2014/main" id="{084E73EA-210B-4CB7-A18F-2E3EE92677A9}"/>
                </a:ext>
              </a:extLst>
            </p:cNvPr>
            <p:cNvGrpSpPr/>
            <p:nvPr/>
          </p:nvGrpSpPr>
          <p:grpSpPr>
            <a:xfrm>
              <a:off x="801788" y="1711687"/>
              <a:ext cx="3964847" cy="609344"/>
              <a:chOff x="1016727" y="1300590"/>
              <a:chExt cx="3964847" cy="609344"/>
            </a:xfrm>
          </p:grpSpPr>
          <p:sp>
            <p:nvSpPr>
              <p:cNvPr id="81" name="ïśḻïḓé">
                <a:extLst>
                  <a:ext uri="{FF2B5EF4-FFF2-40B4-BE49-F238E27FC236}">
                    <a16:creationId xmlns:a16="http://schemas.microsoft.com/office/drawing/2014/main" id="{9FE8FF08-BDCA-4279-ACF7-B4268CD2C744}"/>
                  </a:ext>
                </a:extLst>
              </p:cNvPr>
              <p:cNvSpPr/>
              <p:nvPr/>
            </p:nvSpPr>
            <p:spPr>
              <a:xfrm>
                <a:off x="1016727" y="1353978"/>
                <a:ext cx="3964847" cy="502569"/>
              </a:xfrm>
              <a:prstGeom prst="roundRect">
                <a:avLst/>
              </a:prstGeom>
              <a:solidFill>
                <a:schemeClr val="accent1"/>
              </a:solidFill>
              <a:ln w="12700" cap="flat">
                <a:noFill/>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82" name="íṡľíḋè">
                <a:extLst>
                  <a:ext uri="{FF2B5EF4-FFF2-40B4-BE49-F238E27FC236}">
                    <a16:creationId xmlns:a16="http://schemas.microsoft.com/office/drawing/2014/main" id="{21E045DA-6DCE-4D70-8308-EE51E6E19C65}"/>
                  </a:ext>
                </a:extLst>
              </p:cNvPr>
              <p:cNvSpPr/>
              <p:nvPr/>
            </p:nvSpPr>
            <p:spPr>
              <a:xfrm>
                <a:off x="2249768" y="1372797"/>
                <a:ext cx="2731805" cy="464930"/>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2400" b="1" i="1" dirty="0">
                    <a:solidFill>
                      <a:schemeClr val="bg1"/>
                    </a:solidFill>
                  </a:rPr>
                  <a:t>面向对象编程</a:t>
                </a:r>
                <a:endParaRPr lang="en-US" altLang="zh-CN" sz="2400" b="1" i="1" dirty="0">
                  <a:solidFill>
                    <a:schemeClr val="bg1"/>
                  </a:solidFill>
                </a:endParaRPr>
              </a:p>
            </p:txBody>
          </p:sp>
          <p:grpSp>
            <p:nvGrpSpPr>
              <p:cNvPr id="83" name="îSḻîḋê">
                <a:extLst>
                  <a:ext uri="{FF2B5EF4-FFF2-40B4-BE49-F238E27FC236}">
                    <a16:creationId xmlns:a16="http://schemas.microsoft.com/office/drawing/2014/main" id="{2B596B3F-4438-46A1-B64B-E9866EC386C9}"/>
                  </a:ext>
                </a:extLst>
              </p:cNvPr>
              <p:cNvGrpSpPr/>
              <p:nvPr/>
            </p:nvGrpSpPr>
            <p:grpSpPr>
              <a:xfrm>
                <a:off x="1424130" y="1300590"/>
                <a:ext cx="609344" cy="609344"/>
                <a:chOff x="2223502" y="1981401"/>
                <a:chExt cx="591416" cy="591416"/>
              </a:xfrm>
            </p:grpSpPr>
            <p:sp>
              <p:nvSpPr>
                <p:cNvPr id="91" name="íṥľîḋè">
                  <a:extLst>
                    <a:ext uri="{FF2B5EF4-FFF2-40B4-BE49-F238E27FC236}">
                      <a16:creationId xmlns:a16="http://schemas.microsoft.com/office/drawing/2014/main" id="{5AE6C953-FB92-4446-A9DA-A46DDB3ABAFA}"/>
                    </a:ext>
                  </a:extLst>
                </p:cNvPr>
                <p:cNvSpPr/>
                <p:nvPr/>
              </p:nvSpPr>
              <p:spPr>
                <a:xfrm>
                  <a:off x="2223502" y="1981401"/>
                  <a:ext cx="591416" cy="59141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cap="flat">
                  <a:solidFill>
                    <a:schemeClr val="bg1"/>
                  </a:solidFill>
                  <a:prstDash val="solid"/>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92" name="iślídè">
                  <a:extLst>
                    <a:ext uri="{FF2B5EF4-FFF2-40B4-BE49-F238E27FC236}">
                      <a16:creationId xmlns:a16="http://schemas.microsoft.com/office/drawing/2014/main" id="{5208EF8E-9A4F-484C-93A0-E1951F4A5D8C}"/>
                    </a:ext>
                  </a:extLst>
                </p:cNvPr>
                <p:cNvSpPr/>
                <p:nvPr/>
              </p:nvSpPr>
              <p:spPr>
                <a:xfrm>
                  <a:off x="2304185" y="2062084"/>
                  <a:ext cx="430050" cy="4300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solidFill>
                <a:ln w="57150" cap="flat">
                  <a:noFill/>
                  <a:prstDash val="solid"/>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grpSp>
        </p:grpSp>
        <p:grpSp>
          <p:nvGrpSpPr>
            <p:cNvPr id="9" name="îṩ1iḑé">
              <a:extLst>
                <a:ext uri="{FF2B5EF4-FFF2-40B4-BE49-F238E27FC236}">
                  <a16:creationId xmlns:a16="http://schemas.microsoft.com/office/drawing/2014/main" id="{6381E2E3-E28C-4DE2-B121-27DF35DFF1D6}"/>
                </a:ext>
              </a:extLst>
            </p:cNvPr>
            <p:cNvGrpSpPr/>
            <p:nvPr/>
          </p:nvGrpSpPr>
          <p:grpSpPr>
            <a:xfrm>
              <a:off x="7309957" y="1711687"/>
              <a:ext cx="3964847" cy="3121524"/>
              <a:chOff x="1016727" y="1300590"/>
              <a:chExt cx="3964847" cy="3121524"/>
            </a:xfrm>
          </p:grpSpPr>
          <p:sp>
            <p:nvSpPr>
              <p:cNvPr id="10" name="iš1ïḋê">
                <a:extLst>
                  <a:ext uri="{FF2B5EF4-FFF2-40B4-BE49-F238E27FC236}">
                    <a16:creationId xmlns:a16="http://schemas.microsoft.com/office/drawing/2014/main" id="{D1EC6759-4DE5-4333-907E-B74055942D33}"/>
                  </a:ext>
                </a:extLst>
              </p:cNvPr>
              <p:cNvSpPr/>
              <p:nvPr/>
            </p:nvSpPr>
            <p:spPr>
              <a:xfrm>
                <a:off x="1016727" y="1353978"/>
                <a:ext cx="3964847" cy="502569"/>
              </a:xfrm>
              <a:prstGeom prst="roundRect">
                <a:avLst/>
              </a:prstGeom>
              <a:solidFill>
                <a:schemeClr val="accent1"/>
              </a:solidFill>
              <a:ln w="12700" cap="flat">
                <a:noFill/>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sp>
            <p:nvSpPr>
              <p:cNvPr id="11" name="í$ḻíḑê">
                <a:extLst>
                  <a:ext uri="{FF2B5EF4-FFF2-40B4-BE49-F238E27FC236}">
                    <a16:creationId xmlns:a16="http://schemas.microsoft.com/office/drawing/2014/main" id="{33125799-A553-49EC-9CBE-48D35DF4FDD5}"/>
                  </a:ext>
                </a:extLst>
              </p:cNvPr>
              <p:cNvSpPr/>
              <p:nvPr/>
            </p:nvSpPr>
            <p:spPr>
              <a:xfrm>
                <a:off x="2249768" y="1372797"/>
                <a:ext cx="2731805" cy="464930"/>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2400" b="1" i="1" dirty="0">
                    <a:solidFill>
                      <a:schemeClr val="bg1"/>
                    </a:solidFill>
                  </a:rPr>
                  <a:t>函数式编程</a:t>
                </a:r>
                <a:endParaRPr lang="en-US" altLang="zh-CN" sz="2400" b="1" i="1" dirty="0">
                  <a:solidFill>
                    <a:schemeClr val="bg1"/>
                  </a:solidFill>
                </a:endParaRPr>
              </a:p>
            </p:txBody>
          </p:sp>
          <p:grpSp>
            <p:nvGrpSpPr>
              <p:cNvPr id="12" name="îśļïďe">
                <a:extLst>
                  <a:ext uri="{FF2B5EF4-FFF2-40B4-BE49-F238E27FC236}">
                    <a16:creationId xmlns:a16="http://schemas.microsoft.com/office/drawing/2014/main" id="{3CA91194-8A45-4940-9524-2952FFFB0884}"/>
                  </a:ext>
                </a:extLst>
              </p:cNvPr>
              <p:cNvGrpSpPr/>
              <p:nvPr/>
            </p:nvGrpSpPr>
            <p:grpSpPr>
              <a:xfrm>
                <a:off x="1424130" y="1300590"/>
                <a:ext cx="609344" cy="609344"/>
                <a:chOff x="2223502" y="1981401"/>
                <a:chExt cx="591416" cy="591416"/>
              </a:xfrm>
            </p:grpSpPr>
            <p:sp>
              <p:nvSpPr>
                <p:cNvPr id="20" name="îṧḷíḑé">
                  <a:extLst>
                    <a:ext uri="{FF2B5EF4-FFF2-40B4-BE49-F238E27FC236}">
                      <a16:creationId xmlns:a16="http://schemas.microsoft.com/office/drawing/2014/main" id="{DA831926-E385-4A3C-9DE3-42B685DA7593}"/>
                    </a:ext>
                  </a:extLst>
                </p:cNvPr>
                <p:cNvSpPr/>
                <p:nvPr/>
              </p:nvSpPr>
              <p:spPr>
                <a:xfrm>
                  <a:off x="2223502" y="1981401"/>
                  <a:ext cx="591416" cy="59141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57150" cap="flat">
                  <a:solidFill>
                    <a:schemeClr val="bg1"/>
                  </a:solidFill>
                  <a:prstDash val="solid"/>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1" name="iṧlîḋê">
                  <a:extLst>
                    <a:ext uri="{FF2B5EF4-FFF2-40B4-BE49-F238E27FC236}">
                      <a16:creationId xmlns:a16="http://schemas.microsoft.com/office/drawing/2014/main" id="{2B22A5C1-0460-4DCF-B23C-65D6197D7B0D}"/>
                    </a:ext>
                  </a:extLst>
                </p:cNvPr>
                <p:cNvSpPr/>
                <p:nvPr/>
              </p:nvSpPr>
              <p:spPr>
                <a:xfrm>
                  <a:off x="2304185" y="2062084"/>
                  <a:ext cx="430050" cy="43005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solidFill>
                <a:ln w="57150" cap="flat">
                  <a:noFill/>
                  <a:prstDash val="solid"/>
                  <a:miter lim="400000"/>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grpSp>
          <p:sp>
            <p:nvSpPr>
              <p:cNvPr id="19" name="íṣḷïḋè">
                <a:extLst>
                  <a:ext uri="{FF2B5EF4-FFF2-40B4-BE49-F238E27FC236}">
                    <a16:creationId xmlns:a16="http://schemas.microsoft.com/office/drawing/2014/main" id="{B4B554C4-80DE-4E41-9243-D318234A124D}"/>
                  </a:ext>
                </a:extLst>
              </p:cNvPr>
              <p:cNvSpPr txBox="1"/>
              <p:nvPr/>
            </p:nvSpPr>
            <p:spPr>
              <a:xfrm>
                <a:off x="1122943" y="2393095"/>
                <a:ext cx="3814944" cy="2029019"/>
              </a:xfrm>
              <a:prstGeom prst="rect">
                <a:avLst/>
              </a:prstGeom>
              <a:noFill/>
              <a:ln>
                <a:noFill/>
              </a:ln>
            </p:spPr>
            <p:txBody>
              <a:bodyPr spcFirstLastPara="1"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a:lnSpc>
                    <a:spcPct val="140000"/>
                  </a:lnSpc>
                  <a:spcBef>
                    <a:spcPct val="0"/>
                  </a:spcBef>
                  <a:buFont typeface="Arial" panose="020B0604020202020204" pitchFamily="34" charset="0"/>
                  <a:buChar char="•"/>
                </a:pPr>
                <a:r>
                  <a:rPr lang="zh-CN" altLang="en-US" sz="2800" b="1" dirty="0"/>
                  <a:t>函数是第一公民</a:t>
                </a:r>
                <a:endParaRPr lang="en-US" altLang="zh-CN" sz="2800" b="1" dirty="0"/>
              </a:p>
              <a:p>
                <a:pPr marL="285750" indent="-285750">
                  <a:lnSpc>
                    <a:spcPct val="140000"/>
                  </a:lnSpc>
                  <a:spcBef>
                    <a:spcPct val="0"/>
                  </a:spcBef>
                  <a:buFont typeface="Arial" panose="020B0604020202020204" pitchFamily="34" charset="0"/>
                  <a:buChar char="•"/>
                </a:pPr>
                <a:r>
                  <a:rPr lang="en-US" altLang="zh-CN" sz="2800" b="1" dirty="0"/>
                  <a:t>Lambda</a:t>
                </a:r>
                <a:r>
                  <a:rPr lang="zh-CN" altLang="en-US" sz="2800" b="1" dirty="0"/>
                  <a:t>表达式</a:t>
                </a:r>
                <a:endParaRPr lang="en-US" altLang="zh-CN" sz="2800" b="1" dirty="0"/>
              </a:p>
              <a:p>
                <a:pPr marL="285750" indent="-285750">
                  <a:lnSpc>
                    <a:spcPct val="140000"/>
                  </a:lnSpc>
                  <a:spcBef>
                    <a:spcPct val="0"/>
                  </a:spcBef>
                  <a:buFont typeface="Arial" panose="020B0604020202020204" pitchFamily="34" charset="0"/>
                  <a:buChar char="•"/>
                </a:pPr>
                <a:r>
                  <a:rPr lang="en-US" altLang="zh-CN" sz="2800" b="1" dirty="0"/>
                  <a:t>FP</a:t>
                </a:r>
                <a:r>
                  <a:rPr lang="zh-CN" altLang="en-US" sz="2800" b="1" dirty="0"/>
                  <a:t>是行为的抽象</a:t>
                </a:r>
              </a:p>
            </p:txBody>
          </p:sp>
        </p:grpSp>
        <p:pic>
          <p:nvPicPr>
            <p:cNvPr id="125" name="图形 124">
              <a:extLst>
                <a:ext uri="{FF2B5EF4-FFF2-40B4-BE49-F238E27FC236}">
                  <a16:creationId xmlns:a16="http://schemas.microsoft.com/office/drawing/2014/main" id="{C8794D62-AF87-4868-BD94-8A073933FBD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39495" y="1851816"/>
              <a:ext cx="344345" cy="327948"/>
            </a:xfrm>
            <a:prstGeom prst="rect">
              <a:avLst/>
            </a:prstGeom>
          </p:spPr>
        </p:pic>
        <p:pic>
          <p:nvPicPr>
            <p:cNvPr id="129" name="图形 128">
              <a:extLst>
                <a:ext uri="{FF2B5EF4-FFF2-40B4-BE49-F238E27FC236}">
                  <a16:creationId xmlns:a16="http://schemas.microsoft.com/office/drawing/2014/main" id="{732E0B78-4A23-4652-911D-E25DE5274C0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51751" y="1829129"/>
              <a:ext cx="344345" cy="344345"/>
            </a:xfrm>
            <a:prstGeom prst="rect">
              <a:avLst/>
            </a:prstGeom>
          </p:spPr>
        </p:pic>
      </p:grpSp>
      <p:sp>
        <p:nvSpPr>
          <p:cNvPr id="24" name="íṣḷïḋè">
            <a:extLst>
              <a:ext uri="{FF2B5EF4-FFF2-40B4-BE49-F238E27FC236}">
                <a16:creationId xmlns:a16="http://schemas.microsoft.com/office/drawing/2014/main" id="{A94F599A-CEC3-4E72-9FCF-58E4BC9BB9E8}"/>
              </a:ext>
            </a:extLst>
          </p:cNvPr>
          <p:cNvSpPr txBox="1"/>
          <p:nvPr/>
        </p:nvSpPr>
        <p:spPr>
          <a:xfrm>
            <a:off x="976404" y="2888580"/>
            <a:ext cx="3814944" cy="2029019"/>
          </a:xfrm>
          <a:prstGeom prst="rect">
            <a:avLst/>
          </a:prstGeom>
          <a:noFill/>
          <a:ln>
            <a:noFill/>
          </a:ln>
        </p:spPr>
        <p:txBody>
          <a:bodyPr spcFirstLastPara="1" wrap="square" lIns="91440" tIns="45720" rIns="91440" bIns="45720" anchor="ctr" anchorCtr="0">
            <a:normAutofit fontScale="77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a:lnSpc>
                <a:spcPct val="160000"/>
              </a:lnSpc>
              <a:spcBef>
                <a:spcPct val="0"/>
              </a:spcBef>
              <a:buFont typeface="Arial" panose="020B0604020202020204" pitchFamily="34" charset="0"/>
              <a:buChar char="•"/>
            </a:pPr>
            <a:r>
              <a:rPr lang="zh-CN" altLang="en-US" sz="3600" b="1" dirty="0"/>
              <a:t>一切皆对象</a:t>
            </a:r>
          </a:p>
          <a:p>
            <a:pPr marL="285750" indent="-285750">
              <a:lnSpc>
                <a:spcPct val="160000"/>
              </a:lnSpc>
              <a:spcBef>
                <a:spcPct val="0"/>
              </a:spcBef>
              <a:buFont typeface="Arial" panose="020B0604020202020204" pitchFamily="34" charset="0"/>
              <a:buChar char="•"/>
            </a:pPr>
            <a:r>
              <a:rPr lang="zh-CN" altLang="en-US" sz="3600" b="1" dirty="0"/>
              <a:t>封装、继承、多态</a:t>
            </a:r>
            <a:r>
              <a:rPr lang="en-US" altLang="zh-CN" sz="3600" b="1" baseline="30000" dirty="0"/>
              <a:t>[1]</a:t>
            </a:r>
            <a:endParaRPr lang="zh-CN" altLang="en-US" sz="3600" b="1" baseline="30000" dirty="0"/>
          </a:p>
          <a:p>
            <a:pPr marL="285750" indent="-285750">
              <a:lnSpc>
                <a:spcPct val="160000"/>
              </a:lnSpc>
              <a:spcBef>
                <a:spcPct val="0"/>
              </a:spcBef>
              <a:buFont typeface="Arial" panose="020B0604020202020204" pitchFamily="34" charset="0"/>
              <a:buChar char="•"/>
            </a:pPr>
            <a:r>
              <a:rPr lang="en-US" altLang="zh-CN" sz="3600" b="1" dirty="0"/>
              <a:t>OOP</a:t>
            </a:r>
            <a:r>
              <a:rPr lang="zh-CN" altLang="en-US" sz="3600" b="1" dirty="0"/>
              <a:t>是数据的抽象</a:t>
            </a:r>
          </a:p>
        </p:txBody>
      </p:sp>
    </p:spTree>
    <p:custDataLst>
      <p:tags r:id="rId1"/>
    </p:custDataLst>
    <p:extLst>
      <p:ext uri="{BB962C8B-B14F-4D97-AF65-F5344CB8AC3E}">
        <p14:creationId xmlns:p14="http://schemas.microsoft.com/office/powerpoint/2010/main" val="26903068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0498D3A-B738-48EC-A39C-94C58B88932B}"/>
              </a:ext>
            </a:extLst>
          </p:cNvPr>
          <p:cNvGrpSpPr/>
          <p:nvPr/>
        </p:nvGrpSpPr>
        <p:grpSpPr>
          <a:xfrm>
            <a:off x="757282" y="1700808"/>
            <a:ext cx="10763205" cy="4083608"/>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759C196-DA28-4241-ABB5-975367026FE9}"/>
                </a:ext>
              </a:extLst>
            </p:cNvPr>
            <p:cNvGrpSpPr>
              <a:grpSpLocks noChangeAspect="1"/>
            </p:cNvGrpSpPr>
            <p:nvPr/>
          </p:nvGrpSpPr>
          <p:grpSpPr>
            <a:xfrm>
              <a:off x="757282" y="1700808"/>
              <a:ext cx="10763205" cy="4083608"/>
              <a:chOff x="1175743" y="1700808"/>
              <a:chExt cx="10344744" cy="4083608"/>
            </a:xfrm>
          </p:grpSpPr>
          <p:sp>
            <p:nvSpPr>
              <p:cNvPr id="7" name="iṡľïḑè">
                <a:extLst>
                  <a:ext uri="{FF2B5EF4-FFF2-40B4-BE49-F238E27FC236}">
                    <a16:creationId xmlns:a16="http://schemas.microsoft.com/office/drawing/2014/main" id="{48F70259-7598-4270-874A-6F50772D10F6}"/>
                  </a:ext>
                </a:extLst>
              </p:cNvPr>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42900" indent="-342900">
                  <a:lnSpc>
                    <a:spcPct val="150000"/>
                  </a:lnSpc>
                  <a:buFont typeface="+mj-lt"/>
                  <a:buAutoNum type="arabicPeriod"/>
                </a:pPr>
                <a:r>
                  <a:rPr lang="en-US" altLang="zh-CN" b="0" dirty="0">
                    <a:latin typeface="+mn-lt"/>
                    <a:ea typeface="+mn-ea"/>
                    <a:sym typeface="+mn-lt"/>
                  </a:rPr>
                  <a:t>Subtitle He</a:t>
                </a:r>
                <a:r>
                  <a:rPr lang="en-US" altLang="zh-CN" sz="100" b="0" dirty="0">
                    <a:latin typeface="+mn-lt"/>
                    <a:ea typeface="+mn-ea"/>
                    <a:sym typeface="+mn-lt"/>
                  </a:rPr>
                  <a:t> </a:t>
                </a:r>
                <a:r>
                  <a:rPr lang="en-US" altLang="zh-CN" b="0" dirty="0">
                    <a:latin typeface="+mn-lt"/>
                    <a:ea typeface="+mn-ea"/>
                    <a:sym typeface="+mn-lt"/>
                  </a:rPr>
                  <a:t>re</a:t>
                </a:r>
              </a:p>
              <a:p>
                <a:pPr marL="342900" indent="-342900">
                  <a:lnSpc>
                    <a:spcPct val="150000"/>
                  </a:lnSpc>
                  <a:buFont typeface="+mj-lt"/>
                  <a:buAutoNum type="arabicPeriod"/>
                </a:pPr>
                <a:r>
                  <a:rPr lang="en-US" altLang="zh-CN" b="0" dirty="0">
                    <a:latin typeface="+mn-lt"/>
                    <a:ea typeface="+mn-ea"/>
                    <a:sym typeface="+mn-lt"/>
                  </a:rPr>
                  <a:t>…</a:t>
                </a:r>
              </a:p>
              <a:p>
                <a:pPr marL="342900" indent="-342900">
                  <a:lnSpc>
                    <a:spcPct val="150000"/>
                  </a:lnSpc>
                  <a:buFont typeface="+mj-lt"/>
                  <a:buAutoNum type="arabicPeriod"/>
                </a:pPr>
                <a:r>
                  <a:rPr lang="en-US" altLang="zh-CN" b="0" dirty="0">
                    <a:latin typeface="+mn-lt"/>
                    <a:ea typeface="+mn-ea"/>
                    <a:sym typeface="+mn-lt"/>
                  </a:rPr>
                  <a:t>…</a:t>
                </a:r>
              </a:p>
              <a:p>
                <a:pPr marL="342900" indent="-342900">
                  <a:lnSpc>
                    <a:spcPct val="150000"/>
                  </a:lnSpc>
                  <a:buFont typeface="+mj-lt"/>
                  <a:buAutoNum type="arabicPeriod"/>
                </a:pPr>
                <a:r>
                  <a:rPr lang="en-US" altLang="zh-CN" b="0" dirty="0">
                    <a:latin typeface="+mn-lt"/>
                    <a:ea typeface="+mn-ea"/>
                    <a:sym typeface="+mn-lt"/>
                  </a:rPr>
                  <a:t>…</a:t>
                </a:r>
              </a:p>
            </p:txBody>
          </p:sp>
          <p:cxnSp>
            <p:nvCxnSpPr>
              <p:cNvPr id="8" name="直接连接符 7">
                <a:extLst>
                  <a:ext uri="{FF2B5EF4-FFF2-40B4-BE49-F238E27FC236}">
                    <a16:creationId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a:extLst>
                  <a:ext uri="{FF2B5EF4-FFF2-40B4-BE49-F238E27FC236}">
                    <a16:creationId xmlns:a16="http://schemas.microsoft.com/office/drawing/2014/main" id="{0DB1D0A1-2667-455C-9387-D7ABF0A00B8C}"/>
                  </a:ext>
                </a:extLst>
              </p:cNvPr>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a:t>
                </a:r>
                <a:r>
                  <a:rPr lang="tr-TR" sz="100" b="1" dirty="0">
                    <a:solidFill>
                      <a:schemeClr val="accent1"/>
                    </a:solidFill>
                    <a:cs typeface="+mn-ea"/>
                    <a:sym typeface="+mn-lt"/>
                  </a:rPr>
                  <a:t> </a:t>
                </a:r>
                <a:r>
                  <a:rPr lang="tr-TR" sz="2800" b="1" dirty="0">
                    <a:solidFill>
                      <a:schemeClr val="accent1"/>
                    </a:solidFill>
                    <a:cs typeface="+mn-ea"/>
                    <a:sym typeface="+mn-lt"/>
                  </a:rPr>
                  <a:t>ENTS</a:t>
                </a:r>
              </a:p>
            </p:txBody>
          </p:sp>
        </p:grpSp>
        <p:sp>
          <p:nvSpPr>
            <p:cNvPr id="10" name="poetry_91022">
              <a:extLst>
                <a:ext uri="{FF2B5EF4-FFF2-40B4-BE49-F238E27FC236}">
                  <a16:creationId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ustDataLst>
      <p:tags r:id="rId2"/>
    </p:custDataLst>
    <p:extLst>
      <p:ext uri="{BB962C8B-B14F-4D97-AF65-F5344CB8AC3E}">
        <p14:creationId xmlns:p14="http://schemas.microsoft.com/office/powerpoint/2010/main" val="9119331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036856" y="2657929"/>
            <a:ext cx="4164483" cy="895350"/>
          </a:xfrm>
        </p:spPr>
        <p:txBody>
          <a:bodyPr/>
          <a:lstStyle/>
          <a:p>
            <a:r>
              <a:rPr lang="en-US" altLang="zh-CN" dirty="0"/>
              <a:t>Section </a:t>
            </a:r>
            <a:r>
              <a:rPr lang="en-US" altLang="zh-CN" dirty="0" err="1"/>
              <a:t>Hea</a:t>
            </a:r>
            <a:r>
              <a:rPr lang="en-US" altLang="zh-CN" sz="100" dirty="0"/>
              <a:t> </a:t>
            </a:r>
            <a:r>
              <a:rPr lang="en-US" altLang="zh-CN" dirty="0"/>
              <a:t>der Here</a:t>
            </a:r>
            <a:endParaRPr lang="zh-CN" altLang="en-US" dirty="0"/>
          </a:p>
        </p:txBody>
      </p:sp>
      <p:sp>
        <p:nvSpPr>
          <p:cNvPr id="6" name="文本占位符 5"/>
          <p:cNvSpPr>
            <a:spLocks noGrp="1"/>
          </p:cNvSpPr>
          <p:nvPr>
            <p:ph type="body" idx="1"/>
          </p:nvPr>
        </p:nvSpPr>
        <p:spPr/>
        <p:txBody>
          <a:bodyPr/>
          <a:lstStyle/>
          <a:p>
            <a:pPr lvl="0"/>
            <a:r>
              <a:rPr lang="en-US" altLang="zh-CN" dirty="0"/>
              <a:t>Supporting text here.</a:t>
            </a:r>
          </a:p>
          <a:p>
            <a:pPr lvl="0"/>
            <a:r>
              <a:rPr lang="en-US" altLang="zh-CN" dirty="0"/>
              <a:t>When you copy &amp; paste, c</a:t>
            </a:r>
            <a:r>
              <a:rPr lang="en-US" altLang="zh-CN" sz="100" dirty="0"/>
              <a:t> </a:t>
            </a:r>
            <a:r>
              <a:rPr lang="en-US" altLang="zh-CN" dirty="0" err="1"/>
              <a:t>hoose</a:t>
            </a:r>
            <a:r>
              <a:rPr lang="en-US" altLang="zh-CN" dirty="0"/>
              <a:t>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1639609" y="3209280"/>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Use "Title On</a:t>
            </a:r>
            <a:r>
              <a:rPr lang="en-US" altLang="zh-CN" sz="100"/>
              <a:t> </a:t>
            </a:r>
            <a:r>
              <a:rPr lang="en-US" altLang="zh-CN"/>
              <a:t>ly" Layout</a:t>
            </a:r>
            <a:endParaRPr lang="zh-CN" altLang="en-US"/>
          </a:p>
        </p:txBody>
      </p:sp>
      <p:sp>
        <p:nvSpPr>
          <p:cNvPr id="3" name="页脚占位符 2"/>
          <p:cNvSpPr>
            <a:spLocks noGrp="1"/>
          </p:cNvSpPr>
          <p:nvPr>
            <p:ph type="ftr" sz="quarter" idx="11"/>
          </p:nvPr>
        </p:nvSpPr>
        <p:spPr/>
        <p:txBody>
          <a:bodyPr/>
          <a:lstStyle/>
          <a:p>
            <a:r>
              <a:rPr lang="zh-CN" altLang="en-US"/>
              <a:t>请在插入菜单</a:t>
            </a:r>
            <a:r>
              <a:rPr lang="en-US" altLang="zh-CN"/>
              <a:t>—</a:t>
            </a:r>
            <a:r>
              <a:rPr lang="zh-CN" altLang="en-US"/>
              <a:t>页眉和</a:t>
            </a:r>
            <a:r>
              <a:rPr lang="zh-CN" altLang="en-US" sz="100"/>
              <a:t> </a:t>
            </a:r>
            <a:r>
              <a:rPr lang="zh-CN" altLang="en-US"/>
              <a:t>页脚中修改此文本</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2</a:t>
            </a:fld>
            <a:endParaRPr lang="zh-CN" altLang="en-US"/>
          </a:p>
        </p:txBody>
      </p:sp>
    </p:spTree>
    <p:custDataLst>
      <p:tags r:id="rId1"/>
    </p:custDataLst>
    <p:extLst>
      <p:ext uri="{BB962C8B-B14F-4D97-AF65-F5344CB8AC3E}">
        <p14:creationId xmlns:p14="http://schemas.microsoft.com/office/powerpoint/2010/main" val="9804446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2"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6000" dirty="0"/>
              <a:t>Thanks</a:t>
            </a:r>
            <a:br>
              <a:rPr lang="en-US" altLang="zh-CN" dirty="0"/>
            </a:br>
            <a:r>
              <a:rPr lang="en-US" altLang="zh-CN" dirty="0"/>
              <a:t>And Your </a:t>
            </a:r>
            <a:r>
              <a:rPr lang="en-US" altLang="zh-CN"/>
              <a:t>Slogan He</a:t>
            </a:r>
            <a:r>
              <a:rPr lang="en-US" altLang="zh-CN" sz="100"/>
              <a:t> </a:t>
            </a:r>
            <a:r>
              <a:rPr lang="en-US" altLang="zh-CN"/>
              <a:t>re</a:t>
            </a:r>
            <a:endParaRPr lang="zh-CN" altLang="en-US" dirty="0"/>
          </a:p>
        </p:txBody>
      </p:sp>
      <p:sp>
        <p:nvSpPr>
          <p:cNvPr id="7" name="文本占位符 6"/>
          <p:cNvSpPr>
            <a:spLocks noGrp="1"/>
          </p:cNvSpPr>
          <p:nvPr>
            <p:ph type="body" sz="quarter" idx="18"/>
          </p:nvPr>
        </p:nvSpPr>
        <p:spPr/>
        <p:txBody>
          <a:bodyPr/>
          <a:lstStyle/>
          <a:p>
            <a:r>
              <a:rPr lang="en-US" altLang="zh-CN" spc="300"/>
              <a:t>www.islide.</a:t>
            </a:r>
            <a:r>
              <a:rPr lang="en-US" altLang="zh-CN" sz="100" spc="300"/>
              <a:t> </a:t>
            </a:r>
            <a:r>
              <a:rPr lang="en-US" altLang="zh-CN" spc="300"/>
              <a:t>cc</a:t>
            </a:r>
            <a:endParaRPr lang="en-US" altLang="en-US" spc="300" dirty="0"/>
          </a:p>
        </p:txBody>
      </p:sp>
      <p:sp>
        <p:nvSpPr>
          <p:cNvPr id="6" name="文本占位符 5"/>
          <p:cNvSpPr>
            <a:spLocks noGrp="1"/>
          </p:cNvSpPr>
          <p:nvPr>
            <p:ph type="body" sz="quarter" idx="10"/>
          </p:nvPr>
        </p:nvSpPr>
        <p:spPr/>
        <p:txBody>
          <a:bodyPr/>
          <a:lstStyle/>
          <a:p>
            <a:r>
              <a:rPr lang="en-US" altLang="zh-CN" spc="300" dirty="0"/>
              <a:t>Speaker name </a:t>
            </a:r>
            <a:r>
              <a:rPr lang="en-US" altLang="zh-CN" spc="300"/>
              <a:t>and tit</a:t>
            </a:r>
            <a:r>
              <a:rPr lang="en-US" altLang="zh-CN" sz="100" spc="300"/>
              <a:t> </a:t>
            </a:r>
            <a:r>
              <a:rPr lang="en-US" altLang="zh-CN" spc="300"/>
              <a:t>le</a:t>
            </a:r>
            <a:endParaRPr lang="en-US" altLang="zh-CN" spc="300" dirty="0"/>
          </a:p>
        </p:txBody>
      </p:sp>
    </p:spTree>
    <p:custDataLst>
      <p:tags r:id="rId3"/>
    </p:custDataLst>
    <p:extLst>
      <p:ext uri="{BB962C8B-B14F-4D97-AF65-F5344CB8AC3E}">
        <p14:creationId xmlns:p14="http://schemas.microsoft.com/office/powerpoint/2010/main" val="12590430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1022814" y="2128462"/>
            <a:ext cx="4460537" cy="691252"/>
            <a:chOff x="1101012" y="2911151"/>
            <a:chExt cx="9573211" cy="1483567"/>
          </a:xfrm>
        </p:grpSpPr>
        <p:sp>
          <p:nvSpPr>
            <p:cNvPr id="2" name="椭圆 1"/>
            <p:cNvSpPr/>
            <p:nvPr/>
          </p:nvSpPr>
          <p:spPr>
            <a:xfrm>
              <a:off x="5551715" y="3069771"/>
              <a:ext cx="643813" cy="6438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7" name="椭圆 6"/>
            <p:cNvSpPr/>
            <p:nvPr/>
          </p:nvSpPr>
          <p:spPr>
            <a:xfrm>
              <a:off x="6447454" y="3069771"/>
              <a:ext cx="643813" cy="6438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8" name="椭圆 7"/>
            <p:cNvSpPr/>
            <p:nvPr/>
          </p:nvSpPr>
          <p:spPr>
            <a:xfrm>
              <a:off x="7343193" y="3069771"/>
              <a:ext cx="643813" cy="6438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9" name="椭圆 8"/>
            <p:cNvSpPr/>
            <p:nvPr/>
          </p:nvSpPr>
          <p:spPr>
            <a:xfrm>
              <a:off x="8238932" y="3069771"/>
              <a:ext cx="643813" cy="6438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0" name="椭圆 9"/>
            <p:cNvSpPr/>
            <p:nvPr/>
          </p:nvSpPr>
          <p:spPr>
            <a:xfrm>
              <a:off x="9134671" y="3069771"/>
              <a:ext cx="643813" cy="6438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1" name="椭圆 10"/>
            <p:cNvSpPr/>
            <p:nvPr/>
          </p:nvSpPr>
          <p:spPr>
            <a:xfrm>
              <a:off x="10030410" y="3069771"/>
              <a:ext cx="643813" cy="64381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2" name="椭圆 11"/>
            <p:cNvSpPr/>
            <p:nvPr/>
          </p:nvSpPr>
          <p:spPr>
            <a:xfrm>
              <a:off x="1101012" y="3069771"/>
              <a:ext cx="643813" cy="64381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3" name="椭圆 12"/>
            <p:cNvSpPr/>
            <p:nvPr/>
          </p:nvSpPr>
          <p:spPr>
            <a:xfrm>
              <a:off x="1996751" y="3069771"/>
              <a:ext cx="643813" cy="64381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 name="椭圆 13"/>
            <p:cNvSpPr/>
            <p:nvPr/>
          </p:nvSpPr>
          <p:spPr>
            <a:xfrm>
              <a:off x="2892490" y="3069771"/>
              <a:ext cx="643813" cy="64381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 name="椭圆 14"/>
            <p:cNvSpPr/>
            <p:nvPr/>
          </p:nvSpPr>
          <p:spPr>
            <a:xfrm>
              <a:off x="3788229" y="3069771"/>
              <a:ext cx="643813" cy="6438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cxnSp>
          <p:nvCxnSpPr>
            <p:cNvPr id="4" name="直接连接符 3"/>
            <p:cNvCxnSpPr/>
            <p:nvPr/>
          </p:nvCxnSpPr>
          <p:spPr>
            <a:xfrm>
              <a:off x="4982546" y="2911151"/>
              <a:ext cx="0" cy="148356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8" name="文本框 17"/>
          <p:cNvSpPr txBox="1"/>
          <p:nvPr/>
        </p:nvSpPr>
        <p:spPr>
          <a:xfrm>
            <a:off x="660400" y="1512849"/>
            <a:ext cx="5852173" cy="276999"/>
          </a:xfrm>
          <a:prstGeom prst="rect">
            <a:avLst/>
          </a:prstGeom>
          <a:noFill/>
        </p:spPr>
        <p:txBody>
          <a:bodyPr wrap="square" rtlCol="0">
            <a:spAutoFit/>
          </a:bodyPr>
          <a:lstStyle/>
          <a:p>
            <a:r>
              <a:rPr lang="zh-CN" altLang="en-US" sz="1200" dirty="0"/>
              <a:t>主题色彩 </a:t>
            </a:r>
            <a:r>
              <a:rPr lang="en-US" altLang="zh-CN" sz="1200"/>
              <a:t>THEME COLO</a:t>
            </a:r>
            <a:r>
              <a:rPr lang="en-US" altLang="zh-CN" sz="100"/>
              <a:t> </a:t>
            </a:r>
            <a:r>
              <a:rPr lang="en-US" altLang="zh-CN" sz="1200"/>
              <a:t>RS</a:t>
            </a:r>
            <a:endParaRPr lang="zh-CN" altLang="en-US" sz="1200" dirty="0"/>
          </a:p>
        </p:txBody>
      </p:sp>
      <p:cxnSp>
        <p:nvCxnSpPr>
          <p:cNvPr id="20" name="直接连接符 19"/>
          <p:cNvCxnSpPr/>
          <p:nvPr/>
        </p:nvCxnSpPr>
        <p:spPr>
          <a:xfrm>
            <a:off x="669931" y="1843079"/>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669929" y="2689501"/>
            <a:ext cx="2161443" cy="215444"/>
          </a:xfrm>
          <a:prstGeom prst="rect">
            <a:avLst/>
          </a:prstGeom>
          <a:noFill/>
        </p:spPr>
        <p:txBody>
          <a:bodyPr wrap="square" rtlCol="0">
            <a:spAutoFit/>
          </a:bodyPr>
          <a:lstStyle>
            <a:defPPr>
              <a:defRPr lang="zh-CN"/>
            </a:defPPr>
            <a:lvl1pPr algn="ctr">
              <a:defRPr sz="800"/>
            </a:lvl1pPr>
          </a:lstStyle>
          <a:p>
            <a:r>
              <a:rPr lang="zh-CN" altLang="en-US" dirty="0"/>
              <a:t>文字</a:t>
            </a:r>
            <a:r>
              <a:rPr lang="en-US" altLang="zh-CN" dirty="0"/>
              <a:t>/</a:t>
            </a:r>
            <a:r>
              <a:rPr lang="zh-CN" altLang="en-US" dirty="0"/>
              <a:t>背景 </a:t>
            </a:r>
            <a:r>
              <a:rPr lang="en-US" altLang="zh-CN" dirty="0"/>
              <a:t>Text</a:t>
            </a:r>
            <a:r>
              <a:rPr lang="en-US" altLang="zh-CN"/>
              <a:t>/Backgrou</a:t>
            </a:r>
            <a:r>
              <a:rPr lang="en-US" altLang="zh-CN" sz="100"/>
              <a:t> </a:t>
            </a:r>
            <a:r>
              <a:rPr lang="en-US" altLang="zh-CN"/>
              <a:t>nd</a:t>
            </a:r>
            <a:endParaRPr lang="zh-CN" altLang="en-US" dirty="0"/>
          </a:p>
        </p:txBody>
      </p:sp>
      <p:sp>
        <p:nvSpPr>
          <p:cNvPr id="22" name="文本框 21"/>
          <p:cNvSpPr txBox="1"/>
          <p:nvPr/>
        </p:nvSpPr>
        <p:spPr>
          <a:xfrm>
            <a:off x="2841871" y="2689501"/>
            <a:ext cx="2876627" cy="215444"/>
          </a:xfrm>
          <a:prstGeom prst="rect">
            <a:avLst/>
          </a:prstGeom>
          <a:noFill/>
        </p:spPr>
        <p:txBody>
          <a:bodyPr wrap="square" rtlCol="0">
            <a:spAutoFit/>
          </a:bodyPr>
          <a:lstStyle/>
          <a:p>
            <a:pPr algn="ctr"/>
            <a:r>
              <a:rPr lang="zh-CN" altLang="en-US" sz="800" dirty="0"/>
              <a:t>填充色 </a:t>
            </a:r>
            <a:r>
              <a:rPr lang="en-US" altLang="zh-CN" sz="800"/>
              <a:t>Fill Colo</a:t>
            </a:r>
            <a:r>
              <a:rPr lang="en-US" altLang="zh-CN" sz="100"/>
              <a:t> </a:t>
            </a:r>
            <a:r>
              <a:rPr lang="en-US" altLang="zh-CN" sz="800"/>
              <a:t>rs</a:t>
            </a:r>
            <a:endParaRPr lang="zh-CN" altLang="en-US" sz="800" dirty="0"/>
          </a:p>
        </p:txBody>
      </p:sp>
      <p:sp>
        <p:nvSpPr>
          <p:cNvPr id="25" name="文本框 24"/>
          <p:cNvSpPr txBox="1"/>
          <p:nvPr/>
        </p:nvSpPr>
        <p:spPr>
          <a:xfrm>
            <a:off x="660400" y="3943133"/>
            <a:ext cx="5852173" cy="276999"/>
          </a:xfrm>
          <a:prstGeom prst="rect">
            <a:avLst/>
          </a:prstGeom>
          <a:noFill/>
        </p:spPr>
        <p:txBody>
          <a:bodyPr wrap="square" rtlCol="0">
            <a:spAutoFit/>
          </a:bodyPr>
          <a:lstStyle/>
          <a:p>
            <a:r>
              <a:rPr lang="zh-CN" altLang="en-US" sz="1200" dirty="0"/>
              <a:t>主题字体 </a:t>
            </a:r>
            <a:r>
              <a:rPr lang="en-US" altLang="zh-CN" sz="1200"/>
              <a:t>THEME FON</a:t>
            </a:r>
            <a:r>
              <a:rPr lang="en-US" altLang="zh-CN" sz="100"/>
              <a:t> </a:t>
            </a:r>
            <a:r>
              <a:rPr lang="en-US" altLang="zh-CN" sz="1200"/>
              <a:t>TS</a:t>
            </a:r>
            <a:endParaRPr lang="zh-CN" altLang="en-US" sz="1200" dirty="0"/>
          </a:p>
        </p:txBody>
      </p:sp>
      <p:cxnSp>
        <p:nvCxnSpPr>
          <p:cNvPr id="26" name="直接连接符 25"/>
          <p:cNvCxnSpPr/>
          <p:nvPr/>
        </p:nvCxnSpPr>
        <p:spPr>
          <a:xfrm>
            <a:off x="669931" y="4273363"/>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660400" y="4407104"/>
            <a:ext cx="5048569" cy="461665"/>
          </a:xfrm>
          <a:prstGeom prst="rect">
            <a:avLst/>
          </a:prstGeom>
          <a:noFill/>
        </p:spPr>
        <p:txBody>
          <a:bodyPr wrap="square" rtlCol="0">
            <a:spAutoFit/>
          </a:bodyPr>
          <a:lstStyle/>
          <a:p>
            <a:r>
              <a:rPr lang="zh-CN" altLang="en-US" sz="800" dirty="0"/>
              <a:t>中文字体：微软雅黑  </a:t>
            </a:r>
            <a:r>
              <a:rPr lang="en-US" altLang="zh-CN" sz="800" dirty="0"/>
              <a:t>East Asian Font: Microsoft </a:t>
            </a:r>
            <a:r>
              <a:rPr lang="en-US" altLang="zh-CN" sz="800" dirty="0" err="1"/>
              <a:t>YaHei</a:t>
            </a:r>
            <a:endParaRPr lang="en-US" altLang="zh-CN" sz="800" dirty="0"/>
          </a:p>
          <a:p>
            <a:endParaRPr lang="en-US" altLang="zh-CN" sz="800" dirty="0"/>
          </a:p>
          <a:p>
            <a:r>
              <a:rPr lang="zh-CN" altLang="en-US" sz="800" dirty="0"/>
              <a:t>英文字体：</a:t>
            </a:r>
            <a:r>
              <a:rPr lang="en-US" altLang="zh-CN" sz="800" dirty="0"/>
              <a:t>Arial  Latin Font</a:t>
            </a:r>
            <a:r>
              <a:rPr lang="en-US" altLang="zh-CN" sz="800"/>
              <a:t>: A</a:t>
            </a:r>
            <a:r>
              <a:rPr lang="en-US" altLang="zh-CN" sz="100"/>
              <a:t> </a:t>
            </a:r>
            <a:r>
              <a:rPr lang="en-US" altLang="zh-CN" sz="800"/>
              <a:t>rial</a:t>
            </a:r>
            <a:endParaRPr lang="zh-CN" altLang="en-US" sz="800" dirty="0"/>
          </a:p>
        </p:txBody>
      </p:sp>
      <p:sp>
        <p:nvSpPr>
          <p:cNvPr id="32" name="文本框 31"/>
          <p:cNvSpPr txBox="1"/>
          <p:nvPr/>
        </p:nvSpPr>
        <p:spPr>
          <a:xfrm>
            <a:off x="6959600" y="1512850"/>
            <a:ext cx="4559300" cy="276999"/>
          </a:xfrm>
          <a:prstGeom prst="rect">
            <a:avLst/>
          </a:prstGeom>
          <a:noFill/>
        </p:spPr>
        <p:txBody>
          <a:bodyPr wrap="square" rtlCol="0">
            <a:spAutoFit/>
          </a:bodyPr>
          <a:lstStyle/>
          <a:p>
            <a:r>
              <a:rPr lang="zh-CN" altLang="en-US" sz="1200" dirty="0"/>
              <a:t>预设参考线（</a:t>
            </a:r>
            <a:r>
              <a:rPr lang="en-US" altLang="zh-CN" sz="1200" dirty="0"/>
              <a:t>2016</a:t>
            </a:r>
            <a:r>
              <a:rPr lang="zh-CN" altLang="en-US" sz="1200" dirty="0"/>
              <a:t>版本及以上）</a:t>
            </a:r>
            <a:r>
              <a:rPr lang="en-US" altLang="zh-CN" sz="1200" dirty="0"/>
              <a:t> GUIDES (Office 2016 </a:t>
            </a:r>
            <a:r>
              <a:rPr lang="en-US" altLang="zh-CN" sz="1200"/>
              <a:t>and lat</a:t>
            </a:r>
            <a:r>
              <a:rPr lang="en-US" altLang="zh-CN" sz="100"/>
              <a:t> </a:t>
            </a:r>
            <a:r>
              <a:rPr lang="en-US" altLang="zh-CN" sz="1200"/>
              <a:t>er</a:t>
            </a:r>
            <a:r>
              <a:rPr lang="en-US" altLang="zh-CN" sz="1200" dirty="0"/>
              <a:t>)</a:t>
            </a:r>
            <a:endParaRPr lang="zh-CN" altLang="en-US" sz="1200" dirty="0"/>
          </a:p>
        </p:txBody>
      </p:sp>
      <p:cxnSp>
        <p:nvCxnSpPr>
          <p:cNvPr id="33" name="直接连接符 32"/>
          <p:cNvCxnSpPr/>
          <p:nvPr/>
        </p:nvCxnSpPr>
        <p:spPr>
          <a:xfrm>
            <a:off x="6959600" y="1843079"/>
            <a:ext cx="4559300"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17" name="组合 16">
            <a:extLst>
              <a:ext uri="{FF2B5EF4-FFF2-40B4-BE49-F238E27FC236}">
                <a16:creationId xmlns:a16="http://schemas.microsoft.com/office/drawing/2014/main" id="{28681F2F-E8A9-44CF-AC1F-76EC4E7757F0}"/>
              </a:ext>
            </a:extLst>
          </p:cNvPr>
          <p:cNvGrpSpPr/>
          <p:nvPr/>
        </p:nvGrpSpPr>
        <p:grpSpPr>
          <a:xfrm>
            <a:off x="6959600" y="2103062"/>
            <a:ext cx="4559300" cy="2807437"/>
            <a:chOff x="7069136" y="2204131"/>
            <a:chExt cx="4449763" cy="2731768"/>
          </a:xfrm>
        </p:grpSpPr>
        <p:sp>
          <p:nvSpPr>
            <p:cNvPr id="35" name="矩形 34"/>
            <p:cNvSpPr/>
            <p:nvPr/>
          </p:nvSpPr>
          <p:spPr>
            <a:xfrm>
              <a:off x="7069136" y="2240063"/>
              <a:ext cx="4449763" cy="250299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37" name="直接连接符 36"/>
            <p:cNvCxnSpPr/>
            <p:nvPr/>
          </p:nvCxnSpPr>
          <p:spPr>
            <a:xfrm>
              <a:off x="7332272"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1279121"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7069136" y="2667250"/>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7069136" y="2746566"/>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7069136" y="4443013"/>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069136" y="4517658"/>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7332271" y="2741895"/>
              <a:ext cx="3946849" cy="170111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47" name="矩形 46"/>
          <p:cNvSpPr/>
          <p:nvPr/>
        </p:nvSpPr>
        <p:spPr>
          <a:xfrm>
            <a:off x="6959600" y="4822368"/>
            <a:ext cx="4559300" cy="461665"/>
          </a:xfrm>
          <a:prstGeom prst="rect">
            <a:avLst/>
          </a:prstGeom>
          <a:noFill/>
        </p:spPr>
        <p:txBody>
          <a:bodyPr wrap="square" rtlCol="0">
            <a:spAutoFit/>
          </a:bodyPr>
          <a:lstStyle/>
          <a:p>
            <a:r>
              <a:rPr lang="en-US" altLang="zh-CN" sz="800" dirty="0"/>
              <a:t>ALT+F9 </a:t>
            </a:r>
            <a:r>
              <a:rPr lang="zh-CN" altLang="en-US" sz="800" dirty="0"/>
              <a:t>开启和查看本主题预设的参考线</a:t>
            </a:r>
            <a:endParaRPr lang="en-US" altLang="zh-CN" sz="800" dirty="0"/>
          </a:p>
          <a:p>
            <a:r>
              <a:rPr lang="en-US" altLang="zh-CN" sz="800" dirty="0"/>
              <a:t>Press Alt + F9 to</a:t>
            </a:r>
            <a:r>
              <a:rPr lang="zh-CN" altLang="en-US" sz="800" dirty="0"/>
              <a:t> </a:t>
            </a:r>
            <a:r>
              <a:rPr lang="en-US" altLang="zh-CN" sz="800" dirty="0"/>
              <a:t>show/</a:t>
            </a:r>
            <a:r>
              <a:rPr lang="en-US" altLang="zh-CN" sz="800"/>
              <a:t>hide guid</a:t>
            </a:r>
            <a:r>
              <a:rPr lang="en-US" altLang="zh-CN" sz="100"/>
              <a:t> </a:t>
            </a:r>
            <a:r>
              <a:rPr lang="en-US" altLang="zh-CN" sz="800"/>
              <a:t>es</a:t>
            </a:r>
            <a:endParaRPr lang="en-US" altLang="zh-CN" sz="800" dirty="0"/>
          </a:p>
          <a:p>
            <a:endParaRPr lang="zh-CN" altLang="en-US" sz="800" dirty="0"/>
          </a:p>
        </p:txBody>
      </p:sp>
      <p:sp>
        <p:nvSpPr>
          <p:cNvPr id="39" name="文本框 38"/>
          <p:cNvSpPr txBox="1"/>
          <p:nvPr/>
        </p:nvSpPr>
        <p:spPr>
          <a:xfrm>
            <a:off x="660400" y="3104927"/>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色彩库</a:t>
            </a:r>
            <a:r>
              <a:rPr lang="en-US" altLang="zh-CN" sz="800" dirty="0">
                <a:solidFill>
                  <a:srgbClr val="2F2F2F"/>
                </a:solidFill>
              </a:rPr>
              <a:t>】</a:t>
            </a:r>
            <a:r>
              <a:rPr lang="zh-CN" altLang="en-US" sz="800" dirty="0">
                <a:solidFill>
                  <a:srgbClr val="2F2F2F"/>
                </a:solidFill>
              </a:rPr>
              <a:t>功能，快速应用更多色彩</a:t>
            </a:r>
            <a:endParaRPr lang="en-US" altLang="zh-CN" sz="800" dirty="0">
              <a:solidFill>
                <a:srgbClr val="2F2F2F"/>
              </a:solidFill>
            </a:endParaRPr>
          </a:p>
          <a:p>
            <a:r>
              <a:rPr lang="en-US" altLang="zh-CN" sz="800" dirty="0">
                <a:solidFill>
                  <a:srgbClr val="2F2F2F"/>
                </a:solidFill>
              </a:rPr>
              <a:t>More color schemes are optional in iSlide Color Library. Just click </a:t>
            </a:r>
            <a:r>
              <a:rPr lang="en-US" altLang="zh-CN" sz="800">
                <a:solidFill>
                  <a:srgbClr val="2F2F2F"/>
                </a:solidFill>
              </a:rPr>
              <a:t>to </a:t>
            </a:r>
            <a:r>
              <a:rPr lang="en-US" altLang="zh-CN" sz="100">
                <a:solidFill>
                  <a:srgbClr val="2F2F2F"/>
                </a:solidFill>
              </a:rPr>
              <a:t> </a:t>
            </a:r>
            <a:r>
              <a:rPr lang="en-US" altLang="zh-CN" sz="800">
                <a:solidFill>
                  <a:srgbClr val="2F2F2F"/>
                </a:solidFill>
              </a:rPr>
              <a:t>apply</a:t>
            </a:r>
            <a:endParaRPr lang="zh-CN" altLang="en-US" sz="800" dirty="0">
              <a:solidFill>
                <a:srgbClr val="2F2F2F"/>
              </a:solidFill>
            </a:endParaRPr>
          </a:p>
        </p:txBody>
      </p:sp>
      <p:sp>
        <p:nvSpPr>
          <p:cNvPr id="44" name="文本框 43"/>
          <p:cNvSpPr txBox="1"/>
          <p:nvPr/>
        </p:nvSpPr>
        <p:spPr>
          <a:xfrm>
            <a:off x="660400" y="5304245"/>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800" dirty="0">
                <a:solidFill>
                  <a:srgbClr val="2F2F2F"/>
                </a:solidFill>
              </a:rPr>
              <a:t>可以在</a:t>
            </a:r>
            <a:r>
              <a:rPr lang="en-US" altLang="zh-CN" sz="800" dirty="0">
                <a:solidFill>
                  <a:srgbClr val="2F2F2F"/>
                </a:solidFill>
              </a:rPr>
              <a:t>【</a:t>
            </a:r>
            <a:r>
              <a:rPr lang="zh-CN" altLang="en-US" sz="800" dirty="0">
                <a:solidFill>
                  <a:srgbClr val="2F2F2F"/>
                </a:solidFill>
              </a:rPr>
              <a:t>设计</a:t>
            </a:r>
            <a:r>
              <a:rPr lang="en-US" altLang="zh-CN" sz="800" dirty="0">
                <a:solidFill>
                  <a:srgbClr val="2F2F2F"/>
                </a:solidFill>
              </a:rPr>
              <a:t>】</a:t>
            </a:r>
            <a:r>
              <a:rPr lang="zh-CN" altLang="en-US" sz="800" dirty="0">
                <a:solidFill>
                  <a:srgbClr val="2F2F2F"/>
                </a:solidFill>
              </a:rPr>
              <a:t>菜单</a:t>
            </a:r>
            <a:r>
              <a:rPr lang="en-US" altLang="zh-CN" sz="800" dirty="0">
                <a:solidFill>
                  <a:srgbClr val="2F2F2F"/>
                </a:solidFill>
              </a:rPr>
              <a:t>【</a:t>
            </a:r>
            <a:r>
              <a:rPr lang="zh-CN" altLang="en-US" sz="800" dirty="0">
                <a:solidFill>
                  <a:srgbClr val="2F2F2F"/>
                </a:solidFill>
              </a:rPr>
              <a:t>字体</a:t>
            </a:r>
            <a:r>
              <a:rPr lang="en-US" altLang="zh-CN" sz="800" dirty="0">
                <a:solidFill>
                  <a:srgbClr val="2F2F2F"/>
                </a:solidFill>
              </a:rPr>
              <a:t>】</a:t>
            </a:r>
            <a:r>
              <a:rPr lang="zh-CN" altLang="en-US" sz="800" dirty="0">
                <a:solidFill>
                  <a:srgbClr val="2F2F2F"/>
                </a:solidFill>
              </a:rPr>
              <a:t>中改变，或应用</a:t>
            </a:r>
            <a:r>
              <a:rPr lang="en-US" altLang="zh-CN" sz="800" dirty="0">
                <a:solidFill>
                  <a:srgbClr val="2F2F2F"/>
                </a:solidFill>
              </a:rPr>
              <a:t>iSlide【</a:t>
            </a:r>
            <a:r>
              <a:rPr lang="zh-CN" altLang="en-US" sz="800" dirty="0">
                <a:solidFill>
                  <a:srgbClr val="2F2F2F"/>
                </a:solidFill>
              </a:rPr>
              <a:t>统一字体</a:t>
            </a:r>
            <a:r>
              <a:rPr lang="en-US" altLang="zh-CN" sz="800" dirty="0">
                <a:solidFill>
                  <a:srgbClr val="2F2F2F"/>
                </a:solidFill>
              </a:rPr>
              <a:t>】</a:t>
            </a:r>
            <a:r>
              <a:rPr lang="zh-CN" altLang="en-US" sz="800" dirty="0">
                <a:solidFill>
                  <a:srgbClr val="2F2F2F"/>
                </a:solidFill>
              </a:rPr>
              <a:t>功能改变设置</a:t>
            </a:r>
            <a:endParaRPr lang="en-US" altLang="zh-CN" sz="800" dirty="0">
              <a:solidFill>
                <a:srgbClr val="2F2F2F"/>
              </a:solidFill>
            </a:endParaRPr>
          </a:p>
          <a:p>
            <a:r>
              <a:rPr lang="en-US" altLang="zh-CN" sz="800" dirty="0">
                <a:solidFill>
                  <a:srgbClr val="2F2F2F"/>
                </a:solidFill>
              </a:rPr>
              <a:t>To change theme fonts, you can click Design &gt; Variants &gt; Fonts, or use “Uniform Fonts” feature </a:t>
            </a:r>
            <a:r>
              <a:rPr lang="en-US" altLang="zh-CN" sz="800">
                <a:solidFill>
                  <a:srgbClr val="2F2F2F"/>
                </a:solidFill>
              </a:rPr>
              <a:t>of </a:t>
            </a:r>
            <a:r>
              <a:rPr lang="en-US" altLang="zh-CN" sz="100">
                <a:solidFill>
                  <a:srgbClr val="2F2F2F"/>
                </a:solidFill>
              </a:rPr>
              <a:t> </a:t>
            </a:r>
            <a:r>
              <a:rPr lang="en-US" altLang="zh-CN" sz="800">
                <a:solidFill>
                  <a:srgbClr val="2F2F2F"/>
                </a:solidFill>
              </a:rPr>
              <a:t>iSlide</a:t>
            </a:r>
            <a:endParaRPr lang="zh-CN" altLang="en-US" sz="800" dirty="0">
              <a:solidFill>
                <a:srgbClr val="2F2F2F"/>
              </a:solidFill>
            </a:endParaRPr>
          </a:p>
        </p:txBody>
      </p:sp>
      <p:sp>
        <p:nvSpPr>
          <p:cNvPr id="6" name="Rectangle 5">
            <a:extLst>
              <a:ext uri="{FF2B5EF4-FFF2-40B4-BE49-F238E27FC236}">
                <a16:creationId xmlns:a16="http://schemas.microsoft.com/office/drawing/2014/main" id="{821214C4-3D8B-473D-9D9C-F2F23FBFB600}"/>
              </a:ext>
            </a:extLst>
          </p:cNvPr>
          <p:cNvSpPr/>
          <p:nvPr/>
        </p:nvSpPr>
        <p:spPr>
          <a:xfrm>
            <a:off x="6959599" y="5304244"/>
            <a:ext cx="4559300" cy="400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zh-CN" altLang="en-US" sz="800" dirty="0">
                <a:solidFill>
                  <a:srgbClr val="2F2F2F"/>
                </a:solidFill>
              </a:rPr>
              <a:t>可以通过</a:t>
            </a:r>
            <a:r>
              <a:rPr lang="en-US" altLang="zh-CN" sz="800" dirty="0">
                <a:solidFill>
                  <a:srgbClr val="2F2F2F"/>
                </a:solidFill>
              </a:rPr>
              <a:t>iSlide 【</a:t>
            </a:r>
            <a:r>
              <a:rPr lang="zh-CN" altLang="en-US" sz="800" dirty="0">
                <a:solidFill>
                  <a:srgbClr val="2F2F2F"/>
                </a:solidFill>
              </a:rPr>
              <a:t>一键优化</a:t>
            </a:r>
            <a:r>
              <a:rPr lang="en-US" altLang="zh-CN" sz="800" dirty="0">
                <a:solidFill>
                  <a:srgbClr val="2F2F2F"/>
                </a:solidFill>
              </a:rPr>
              <a:t>】</a:t>
            </a:r>
            <a:r>
              <a:rPr lang="zh-CN" altLang="en-US" sz="800" dirty="0">
                <a:solidFill>
                  <a:srgbClr val="2F2F2F"/>
                </a:solidFill>
              </a:rPr>
              <a:t>（智能参考线）功能，应用更多预设参考线</a:t>
            </a:r>
            <a:endParaRPr lang="en-US" altLang="zh-CN" sz="800" dirty="0">
              <a:solidFill>
                <a:srgbClr val="2F2F2F"/>
              </a:solidFill>
            </a:endParaRPr>
          </a:p>
          <a:p>
            <a:r>
              <a:rPr lang="en-US" altLang="zh-CN" sz="800" dirty="0">
                <a:solidFill>
                  <a:srgbClr val="2F2F2F"/>
                </a:solidFill>
              </a:rPr>
              <a:t>Use iSlide “Uniform Guides” feature to edit and apply more </a:t>
            </a:r>
            <a:r>
              <a:rPr lang="en-US" altLang="zh-CN" sz="800">
                <a:solidFill>
                  <a:srgbClr val="2F2F2F"/>
                </a:solidFill>
              </a:rPr>
              <a:t>preset g</a:t>
            </a:r>
            <a:r>
              <a:rPr lang="en-US" altLang="zh-CN" sz="100">
                <a:solidFill>
                  <a:srgbClr val="2F2F2F"/>
                </a:solidFill>
              </a:rPr>
              <a:t> </a:t>
            </a:r>
            <a:r>
              <a:rPr lang="en-US" altLang="zh-CN" sz="800">
                <a:solidFill>
                  <a:srgbClr val="2F2F2F"/>
                </a:solidFill>
              </a:rPr>
              <a:t>uides</a:t>
            </a:r>
            <a:endParaRPr lang="en-US" altLang="zh-CN" sz="800" dirty="0">
              <a:solidFill>
                <a:srgbClr val="2F2F2F"/>
              </a:solidFill>
            </a:endParaRPr>
          </a:p>
        </p:txBody>
      </p:sp>
      <p:sp>
        <p:nvSpPr>
          <p:cNvPr id="48" name="标题 1">
            <a:extLst>
              <a:ext uri="{FF2B5EF4-FFF2-40B4-BE49-F238E27FC236}">
                <a16:creationId xmlns:a16="http://schemas.microsoft.com/office/drawing/2014/main" id="{A063C456-63D9-49D6-A680-AB5AA5CB4C15}"/>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设计标准 </a:t>
            </a:r>
            <a:r>
              <a:rPr lang="en-US" altLang="zh-CN" sz="2800" b="1"/>
              <a:t>Design Criter</a:t>
            </a:r>
            <a:r>
              <a:rPr lang="en-US" altLang="zh-CN" sz="100" b="1"/>
              <a:t> </a:t>
            </a:r>
            <a:r>
              <a:rPr lang="en-US" altLang="zh-CN" sz="2800" b="1"/>
              <a:t>ia</a:t>
            </a:r>
            <a:endParaRPr lang="zh-CN" altLang="en-US" sz="2800" b="1" dirty="0"/>
          </a:p>
        </p:txBody>
      </p:sp>
      <p:sp>
        <p:nvSpPr>
          <p:cNvPr id="51" name="矩形 50">
            <a:extLst>
              <a:ext uri="{FF2B5EF4-FFF2-40B4-BE49-F238E27FC236}">
                <a16:creationId xmlns:a16="http://schemas.microsoft.com/office/drawing/2014/main" id="{DB6B50C1-7119-4649-A59E-12A0D311364C}"/>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a:t>
            </a:r>
            <a:r>
              <a:rPr lang="en-US" altLang="zh-CN" sz="800">
                <a:solidFill>
                  <a:schemeClr val="bg1"/>
                </a:solidFill>
              </a:rPr>
              <a:t>slide i</a:t>
            </a:r>
            <a:r>
              <a:rPr lang="en-US" altLang="zh-CN" sz="100">
                <a:solidFill>
                  <a:schemeClr val="bg1"/>
                </a:solidFill>
              </a:rPr>
              <a:t> </a:t>
            </a:r>
            <a:r>
              <a:rPr lang="en-US" altLang="zh-CN" sz="800">
                <a:solidFill>
                  <a:schemeClr val="bg1"/>
                </a:solidFill>
              </a:rPr>
              <a:t>s </a:t>
            </a:r>
            <a:r>
              <a:rPr lang="en-US" altLang="zh-CN" sz="800" dirty="0">
                <a:solidFill>
                  <a:schemeClr val="bg1"/>
                </a:solidFill>
              </a:rPr>
              <a:t>an instruction. Please delete this slide before using it for presentation.</a:t>
            </a:r>
          </a:p>
        </p:txBody>
      </p:sp>
    </p:spTree>
    <p:custDataLst>
      <p:tags r:id="rId1"/>
    </p:custDataLst>
    <p:extLst>
      <p:ext uri="{BB962C8B-B14F-4D97-AF65-F5344CB8AC3E}">
        <p14:creationId xmlns:p14="http://schemas.microsoft.com/office/powerpoint/2010/main" val="5457789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副标题 9">
            <a:extLst>
              <a:ext uri="{FF2B5EF4-FFF2-40B4-BE49-F238E27FC236}">
                <a16:creationId xmlns:a16="http://schemas.microsoft.com/office/drawing/2014/main" id="{3B488FCE-2B18-46FF-9521-112BCCFC4FDA}"/>
              </a:ext>
            </a:extLst>
          </p:cNvPr>
          <p:cNvSpPr txBox="1">
            <a:spLocks/>
          </p:cNvSpPr>
          <p:nvPr/>
        </p:nvSpPr>
        <p:spPr>
          <a:xfrm>
            <a:off x="660400" y="5074963"/>
            <a:ext cx="10858500" cy="706715"/>
          </a:xfrm>
          <a:prstGeom prst="rect">
            <a:avLst/>
          </a:prstGeom>
        </p:spPr>
        <p:txBody>
          <a:bodyPr vert="horz" lIns="91440" tIns="45720" rIns="91440" bIns="45720" rtlCol="0" anchor="t">
            <a:noAutofit/>
          </a:bodyPr>
          <a:lstStyle>
            <a:lvl1pPr marL="0" indent="0" algn="ctr" defTabSz="914354" rtl="0" eaLnBrk="1" latinLnBrk="0" hangingPunct="1">
              <a:lnSpc>
                <a:spcPct val="100000"/>
              </a:lnSpc>
              <a:spcBef>
                <a:spcPts val="0"/>
              </a:spcBef>
              <a:buFont typeface="Arial" panose="020B0604020202020204" pitchFamily="34" charset="0"/>
              <a:buNone/>
              <a:defRPr sz="800" kern="1200">
                <a:solidFill>
                  <a:schemeClr val="bg1"/>
                </a:solidFill>
                <a:latin typeface="+mn-lt"/>
                <a:ea typeface="+mn-ea"/>
                <a:cs typeface="+mn-cs"/>
              </a:defRPr>
            </a:lvl1pPr>
            <a:lvl2pPr marL="457178" indent="0" algn="ctr" defTabSz="914354"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54" indent="0" algn="ctr" defTabSz="914354"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3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09"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886"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06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240"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418"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332">
              <a:defRPr/>
            </a:pPr>
            <a:r>
              <a:rPr lang="zh-CN" altLang="en-US" sz="1200" dirty="0">
                <a:solidFill>
                  <a:srgbClr val="2F2F2F"/>
                </a:solidFill>
                <a:latin typeface="Arial"/>
                <a:ea typeface="微软雅黑"/>
              </a:rPr>
              <a:t>免费下载 </a:t>
            </a:r>
            <a:r>
              <a:rPr lang="en-US" altLang="zh-CN" sz="1200">
                <a:solidFill>
                  <a:srgbClr val="2F2F2F"/>
                </a:solidFill>
                <a:latin typeface="Arial"/>
                <a:ea typeface="微软雅黑"/>
              </a:rPr>
              <a:t>/ Downl</a:t>
            </a:r>
            <a:r>
              <a:rPr lang="en-US" altLang="zh-CN" sz="100">
                <a:solidFill>
                  <a:srgbClr val="2F2F2F"/>
                </a:solidFill>
                <a:latin typeface="Arial"/>
                <a:ea typeface="微软雅黑"/>
              </a:rPr>
              <a:t> </a:t>
            </a:r>
            <a:r>
              <a:rPr lang="en-US" altLang="zh-CN" sz="1200">
                <a:solidFill>
                  <a:srgbClr val="2F2F2F"/>
                </a:solidFill>
                <a:latin typeface="Arial"/>
                <a:ea typeface="微软雅黑"/>
              </a:rPr>
              <a:t>oad </a:t>
            </a:r>
            <a:r>
              <a:rPr lang="en-US" altLang="zh-CN" sz="1200" dirty="0">
                <a:solidFill>
                  <a:srgbClr val="2F2F2F"/>
                </a:solidFill>
                <a:latin typeface="Arial"/>
                <a:ea typeface="微软雅黑"/>
              </a:rPr>
              <a:t>for FREE</a:t>
            </a:r>
          </a:p>
          <a:p>
            <a:pPr algn="l" defTabSz="914332">
              <a:defRPr/>
            </a:pPr>
            <a:r>
              <a:rPr lang="en-US" altLang="zh-CN" sz="1200" dirty="0">
                <a:solidFill>
                  <a:srgbClr val="FF4715"/>
                </a:solidFill>
                <a:latin typeface="Arial"/>
                <a:ea typeface="微软雅黑"/>
                <a:hlinkClick r:id="rId3">
                  <a:extLst>
                    <a:ext uri="{A12FA001-AC4F-418D-AE19-62706E023703}">
                      <ahyp:hlinkClr xmlns:ahyp="http://schemas.microsoft.com/office/drawing/2018/hyperlinkcolor" val="tx"/>
                    </a:ext>
                  </a:extLst>
                </a:hlinkClick>
              </a:rPr>
              <a:t>www.islide.cc</a:t>
            </a:r>
            <a:endParaRPr lang="en-US" altLang="zh-CN" sz="1200" dirty="0">
              <a:solidFill>
                <a:srgbClr val="FF4715"/>
              </a:solidFill>
              <a:latin typeface="Arial"/>
              <a:ea typeface="微软雅黑"/>
            </a:endParaRPr>
          </a:p>
        </p:txBody>
      </p:sp>
      <p:grpSp>
        <p:nvGrpSpPr>
          <p:cNvPr id="4" name="组合 3">
            <a:extLst>
              <a:ext uri="{FF2B5EF4-FFF2-40B4-BE49-F238E27FC236}">
                <a16:creationId xmlns:a16="http://schemas.microsoft.com/office/drawing/2014/main" id="{B41C6D5D-76C7-4DE2-BC28-E41485001361}"/>
              </a:ext>
            </a:extLst>
          </p:cNvPr>
          <p:cNvGrpSpPr/>
          <p:nvPr/>
        </p:nvGrpSpPr>
        <p:grpSpPr>
          <a:xfrm>
            <a:off x="660400" y="2553342"/>
            <a:ext cx="10858500" cy="1751324"/>
            <a:chOff x="1853236" y="2525799"/>
            <a:chExt cx="10858500" cy="1751323"/>
          </a:xfrm>
        </p:grpSpPr>
        <p:sp>
          <p:nvSpPr>
            <p:cNvPr id="11" name="文本框 10">
              <a:extLst>
                <a:ext uri="{FF2B5EF4-FFF2-40B4-BE49-F238E27FC236}">
                  <a16:creationId xmlns:a16="http://schemas.microsoft.com/office/drawing/2014/main" id="{5D51D968-E05A-4D3F-ABFA-D4B82B79FDF3}"/>
                </a:ext>
              </a:extLst>
            </p:cNvPr>
            <p:cNvSpPr txBox="1"/>
            <p:nvPr/>
          </p:nvSpPr>
          <p:spPr>
            <a:xfrm>
              <a:off x="1853236" y="3760699"/>
              <a:ext cx="10858500" cy="516423"/>
            </a:xfrm>
            <a:prstGeom prst="rect">
              <a:avLst/>
            </a:prstGeom>
            <a:noFill/>
          </p:spPr>
          <p:txBody>
            <a:bodyPr wrap="square">
              <a:spAutoFit/>
            </a:bodyPr>
            <a:lstStyle/>
            <a:p>
              <a:pPr defTabSz="914332">
                <a:lnSpc>
                  <a:spcPct val="120000"/>
                </a:lnSpc>
                <a:spcBef>
                  <a:spcPct val="0"/>
                </a:spcBef>
                <a:defRPr/>
              </a:pP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Slide add-in </a:t>
              </a:r>
              <a:r>
                <a:rPr lang="en-US" altLang="zh-CN" sz="1200">
                  <a:solidFill>
                    <a:srgbClr val="2F2F2F"/>
                  </a:solidFill>
                  <a:latin typeface="微软雅黑" panose="020B0503020204020204" pitchFamily="34" charset="-122"/>
                  <a:ea typeface="微软雅黑" panose="020B0503020204020204" pitchFamily="34" charset="-122"/>
                  <a:cs typeface="Arial" panose="020B0604020202020204" pitchFamily="34" charset="0"/>
                </a:rPr>
                <a:t>saves </a:t>
              </a:r>
              <a:r>
                <a:rPr lang="en-US" altLang="zh-CN" sz="100">
                  <a:solidFill>
                    <a:srgbClr val="2F2F2F"/>
                  </a:solidFill>
                  <a:latin typeface="微软雅黑" panose="020B0503020204020204" pitchFamily="34" charset="-122"/>
                  <a:ea typeface="微软雅黑" panose="020B0503020204020204" pitchFamily="34" charset="-122"/>
                  <a:cs typeface="Arial" panose="020B0604020202020204" pitchFamily="34" charset="0"/>
                </a:rPr>
                <a:t> </a:t>
              </a:r>
              <a:r>
                <a:rPr lang="en-US" altLang="zh-CN" sz="1200">
                  <a:solidFill>
                    <a:srgbClr val="2F2F2F"/>
                  </a:solidFill>
                  <a:latin typeface="微软雅黑" panose="020B0503020204020204" pitchFamily="34" charset="-122"/>
                  <a:ea typeface="微软雅黑" panose="020B0503020204020204" pitchFamily="34" charset="-122"/>
                  <a:cs typeface="Arial" panose="020B0604020202020204" pitchFamily="34" charset="0"/>
                </a:rPr>
                <a:t>you </a:t>
              </a: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90% of the time </a:t>
              </a:r>
            </a:p>
            <a:p>
              <a:pPr defTabSz="914332">
                <a:lnSpc>
                  <a:spcPct val="120000"/>
                </a:lnSpc>
                <a:spcBef>
                  <a:spcPct val="0"/>
                </a:spcBef>
                <a:defRPr/>
              </a:pPr>
              <a:r>
                <a:rPr lang="en-US" altLang="zh-CN" sz="1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n making presentation</a:t>
              </a:r>
              <a:endParaRPr lang="en-US" altLang="en-US" dirty="0">
                <a:solidFill>
                  <a:srgbClr val="2F2F2F"/>
                </a:solidFill>
                <a:ea typeface="微软雅黑" panose="020B0503020204020204" pitchFamily="34" charset="-122"/>
                <a:cs typeface="Arial" panose="020B0604020202020204" pitchFamily="34" charset="0"/>
              </a:endParaRPr>
            </a:p>
          </p:txBody>
        </p:sp>
        <p:sp>
          <p:nvSpPr>
            <p:cNvPr id="2" name="矩形 1">
              <a:extLst>
                <a:ext uri="{FF2B5EF4-FFF2-40B4-BE49-F238E27FC236}">
                  <a16:creationId xmlns:a16="http://schemas.microsoft.com/office/drawing/2014/main" id="{0F09207A-DED4-4EE0-BCCC-3275073B5540}"/>
                </a:ext>
              </a:extLst>
            </p:cNvPr>
            <p:cNvSpPr/>
            <p:nvPr/>
          </p:nvSpPr>
          <p:spPr>
            <a:xfrm>
              <a:off x="1853236" y="2525799"/>
              <a:ext cx="10858500" cy="1001683"/>
            </a:xfrm>
            <a:prstGeom prst="rect">
              <a:avLst/>
            </a:prstGeom>
          </p:spPr>
          <p:txBody>
            <a:bodyPr wrap="square">
              <a:spAutoFit/>
            </a:bodyPr>
            <a:lstStyle/>
            <a:p>
              <a:pPr defTabSz="914332">
                <a:lnSpc>
                  <a:spcPct val="120000"/>
                </a:lnSpc>
                <a:spcBef>
                  <a:spcPct val="0"/>
                </a:spcBef>
                <a:defRPr/>
              </a:pPr>
              <a: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t>使用 </a:t>
              </a:r>
              <a:r>
                <a:rPr lang="en-US" altLang="zh-CN" sz="2000">
                  <a:solidFill>
                    <a:srgbClr val="2F2F2F"/>
                  </a:solidFill>
                  <a:latin typeface="Arial" panose="020B0604020202020204" pitchFamily="34" charset="0"/>
                  <a:ea typeface="微软雅黑" panose="020B0503020204020204" pitchFamily="34" charset="-122"/>
                  <a:cs typeface="Arial" panose="020B0604020202020204" pitchFamily="34" charset="0"/>
                </a:rPr>
                <a:t>iSlide PP</a:t>
              </a:r>
              <a:r>
                <a:rPr lang="en-US" altLang="zh-CN" sz="100">
                  <a:solidFill>
                    <a:srgbClr val="2F2F2F"/>
                  </a:solidFill>
                  <a:latin typeface="Arial" panose="020B0604020202020204" pitchFamily="34" charset="0"/>
                  <a:ea typeface="微软雅黑" panose="020B0503020204020204" pitchFamily="34" charset="-122"/>
                  <a:cs typeface="Arial" panose="020B0604020202020204" pitchFamily="34" charset="0"/>
                </a:rPr>
                <a:t> </a:t>
              </a:r>
              <a:r>
                <a:rPr lang="en-US" altLang="zh-CN" sz="2000">
                  <a:solidFill>
                    <a:srgbClr val="2F2F2F"/>
                  </a:solidFill>
                  <a:latin typeface="Arial" panose="020B0604020202020204" pitchFamily="34" charset="0"/>
                  <a:ea typeface="微软雅黑" panose="020B0503020204020204" pitchFamily="34" charset="-122"/>
                  <a:cs typeface="Arial" panose="020B0604020202020204" pitchFamily="34" charset="0"/>
                </a:rPr>
                <a:t>T </a:t>
              </a:r>
              <a: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t>插件</a:t>
              </a:r>
              <a:br>
                <a:rPr lang="zh-CN" altLang="en-US" sz="2000" dirty="0">
                  <a:solidFill>
                    <a:srgbClr val="2F2F2F"/>
                  </a:solidFill>
                  <a:latin typeface="Arial" panose="020B0604020202020204" pitchFamily="34" charset="0"/>
                  <a:ea typeface="微软雅黑" panose="020B0503020204020204" pitchFamily="34" charset="-122"/>
                  <a:cs typeface="Arial" panose="020B0604020202020204" pitchFamily="34" charset="0"/>
                </a:rPr>
              </a:b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为您节省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90%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的 </a:t>
              </a:r>
              <a:r>
                <a:rPr lang="en-US" altLang="zh-CN"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PPT </a:t>
              </a:r>
              <a:r>
                <a:rPr lang="zh-CN" altLang="en-US" sz="3200" b="1"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设计时间</a:t>
              </a:r>
              <a:endParaRPr lang="en-US" altLang="en-US" sz="2800" dirty="0">
                <a:solidFill>
                  <a:srgbClr val="2F2F2F"/>
                </a:solidFill>
                <a:ea typeface="微软雅黑" panose="020B0503020204020204" pitchFamily="34" charset="-122"/>
                <a:cs typeface="Arial" panose="020B0604020202020204" pitchFamily="34" charset="0"/>
              </a:endParaRPr>
            </a:p>
          </p:txBody>
        </p:sp>
      </p:grpSp>
      <p:grpSp>
        <p:nvGrpSpPr>
          <p:cNvPr id="6" name="组合 5">
            <a:extLst>
              <a:ext uri="{FF2B5EF4-FFF2-40B4-BE49-F238E27FC236}">
                <a16:creationId xmlns:a16="http://schemas.microsoft.com/office/drawing/2014/main" id="{B20079A2-31CE-44D6-B924-1FF5F075B638}"/>
              </a:ext>
            </a:extLst>
          </p:cNvPr>
          <p:cNvGrpSpPr/>
          <p:nvPr/>
        </p:nvGrpSpPr>
        <p:grpSpPr>
          <a:xfrm>
            <a:off x="5252647" y="0"/>
            <a:ext cx="6939359" cy="6858000"/>
            <a:chOff x="5252643" y="0"/>
            <a:chExt cx="6939358" cy="6858000"/>
          </a:xfrm>
          <a:solidFill>
            <a:srgbClr val="F7F7F7"/>
          </a:solidFill>
        </p:grpSpPr>
        <p:sp>
          <p:nvSpPr>
            <p:cNvPr id="7" name="任意多边形: 形状 6">
              <a:extLst>
                <a:ext uri="{FF2B5EF4-FFF2-40B4-BE49-F238E27FC236}">
                  <a16:creationId xmlns:a16="http://schemas.microsoft.com/office/drawing/2014/main" id="{87027812-39ED-48F2-B846-15AF98F3E812}"/>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8" name="任意多边形: 形状 7">
              <a:extLst>
                <a:ext uri="{FF2B5EF4-FFF2-40B4-BE49-F238E27FC236}">
                  <a16:creationId xmlns:a16="http://schemas.microsoft.com/office/drawing/2014/main" id="{B12EC4E2-8D6F-42F4-9502-A731433702A2}"/>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9" name="任意多边形: 形状 8">
              <a:extLst>
                <a:ext uri="{FF2B5EF4-FFF2-40B4-BE49-F238E27FC236}">
                  <a16:creationId xmlns:a16="http://schemas.microsoft.com/office/drawing/2014/main" id="{2D272403-40BD-427A-A3AF-22CDE281BD98}"/>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spTree>
    <p:custDataLst>
      <p:tags r:id="rId1"/>
    </p:custDataLst>
    <p:extLst>
      <p:ext uri="{BB962C8B-B14F-4D97-AF65-F5344CB8AC3E}">
        <p14:creationId xmlns:p14="http://schemas.microsoft.com/office/powerpoint/2010/main" val="3297521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05" name="文本框 604">
            <a:extLst>
              <a:ext uri="{FF2B5EF4-FFF2-40B4-BE49-F238E27FC236}">
                <a16:creationId xmlns:a16="http://schemas.microsoft.com/office/drawing/2014/main" id="{5CCDB481-C962-47F4-881B-6DD1C2002730}"/>
              </a:ext>
            </a:extLst>
          </p:cNvPr>
          <p:cNvSpPr txBox="1"/>
          <p:nvPr/>
        </p:nvSpPr>
        <p:spPr>
          <a:xfrm>
            <a:off x="985798" y="5464421"/>
            <a:ext cx="2558947" cy="400110"/>
          </a:xfrm>
          <a:prstGeom prst="rect">
            <a:avLst/>
          </a:prstGeom>
          <a:noFill/>
        </p:spPr>
        <p:txBody>
          <a:bodyPr wrap="square" rtlCol="0" anchor="ctr">
            <a:spAutoFit/>
          </a:bodyPr>
          <a:lstStyle/>
          <a:p>
            <a:r>
              <a:rPr lang="zh-CN" altLang="en-US" sz="1000" dirty="0">
                <a:solidFill>
                  <a:srgbClr val="2F2F2F"/>
                </a:solidFill>
              </a:rPr>
              <a:t>使用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示库</a:t>
            </a:r>
            <a:r>
              <a:rPr lang="en-US" altLang="zh-CN" sz="1000" dirty="0">
                <a:solidFill>
                  <a:srgbClr val="2F2F2F"/>
                </a:solidFill>
              </a:rPr>
              <a:t>】</a:t>
            </a:r>
            <a:r>
              <a:rPr lang="zh-CN" altLang="en-US" sz="1000" dirty="0">
                <a:solidFill>
                  <a:srgbClr val="2F2F2F"/>
                </a:solidFill>
              </a:rPr>
              <a:t>筛选图示</a:t>
            </a:r>
            <a:endParaRPr lang="en-US" altLang="zh-CN" sz="1000" dirty="0">
              <a:solidFill>
                <a:srgbClr val="2F2F2F"/>
              </a:solidFill>
            </a:endParaRPr>
          </a:p>
          <a:p>
            <a:r>
              <a:rPr lang="en-US" altLang="zh-CN" sz="1000">
                <a:solidFill>
                  <a:srgbClr val="2F2F2F"/>
                </a:solidFill>
              </a:rPr>
              <a:t>S</a:t>
            </a:r>
            <a:r>
              <a:rPr lang="en-US" altLang="zh-CN" sz="100">
                <a:solidFill>
                  <a:srgbClr val="2F2F2F"/>
                </a:solidFill>
              </a:rPr>
              <a:t> </a:t>
            </a:r>
            <a:r>
              <a:rPr lang="en-US" altLang="zh-CN" sz="1000">
                <a:solidFill>
                  <a:srgbClr val="2F2F2F"/>
                </a:solidFill>
              </a:rPr>
              <a:t>earch </a:t>
            </a:r>
            <a:r>
              <a:rPr lang="en-US" altLang="zh-CN" sz="1000" dirty="0">
                <a:solidFill>
                  <a:srgbClr val="2F2F2F"/>
                </a:solidFill>
              </a:rPr>
              <a:t>diagrams in iSlide Diagram Library</a:t>
            </a:r>
            <a:endParaRPr lang="zh-CN" altLang="en-US" sz="1000" dirty="0">
              <a:solidFill>
                <a:srgbClr val="2F2F2F"/>
              </a:solidFill>
            </a:endParaRPr>
          </a:p>
        </p:txBody>
      </p:sp>
      <p:sp>
        <p:nvSpPr>
          <p:cNvPr id="606" name="椭圆 605">
            <a:extLst>
              <a:ext uri="{FF2B5EF4-FFF2-40B4-BE49-F238E27FC236}">
                <a16:creationId xmlns:a16="http://schemas.microsoft.com/office/drawing/2014/main" id="{BBAFAFCE-AD85-4ED5-894D-028379A54ED7}"/>
              </a:ext>
            </a:extLst>
          </p:cNvPr>
          <p:cNvSpPr/>
          <p:nvPr/>
        </p:nvSpPr>
        <p:spPr>
          <a:xfrm>
            <a:off x="660400" y="5526305"/>
            <a:ext cx="276343" cy="276341"/>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sp>
        <p:nvSpPr>
          <p:cNvPr id="608" name="文本框 607">
            <a:extLst>
              <a:ext uri="{FF2B5EF4-FFF2-40B4-BE49-F238E27FC236}">
                <a16:creationId xmlns:a16="http://schemas.microsoft.com/office/drawing/2014/main" id="{E808DBD7-0F1A-4037-9699-410F7A953BB4}"/>
              </a:ext>
            </a:extLst>
          </p:cNvPr>
          <p:cNvSpPr txBox="1"/>
          <p:nvPr/>
        </p:nvSpPr>
        <p:spPr>
          <a:xfrm>
            <a:off x="4677199" y="5464437"/>
            <a:ext cx="5284056" cy="400110"/>
          </a:xfrm>
          <a:prstGeom prst="rect">
            <a:avLst/>
          </a:prstGeom>
          <a:noFill/>
        </p:spPr>
        <p:txBody>
          <a:bodyPr wrap="square" rtlCol="0" anchor="ctr">
            <a:spAutoFit/>
          </a:bodyPr>
          <a:lstStyle/>
          <a:p>
            <a:r>
              <a:rPr lang="zh-CN" altLang="en-US" sz="1000" dirty="0">
                <a:solidFill>
                  <a:srgbClr val="2F2F2F"/>
                </a:solidFill>
              </a:rPr>
              <a:t>选择图示插入当前 </a:t>
            </a:r>
            <a:r>
              <a:rPr lang="en-US" altLang="zh-CN" sz="1000" dirty="0">
                <a:solidFill>
                  <a:srgbClr val="2F2F2F"/>
                </a:solidFill>
              </a:rPr>
              <a:t>PPT </a:t>
            </a:r>
            <a:r>
              <a:rPr lang="zh-CN" altLang="en-US" sz="1000" dirty="0">
                <a:solidFill>
                  <a:srgbClr val="2F2F2F"/>
                </a:solidFill>
              </a:rPr>
              <a:t>主题，编辑修改文字，替换图标或填充图片</a:t>
            </a:r>
            <a:endParaRPr lang="en-US" altLang="zh-CN" sz="1000" dirty="0">
              <a:solidFill>
                <a:srgbClr val="2F2F2F"/>
              </a:solidFill>
            </a:endParaRPr>
          </a:p>
          <a:p>
            <a:r>
              <a:rPr lang="en-US" altLang="zh-CN" sz="1000">
                <a:solidFill>
                  <a:srgbClr val="2F2F2F"/>
                </a:solidFill>
              </a:rPr>
              <a:t>Click t</a:t>
            </a:r>
            <a:r>
              <a:rPr lang="en-US" altLang="zh-CN" sz="100">
                <a:solidFill>
                  <a:srgbClr val="2F2F2F"/>
                </a:solidFill>
              </a:rPr>
              <a:t> </a:t>
            </a:r>
            <a:r>
              <a:rPr lang="en-US" altLang="zh-CN" sz="1000">
                <a:solidFill>
                  <a:srgbClr val="2F2F2F"/>
                </a:solidFill>
              </a:rPr>
              <a:t>o </a:t>
            </a:r>
            <a:r>
              <a:rPr lang="en-US" altLang="zh-CN" sz="1000" dirty="0">
                <a:solidFill>
                  <a:srgbClr val="2F2F2F"/>
                </a:solidFill>
              </a:rPr>
              <a:t>insert diagram into current slide, then edit text, replace icons or fill pictures</a:t>
            </a:r>
            <a:endParaRPr lang="zh-CN" altLang="en-US" sz="1000" dirty="0">
              <a:solidFill>
                <a:srgbClr val="2F2F2F"/>
              </a:solidFill>
            </a:endParaRPr>
          </a:p>
        </p:txBody>
      </p:sp>
      <p:sp>
        <p:nvSpPr>
          <p:cNvPr id="609" name="椭圆 608">
            <a:extLst>
              <a:ext uri="{FF2B5EF4-FFF2-40B4-BE49-F238E27FC236}">
                <a16:creationId xmlns:a16="http://schemas.microsoft.com/office/drawing/2014/main" id="{42B1532E-6800-4DB7-A456-55C6D9651A6A}"/>
              </a:ext>
            </a:extLst>
          </p:cNvPr>
          <p:cNvSpPr/>
          <p:nvPr/>
        </p:nvSpPr>
        <p:spPr>
          <a:xfrm>
            <a:off x="4355743" y="5526320"/>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grpSp>
        <p:nvGrpSpPr>
          <p:cNvPr id="199" name="组合 198">
            <a:extLst>
              <a:ext uri="{FF2B5EF4-FFF2-40B4-BE49-F238E27FC236}">
                <a16:creationId xmlns:a16="http://schemas.microsoft.com/office/drawing/2014/main" id="{20144B8B-CD16-47CC-9F33-4C1C08CF978C}"/>
              </a:ext>
            </a:extLst>
          </p:cNvPr>
          <p:cNvGrpSpPr/>
          <p:nvPr/>
        </p:nvGrpSpPr>
        <p:grpSpPr>
          <a:xfrm>
            <a:off x="660400" y="1959182"/>
            <a:ext cx="3002400" cy="3002401"/>
            <a:chOff x="677034" y="1959176"/>
            <a:chExt cx="3002400" cy="3002401"/>
          </a:xfrm>
        </p:grpSpPr>
        <p:sp>
          <p:nvSpPr>
            <p:cNvPr id="854" name="矩形 853">
              <a:extLst>
                <a:ext uri="{FF2B5EF4-FFF2-40B4-BE49-F238E27FC236}">
                  <a16:creationId xmlns:a16="http://schemas.microsoft.com/office/drawing/2014/main" id="{BA8BA330-F6C5-428A-8FB0-D295E5F08876}"/>
                </a:ext>
              </a:extLst>
            </p:cNvPr>
            <p:cNvSpPr/>
            <p:nvPr/>
          </p:nvSpPr>
          <p:spPr>
            <a:xfrm>
              <a:off x="677034" y="195917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75" name="组合 1174">
              <a:extLst>
                <a:ext uri="{FF2B5EF4-FFF2-40B4-BE49-F238E27FC236}">
                  <a16:creationId xmlns:a16="http://schemas.microsoft.com/office/drawing/2014/main" id="{AE850707-79EE-4926-8282-2DF39231E88A}"/>
                </a:ext>
              </a:extLst>
            </p:cNvPr>
            <p:cNvGrpSpPr/>
            <p:nvPr/>
          </p:nvGrpSpPr>
          <p:grpSpPr>
            <a:xfrm>
              <a:off x="2237046" y="3541481"/>
              <a:ext cx="1322298" cy="743793"/>
              <a:chOff x="795891" y="2682194"/>
              <a:chExt cx="1322298" cy="743793"/>
            </a:xfrm>
          </p:grpSpPr>
          <p:sp>
            <p:nvSpPr>
              <p:cNvPr id="1176" name="矩形: 圆角 1175">
                <a:extLst>
                  <a:ext uri="{FF2B5EF4-FFF2-40B4-BE49-F238E27FC236}">
                    <a16:creationId xmlns:a16="http://schemas.microsoft.com/office/drawing/2014/main" id="{C77ECE32-79B9-4A12-A540-656E059A5138}"/>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77" name="任意多边形: 形状 1176">
                <a:extLst>
                  <a:ext uri="{FF2B5EF4-FFF2-40B4-BE49-F238E27FC236}">
                    <a16:creationId xmlns:a16="http://schemas.microsoft.com/office/drawing/2014/main" id="{D8D8F1ED-AD80-40D6-BECB-C842BA1E550A}"/>
                  </a:ext>
                </a:extLst>
              </p:cNvPr>
              <p:cNvSpPr/>
              <p:nvPr/>
            </p:nvSpPr>
            <p:spPr>
              <a:xfrm>
                <a:off x="795891" y="2682194"/>
                <a:ext cx="1322298" cy="382553"/>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78" name="组合 1177">
                <a:extLst>
                  <a:ext uri="{FF2B5EF4-FFF2-40B4-BE49-F238E27FC236}">
                    <a16:creationId xmlns:a16="http://schemas.microsoft.com/office/drawing/2014/main" id="{28511EBC-9EF7-4DD2-9C71-440E2C7E88B2}"/>
                  </a:ext>
                </a:extLst>
              </p:cNvPr>
              <p:cNvGrpSpPr/>
              <p:nvPr/>
            </p:nvGrpSpPr>
            <p:grpSpPr>
              <a:xfrm>
                <a:off x="903307" y="3161290"/>
                <a:ext cx="1107466" cy="151273"/>
                <a:chOff x="890763" y="3168433"/>
                <a:chExt cx="1107466" cy="151273"/>
              </a:xfrm>
            </p:grpSpPr>
            <p:grpSp>
              <p:nvGrpSpPr>
                <p:cNvPr id="1179" name="组合 1178">
                  <a:extLst>
                    <a:ext uri="{FF2B5EF4-FFF2-40B4-BE49-F238E27FC236}">
                      <a16:creationId xmlns:a16="http://schemas.microsoft.com/office/drawing/2014/main" id="{C7245D6A-88C2-4564-A776-93D4903660CA}"/>
                    </a:ext>
                  </a:extLst>
                </p:cNvPr>
                <p:cNvGrpSpPr/>
                <p:nvPr/>
              </p:nvGrpSpPr>
              <p:grpSpPr>
                <a:xfrm>
                  <a:off x="890763" y="3168433"/>
                  <a:ext cx="288000" cy="151273"/>
                  <a:chOff x="890763" y="3187237"/>
                  <a:chExt cx="288000" cy="151273"/>
                </a:xfrm>
              </p:grpSpPr>
              <p:sp>
                <p:nvSpPr>
                  <p:cNvPr id="1186" name="矩形 1185">
                    <a:extLst>
                      <a:ext uri="{FF2B5EF4-FFF2-40B4-BE49-F238E27FC236}">
                        <a16:creationId xmlns:a16="http://schemas.microsoft.com/office/drawing/2014/main" id="{3558600A-838B-4B82-A710-8E22238BEB8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7" name="矩形 1186">
                    <a:extLst>
                      <a:ext uri="{FF2B5EF4-FFF2-40B4-BE49-F238E27FC236}">
                        <a16:creationId xmlns:a16="http://schemas.microsoft.com/office/drawing/2014/main" id="{CCA9112F-73C5-4C39-BE10-3AA73133E594}"/>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0" name="组合 1179">
                  <a:extLst>
                    <a:ext uri="{FF2B5EF4-FFF2-40B4-BE49-F238E27FC236}">
                      <a16:creationId xmlns:a16="http://schemas.microsoft.com/office/drawing/2014/main" id="{EBEFA3BC-34D0-4B85-A593-58A86E525EE0}"/>
                    </a:ext>
                  </a:extLst>
                </p:cNvPr>
                <p:cNvGrpSpPr/>
                <p:nvPr/>
              </p:nvGrpSpPr>
              <p:grpSpPr>
                <a:xfrm>
                  <a:off x="1300496" y="3168433"/>
                  <a:ext cx="288000" cy="151273"/>
                  <a:chOff x="890763" y="3187237"/>
                  <a:chExt cx="288000" cy="151273"/>
                </a:xfrm>
              </p:grpSpPr>
              <p:sp>
                <p:nvSpPr>
                  <p:cNvPr id="1184" name="矩形 1183">
                    <a:extLst>
                      <a:ext uri="{FF2B5EF4-FFF2-40B4-BE49-F238E27FC236}">
                        <a16:creationId xmlns:a16="http://schemas.microsoft.com/office/drawing/2014/main" id="{9861A848-16B8-4211-9FC9-45D02AACFAF8}"/>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5" name="矩形 1184">
                    <a:extLst>
                      <a:ext uri="{FF2B5EF4-FFF2-40B4-BE49-F238E27FC236}">
                        <a16:creationId xmlns:a16="http://schemas.microsoft.com/office/drawing/2014/main" id="{41EAD282-F1B9-47C8-8237-1593EFAA3566}"/>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1" name="组合 1180">
                  <a:extLst>
                    <a:ext uri="{FF2B5EF4-FFF2-40B4-BE49-F238E27FC236}">
                      <a16:creationId xmlns:a16="http://schemas.microsoft.com/office/drawing/2014/main" id="{C4ECBB84-A9C1-43CF-992F-B7D2A9AEFF9D}"/>
                    </a:ext>
                  </a:extLst>
                </p:cNvPr>
                <p:cNvGrpSpPr/>
                <p:nvPr/>
              </p:nvGrpSpPr>
              <p:grpSpPr>
                <a:xfrm>
                  <a:off x="1710229" y="3168433"/>
                  <a:ext cx="288000" cy="151273"/>
                  <a:chOff x="890763" y="3187237"/>
                  <a:chExt cx="288000" cy="151273"/>
                </a:xfrm>
              </p:grpSpPr>
              <p:sp>
                <p:nvSpPr>
                  <p:cNvPr id="1182" name="矩形 1181">
                    <a:extLst>
                      <a:ext uri="{FF2B5EF4-FFF2-40B4-BE49-F238E27FC236}">
                        <a16:creationId xmlns:a16="http://schemas.microsoft.com/office/drawing/2014/main" id="{210D9AC1-FCD2-4D8D-B173-7E1E87899759}"/>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3" name="矩形 1182">
                    <a:extLst>
                      <a:ext uri="{FF2B5EF4-FFF2-40B4-BE49-F238E27FC236}">
                        <a16:creationId xmlns:a16="http://schemas.microsoft.com/office/drawing/2014/main" id="{27D00380-E26D-4D19-8C1E-0D0FC2518CEB}"/>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846" name="矩形 845">
              <a:extLst>
                <a:ext uri="{FF2B5EF4-FFF2-40B4-BE49-F238E27FC236}">
                  <a16:creationId xmlns:a16="http://schemas.microsoft.com/office/drawing/2014/main" id="{8843ECBA-98A8-425F-B9CE-8DF5FACEEB4E}"/>
                </a:ext>
              </a:extLst>
            </p:cNvPr>
            <p:cNvSpPr/>
            <p:nvPr/>
          </p:nvSpPr>
          <p:spPr>
            <a:xfrm>
              <a:off x="677034" y="1964334"/>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
          <p:nvSpPr>
            <p:cNvPr id="847" name="矩形 846">
              <a:extLst>
                <a:ext uri="{FF2B5EF4-FFF2-40B4-BE49-F238E27FC236}">
                  <a16:creationId xmlns:a16="http://schemas.microsoft.com/office/drawing/2014/main" id="{C5551026-40D8-4A72-9A74-3E935305E165}"/>
                </a:ext>
              </a:extLst>
            </p:cNvPr>
            <p:cNvSpPr/>
            <p:nvPr/>
          </p:nvSpPr>
          <p:spPr>
            <a:xfrm>
              <a:off x="797125" y="2038897"/>
              <a:ext cx="1436291" cy="153888"/>
            </a:xfrm>
            <a:prstGeom prst="rect">
              <a:avLst/>
            </a:prstGeom>
          </p:spPr>
          <p:txBody>
            <a:bodyPr wrap="non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000" kern="0" dirty="0">
                  <a:solidFill>
                    <a:srgbClr val="FFFFFF"/>
                  </a:solidFill>
                </a:rPr>
                <a:t>图示库 </a:t>
              </a:r>
              <a:r>
                <a:rPr lang="en-US" altLang="zh-CN" sz="1000" kern="0">
                  <a:solidFill>
                    <a:srgbClr val="FFFFFF"/>
                  </a:solidFill>
                </a:rPr>
                <a:t>/ D</a:t>
              </a:r>
              <a:r>
                <a:rPr lang="en-US" altLang="zh-CN" sz="100" kern="0">
                  <a:solidFill>
                    <a:srgbClr val="FFFFFF"/>
                  </a:solidFill>
                </a:rPr>
                <a:t> </a:t>
              </a:r>
              <a:r>
                <a:rPr lang="en-US" altLang="zh-CN" sz="1000" kern="0">
                  <a:solidFill>
                    <a:srgbClr val="FFFFFF"/>
                  </a:solidFill>
                </a:rPr>
                <a:t>iagram </a:t>
              </a:r>
              <a:r>
                <a:rPr lang="en-US" altLang="zh-CN" sz="1000" kern="0" dirty="0">
                  <a:solidFill>
                    <a:srgbClr val="FFFFFF"/>
                  </a:solidFill>
                </a:rPr>
                <a:t>Library</a:t>
              </a:r>
              <a:endParaRPr lang="zh-CN" altLang="en-US" sz="1000" dirty="0"/>
            </a:p>
          </p:txBody>
        </p:sp>
        <p:sp>
          <p:nvSpPr>
            <p:cNvPr id="848" name="Multiply 213">
              <a:extLst>
                <a:ext uri="{FF2B5EF4-FFF2-40B4-BE49-F238E27FC236}">
                  <a16:creationId xmlns:a16="http://schemas.microsoft.com/office/drawing/2014/main" id="{3838A130-2F03-4DA6-9A10-BF5D0AD4D3F2}"/>
                </a:ext>
              </a:extLst>
            </p:cNvPr>
            <p:cNvSpPr>
              <a:spLocks noChangeAspect="1"/>
            </p:cNvSpPr>
            <p:nvPr/>
          </p:nvSpPr>
          <p:spPr>
            <a:xfrm>
              <a:off x="3465543" y="2068412"/>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nvGrpSpPr>
            <p:cNvPr id="850" name="组合 849">
              <a:extLst>
                <a:ext uri="{FF2B5EF4-FFF2-40B4-BE49-F238E27FC236}">
                  <a16:creationId xmlns:a16="http://schemas.microsoft.com/office/drawing/2014/main" id="{C2AC0C8A-FD06-42B3-84FE-67EBE61ABAE7}"/>
                </a:ext>
              </a:extLst>
            </p:cNvPr>
            <p:cNvGrpSpPr/>
            <p:nvPr/>
          </p:nvGrpSpPr>
          <p:grpSpPr>
            <a:xfrm>
              <a:off x="797124" y="2404170"/>
              <a:ext cx="1205447" cy="160120"/>
              <a:chOff x="4248155" y="2141651"/>
              <a:chExt cx="1084090" cy="144000"/>
            </a:xfrm>
            <a:solidFill>
              <a:srgbClr val="E7E5EA"/>
            </a:solidFill>
          </p:grpSpPr>
          <p:sp>
            <p:nvSpPr>
              <p:cNvPr id="996" name="矩形 995">
                <a:extLst>
                  <a:ext uri="{FF2B5EF4-FFF2-40B4-BE49-F238E27FC236}">
                    <a16:creationId xmlns:a16="http://schemas.microsoft.com/office/drawing/2014/main" id="{4A648450-3619-4DB2-9D93-E285BE610748}"/>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7" name="矩形 996">
                <a:extLst>
                  <a:ext uri="{FF2B5EF4-FFF2-40B4-BE49-F238E27FC236}">
                    <a16:creationId xmlns:a16="http://schemas.microsoft.com/office/drawing/2014/main" id="{D10C8A5E-0A32-4118-B936-C290F38145EE}"/>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8" name="矩形 997">
                <a:extLst>
                  <a:ext uri="{FF2B5EF4-FFF2-40B4-BE49-F238E27FC236}">
                    <a16:creationId xmlns:a16="http://schemas.microsoft.com/office/drawing/2014/main" id="{5E25D274-21E4-49C1-92A6-F6DF95B8D01E}"/>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851" name="组合 850">
              <a:extLst>
                <a:ext uri="{FF2B5EF4-FFF2-40B4-BE49-F238E27FC236}">
                  <a16:creationId xmlns:a16="http://schemas.microsoft.com/office/drawing/2014/main" id="{37DB5920-5464-4F00-BC8E-356D4A25963E}"/>
                </a:ext>
              </a:extLst>
            </p:cNvPr>
            <p:cNvGrpSpPr/>
            <p:nvPr/>
          </p:nvGrpSpPr>
          <p:grpSpPr>
            <a:xfrm>
              <a:off x="2797927" y="2404170"/>
              <a:ext cx="761417" cy="160120"/>
              <a:chOff x="6047529" y="2141651"/>
              <a:chExt cx="684762" cy="144000"/>
            </a:xfrm>
            <a:solidFill>
              <a:srgbClr val="E7E5EA"/>
            </a:solidFill>
          </p:grpSpPr>
          <p:sp>
            <p:nvSpPr>
              <p:cNvPr id="994" name="矩形 993">
                <a:extLst>
                  <a:ext uri="{FF2B5EF4-FFF2-40B4-BE49-F238E27FC236}">
                    <a16:creationId xmlns:a16="http://schemas.microsoft.com/office/drawing/2014/main" id="{61D9A505-57F8-4F3D-8542-8071ED53962C}"/>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5" name="矩形 994">
                <a:extLst>
                  <a:ext uri="{FF2B5EF4-FFF2-40B4-BE49-F238E27FC236}">
                    <a16:creationId xmlns:a16="http://schemas.microsoft.com/office/drawing/2014/main" id="{49FE1BBF-2FDB-48E7-8FDC-88654D1F74AD}"/>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865" name="矩形: 圆角 864">
              <a:extLst>
                <a:ext uri="{FF2B5EF4-FFF2-40B4-BE49-F238E27FC236}">
                  <a16:creationId xmlns:a16="http://schemas.microsoft.com/office/drawing/2014/main" id="{DD2E63D6-6AE5-47B3-9136-DD9595C59592}"/>
                </a:ext>
              </a:extLst>
            </p:cNvPr>
            <p:cNvSpPr>
              <a:spLocks noChangeAspect="1"/>
            </p:cNvSpPr>
            <p:nvPr/>
          </p:nvSpPr>
          <p:spPr>
            <a:xfrm>
              <a:off x="2237046"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866" name="矩形: 圆角 865">
              <a:extLst>
                <a:ext uri="{FF2B5EF4-FFF2-40B4-BE49-F238E27FC236}">
                  <a16:creationId xmlns:a16="http://schemas.microsoft.com/office/drawing/2014/main" id="{7150F21C-954F-4DB0-821B-E1B6C03B7E19}"/>
                </a:ext>
              </a:extLst>
            </p:cNvPr>
            <p:cNvSpPr>
              <a:spLocks noChangeAspect="1"/>
            </p:cNvSpPr>
            <p:nvPr/>
          </p:nvSpPr>
          <p:spPr>
            <a:xfrm>
              <a:off x="795891" y="3541481"/>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8" name="矩形: 圆角 867">
              <a:extLst>
                <a:ext uri="{FF2B5EF4-FFF2-40B4-BE49-F238E27FC236}">
                  <a16:creationId xmlns:a16="http://schemas.microsoft.com/office/drawing/2014/main" id="{BED8AC01-2DFD-4915-8568-787BE6DA01CB}"/>
                </a:ext>
              </a:extLst>
            </p:cNvPr>
            <p:cNvSpPr>
              <a:spLocks noChangeAspect="1"/>
            </p:cNvSpPr>
            <p:nvPr/>
          </p:nvSpPr>
          <p:spPr>
            <a:xfrm>
              <a:off x="795891"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9" name="矩形: 圆角 868">
              <a:extLst>
                <a:ext uri="{FF2B5EF4-FFF2-40B4-BE49-F238E27FC236}">
                  <a16:creationId xmlns:a16="http://schemas.microsoft.com/office/drawing/2014/main" id="{1783222E-7BB4-47D3-9EB9-C37001E8BCE1}"/>
                </a:ext>
              </a:extLst>
            </p:cNvPr>
            <p:cNvSpPr>
              <a:spLocks noChangeAspect="1"/>
            </p:cNvSpPr>
            <p:nvPr/>
          </p:nvSpPr>
          <p:spPr>
            <a:xfrm>
              <a:off x="2237046"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4" name="组合 873">
              <a:extLst>
                <a:ext uri="{FF2B5EF4-FFF2-40B4-BE49-F238E27FC236}">
                  <a16:creationId xmlns:a16="http://schemas.microsoft.com/office/drawing/2014/main" id="{A45346F3-945E-42EA-99F7-BF1CA0EBCF23}"/>
                </a:ext>
              </a:extLst>
            </p:cNvPr>
            <p:cNvGrpSpPr/>
            <p:nvPr/>
          </p:nvGrpSpPr>
          <p:grpSpPr>
            <a:xfrm>
              <a:off x="957184" y="3664359"/>
              <a:ext cx="999712" cy="498037"/>
              <a:chOff x="7744090" y="1288932"/>
              <a:chExt cx="1833124" cy="913228"/>
            </a:xfrm>
          </p:grpSpPr>
          <p:cxnSp>
            <p:nvCxnSpPr>
              <p:cNvPr id="950" name="连接符: 肘形 949">
                <a:extLst>
                  <a:ext uri="{FF2B5EF4-FFF2-40B4-BE49-F238E27FC236}">
                    <a16:creationId xmlns:a16="http://schemas.microsoft.com/office/drawing/2014/main" id="{2DC0960E-DCC8-4213-89A3-9C8E6917B555}"/>
                  </a:ext>
                </a:extLst>
              </p:cNvPr>
              <p:cNvCxnSpPr>
                <a:cxnSpLocks/>
                <a:stCxn id="955" idx="1"/>
                <a:endCxn id="956" idx="0"/>
              </p:cNvCxnSpPr>
              <p:nvPr/>
            </p:nvCxnSpPr>
            <p:spPr>
              <a:xfrm rot="10800000" flipV="1">
                <a:off x="7949112" y="1465564"/>
                <a:ext cx="285973"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cxnSp>
            <p:nvCxnSpPr>
              <p:cNvPr id="951" name="连接符: 肘形 950">
                <a:extLst>
                  <a:ext uri="{FF2B5EF4-FFF2-40B4-BE49-F238E27FC236}">
                    <a16:creationId xmlns:a16="http://schemas.microsoft.com/office/drawing/2014/main" id="{03CD0D39-088F-448F-8C3C-4FF43F92033E}"/>
                  </a:ext>
                </a:extLst>
              </p:cNvPr>
              <p:cNvCxnSpPr>
                <a:cxnSpLocks/>
                <a:stCxn id="955" idx="3"/>
              </p:cNvCxnSpPr>
              <p:nvPr/>
            </p:nvCxnSpPr>
            <p:spPr>
              <a:xfrm>
                <a:off x="9135072" y="1465564"/>
                <a:ext cx="225522"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grpSp>
            <p:nvGrpSpPr>
              <p:cNvPr id="952" name="组合 951">
                <a:extLst>
                  <a:ext uri="{FF2B5EF4-FFF2-40B4-BE49-F238E27FC236}">
                    <a16:creationId xmlns:a16="http://schemas.microsoft.com/office/drawing/2014/main" id="{758E4CA3-A24B-4E35-8D8A-86224D79D0F3}"/>
                  </a:ext>
                </a:extLst>
              </p:cNvPr>
              <p:cNvGrpSpPr/>
              <p:nvPr/>
            </p:nvGrpSpPr>
            <p:grpSpPr>
              <a:xfrm>
                <a:off x="7744090" y="1288932"/>
                <a:ext cx="1833124" cy="913228"/>
                <a:chOff x="7824356" y="1531238"/>
                <a:chExt cx="1725410" cy="859568"/>
              </a:xfrm>
            </p:grpSpPr>
            <p:sp>
              <p:nvSpPr>
                <p:cNvPr id="956" name="椭圆 23">
                  <a:extLst>
                    <a:ext uri="{FF2B5EF4-FFF2-40B4-BE49-F238E27FC236}">
                      <a16:creationId xmlns:a16="http://schemas.microsoft.com/office/drawing/2014/main" id="{6FED75BF-8F8A-417D-86F1-CCF2CCA854C3}"/>
                    </a:ext>
                  </a:extLst>
                </p:cNvPr>
                <p:cNvSpPr/>
                <p:nvPr/>
              </p:nvSpPr>
              <p:spPr>
                <a:xfrm>
                  <a:off x="7824356" y="2004856"/>
                  <a:ext cx="385951"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cxnSp>
              <p:nvCxnSpPr>
                <p:cNvPr id="954" name="连接符: 肘形 953">
                  <a:extLst>
                    <a:ext uri="{FF2B5EF4-FFF2-40B4-BE49-F238E27FC236}">
                      <a16:creationId xmlns:a16="http://schemas.microsoft.com/office/drawing/2014/main" id="{C0DCE433-FEB9-4256-AD52-55CF06BA8EB0}"/>
                    </a:ext>
                  </a:extLst>
                </p:cNvPr>
                <p:cNvCxnSpPr>
                  <a:cxnSpLocks/>
                </p:cNvCxnSpPr>
                <p:nvPr/>
              </p:nvCxnSpPr>
              <p:spPr>
                <a:xfrm rot="16200000" flipV="1">
                  <a:off x="8681605" y="1783431"/>
                  <a:ext cx="12700" cy="442850"/>
                </a:xfrm>
                <a:prstGeom prst="bentConnector3">
                  <a:avLst>
                    <a:gd name="adj1" fmla="val 1554551"/>
                  </a:avLst>
                </a:prstGeom>
                <a:solidFill>
                  <a:srgbClr val="867D98">
                    <a:lumMod val="20000"/>
                    <a:lumOff val="80000"/>
                  </a:srgbClr>
                </a:solidFill>
                <a:ln w="12700" cap="flat" cmpd="sng" algn="ctr">
                  <a:solidFill>
                    <a:srgbClr val="E7E5EA"/>
                  </a:solidFill>
                  <a:prstDash val="solid"/>
                  <a:miter lim="800000"/>
                </a:ln>
                <a:effectLst/>
              </p:spPr>
            </p:cxnSp>
            <p:sp>
              <p:nvSpPr>
                <p:cNvPr id="955" name="圆角矩形 13">
                  <a:extLst>
                    <a:ext uri="{FF2B5EF4-FFF2-40B4-BE49-F238E27FC236}">
                      <a16:creationId xmlns:a16="http://schemas.microsoft.com/office/drawing/2014/main" id="{425684A3-885C-4A76-A115-DF158F3814AA}"/>
                    </a:ext>
                  </a:extLst>
                </p:cNvPr>
                <p:cNvSpPr/>
                <p:nvPr/>
              </p:nvSpPr>
              <p:spPr>
                <a:xfrm flipV="1">
                  <a:off x="8286501" y="1531238"/>
                  <a:ext cx="847108" cy="332509"/>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1054" name="椭圆 23">
                  <a:extLst>
                    <a:ext uri="{FF2B5EF4-FFF2-40B4-BE49-F238E27FC236}">
                      <a16:creationId xmlns:a16="http://schemas.microsoft.com/office/drawing/2014/main" id="{9035EC9B-2C33-4F7F-9809-0CDD148A767C}"/>
                    </a:ext>
                  </a:extLst>
                </p:cNvPr>
                <p:cNvSpPr/>
                <p:nvPr/>
              </p:nvSpPr>
              <p:spPr>
                <a:xfrm>
                  <a:off x="8270843"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5" name="椭圆 23">
                  <a:extLst>
                    <a:ext uri="{FF2B5EF4-FFF2-40B4-BE49-F238E27FC236}">
                      <a16:creationId xmlns:a16="http://schemas.microsoft.com/office/drawing/2014/main" id="{ADF15E24-6782-4AFE-9825-CF52713FCFF3}"/>
                    </a:ext>
                  </a:extLst>
                </p:cNvPr>
                <p:cNvSpPr/>
                <p:nvPr/>
              </p:nvSpPr>
              <p:spPr>
                <a:xfrm>
                  <a:off x="8717329"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6" name="椭圆 23">
                  <a:extLst>
                    <a:ext uri="{FF2B5EF4-FFF2-40B4-BE49-F238E27FC236}">
                      <a16:creationId xmlns:a16="http://schemas.microsoft.com/office/drawing/2014/main" id="{F8288D8E-E3DC-4D46-9429-06EEF8F0B14C}"/>
                    </a:ext>
                  </a:extLst>
                </p:cNvPr>
                <p:cNvSpPr/>
                <p:nvPr/>
              </p:nvSpPr>
              <p:spPr>
                <a:xfrm>
                  <a:off x="9163816"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grpSp>
        </p:grpSp>
        <p:sp>
          <p:nvSpPr>
            <p:cNvPr id="876" name="矩形: 圆角 875">
              <a:extLst>
                <a:ext uri="{FF2B5EF4-FFF2-40B4-BE49-F238E27FC236}">
                  <a16:creationId xmlns:a16="http://schemas.microsoft.com/office/drawing/2014/main" id="{717959DC-79F8-484F-955A-560CC57C056E}"/>
                </a:ext>
              </a:extLst>
            </p:cNvPr>
            <p:cNvSpPr>
              <a:spLocks noChangeAspect="1"/>
            </p:cNvSpPr>
            <p:nvPr/>
          </p:nvSpPr>
          <p:spPr>
            <a:xfrm>
              <a:off x="2237046" y="3541481"/>
              <a:ext cx="1322298" cy="743793"/>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7" name="组合 876">
              <a:extLst>
                <a:ext uri="{FF2B5EF4-FFF2-40B4-BE49-F238E27FC236}">
                  <a16:creationId xmlns:a16="http://schemas.microsoft.com/office/drawing/2014/main" id="{A47B174F-DED1-4EE4-98E9-9689C17871B3}"/>
                </a:ext>
              </a:extLst>
            </p:cNvPr>
            <p:cNvGrpSpPr/>
            <p:nvPr/>
          </p:nvGrpSpPr>
          <p:grpSpPr>
            <a:xfrm>
              <a:off x="932879" y="4540141"/>
              <a:ext cx="1048323" cy="258613"/>
              <a:chOff x="5400091" y="4685784"/>
              <a:chExt cx="1747512" cy="431123"/>
            </a:xfrm>
          </p:grpSpPr>
          <p:sp>
            <p:nvSpPr>
              <p:cNvPr id="933" name="圆角矩形 13">
                <a:extLst>
                  <a:ext uri="{FF2B5EF4-FFF2-40B4-BE49-F238E27FC236}">
                    <a16:creationId xmlns:a16="http://schemas.microsoft.com/office/drawing/2014/main" id="{E984AE22-DDC3-4306-93CF-33DF1411F324}"/>
                  </a:ext>
                </a:extLst>
              </p:cNvPr>
              <p:cNvSpPr/>
              <p:nvPr/>
            </p:nvSpPr>
            <p:spPr>
              <a:xfrm>
                <a:off x="5400093"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936" name="圆角矩形 245">
                <a:extLst>
                  <a:ext uri="{FF2B5EF4-FFF2-40B4-BE49-F238E27FC236}">
                    <a16:creationId xmlns:a16="http://schemas.microsoft.com/office/drawing/2014/main" id="{849C80C1-BE01-465E-B9B6-4452729B5A75}"/>
                  </a:ext>
                </a:extLst>
              </p:cNvPr>
              <p:cNvSpPr/>
              <p:nvPr/>
            </p:nvSpPr>
            <p:spPr>
              <a:xfrm>
                <a:off x="5400091" y="4685784"/>
                <a:ext cx="1747511" cy="152087"/>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8" name="圆角矩形 13">
                <a:extLst>
                  <a:ext uri="{FF2B5EF4-FFF2-40B4-BE49-F238E27FC236}">
                    <a16:creationId xmlns:a16="http://schemas.microsoft.com/office/drawing/2014/main" id="{CBEF49A2-DE81-4E3A-9FC4-3EF2DA37CCB9}"/>
                  </a:ext>
                </a:extLst>
              </p:cNvPr>
              <p:cNvSpPr/>
              <p:nvPr/>
            </p:nvSpPr>
            <p:spPr>
              <a:xfrm>
                <a:off x="6024976"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9" name="圆角矩形 13">
                <a:extLst>
                  <a:ext uri="{FF2B5EF4-FFF2-40B4-BE49-F238E27FC236}">
                    <a16:creationId xmlns:a16="http://schemas.microsoft.com/office/drawing/2014/main" id="{F1443997-023C-4899-949D-EFB18DCA2EFB}"/>
                  </a:ext>
                </a:extLst>
              </p:cNvPr>
              <p:cNvSpPr/>
              <p:nvPr/>
            </p:nvSpPr>
            <p:spPr>
              <a:xfrm>
                <a:off x="6649859"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grpSp>
          <p:nvGrpSpPr>
            <p:cNvPr id="16" name="组合 15">
              <a:extLst>
                <a:ext uri="{FF2B5EF4-FFF2-40B4-BE49-F238E27FC236}">
                  <a16:creationId xmlns:a16="http://schemas.microsoft.com/office/drawing/2014/main" id="{2DAF75D4-D96A-4B48-B019-A6009ADFD41C}"/>
                </a:ext>
              </a:extLst>
            </p:cNvPr>
            <p:cNvGrpSpPr/>
            <p:nvPr/>
          </p:nvGrpSpPr>
          <p:grpSpPr>
            <a:xfrm>
              <a:off x="2432734" y="2810541"/>
              <a:ext cx="930922" cy="487099"/>
              <a:chOff x="2346558" y="2871788"/>
              <a:chExt cx="856042" cy="447918"/>
            </a:xfrm>
          </p:grpSpPr>
          <p:sp>
            <p:nvSpPr>
              <p:cNvPr id="15" name="椭圆 14">
                <a:extLst>
                  <a:ext uri="{FF2B5EF4-FFF2-40B4-BE49-F238E27FC236}">
                    <a16:creationId xmlns:a16="http://schemas.microsoft.com/office/drawing/2014/main" id="{30EB6250-9E39-4126-8AA4-AB3EDCED7EB6}"/>
                  </a:ext>
                </a:extLst>
              </p:cNvPr>
              <p:cNvSpPr>
                <a:spLocks noChangeAspect="1"/>
              </p:cNvSpPr>
              <p:nvPr/>
            </p:nvSpPr>
            <p:spPr>
              <a:xfrm>
                <a:off x="2346558"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16" name="组合 1015">
                <a:extLst>
                  <a:ext uri="{FF2B5EF4-FFF2-40B4-BE49-F238E27FC236}">
                    <a16:creationId xmlns:a16="http://schemas.microsoft.com/office/drawing/2014/main" id="{00B46A84-E3D2-42EF-999A-0E0C42EBBC2D}"/>
                  </a:ext>
                </a:extLst>
              </p:cNvPr>
              <p:cNvGrpSpPr/>
              <p:nvPr/>
            </p:nvGrpSpPr>
            <p:grpSpPr>
              <a:xfrm>
                <a:off x="2364558" y="3168433"/>
                <a:ext cx="180000" cy="151273"/>
                <a:chOff x="926763" y="3187237"/>
                <a:chExt cx="144000" cy="151273"/>
              </a:xfrm>
            </p:grpSpPr>
            <p:sp>
              <p:nvSpPr>
                <p:cNvPr id="1023" name="矩形 1022">
                  <a:extLst>
                    <a:ext uri="{FF2B5EF4-FFF2-40B4-BE49-F238E27FC236}">
                      <a16:creationId xmlns:a16="http://schemas.microsoft.com/office/drawing/2014/main" id="{0939C5B3-D0BE-4CBE-9F01-15D03E9B4905}"/>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4" name="矩形 1023">
                  <a:extLst>
                    <a:ext uri="{FF2B5EF4-FFF2-40B4-BE49-F238E27FC236}">
                      <a16:creationId xmlns:a16="http://schemas.microsoft.com/office/drawing/2014/main" id="{2BFB96C1-8536-43E9-8B4B-83BEEEDD63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1" name="椭圆 1040">
                <a:extLst>
                  <a:ext uri="{FF2B5EF4-FFF2-40B4-BE49-F238E27FC236}">
                    <a16:creationId xmlns:a16="http://schemas.microsoft.com/office/drawing/2014/main" id="{6CEF65A3-982C-4BEA-865C-CB1C6FB3B03C}"/>
                  </a:ext>
                </a:extLst>
              </p:cNvPr>
              <p:cNvSpPr>
                <a:spLocks noChangeAspect="1"/>
              </p:cNvSpPr>
              <p:nvPr/>
            </p:nvSpPr>
            <p:spPr>
              <a:xfrm>
                <a:off x="2666579"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2" name="组合 1041">
                <a:extLst>
                  <a:ext uri="{FF2B5EF4-FFF2-40B4-BE49-F238E27FC236}">
                    <a16:creationId xmlns:a16="http://schemas.microsoft.com/office/drawing/2014/main" id="{3E064D18-B094-48FE-8986-E1850BC4D92C}"/>
                  </a:ext>
                </a:extLst>
              </p:cNvPr>
              <p:cNvGrpSpPr/>
              <p:nvPr/>
            </p:nvGrpSpPr>
            <p:grpSpPr>
              <a:xfrm>
                <a:off x="2684579" y="3168433"/>
                <a:ext cx="180000" cy="151273"/>
                <a:chOff x="926763" y="3187237"/>
                <a:chExt cx="144000" cy="151273"/>
              </a:xfrm>
            </p:grpSpPr>
            <p:sp>
              <p:nvSpPr>
                <p:cNvPr id="1043" name="矩形 1042">
                  <a:extLst>
                    <a:ext uri="{FF2B5EF4-FFF2-40B4-BE49-F238E27FC236}">
                      <a16:creationId xmlns:a16="http://schemas.microsoft.com/office/drawing/2014/main" id="{E3ECD842-62EE-4219-B56E-B39E7EA7768B}"/>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4" name="矩形 1043">
                  <a:extLst>
                    <a:ext uri="{FF2B5EF4-FFF2-40B4-BE49-F238E27FC236}">
                      <a16:creationId xmlns:a16="http://schemas.microsoft.com/office/drawing/2014/main" id="{1B95D614-39A0-4244-80D1-C3EEBD4BD33A}"/>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5" name="椭圆 1044">
                <a:extLst>
                  <a:ext uri="{FF2B5EF4-FFF2-40B4-BE49-F238E27FC236}">
                    <a16:creationId xmlns:a16="http://schemas.microsoft.com/office/drawing/2014/main" id="{190098A9-E668-4E89-A186-0A482EAD4129}"/>
                  </a:ext>
                </a:extLst>
              </p:cNvPr>
              <p:cNvSpPr>
                <a:spLocks noChangeAspect="1"/>
              </p:cNvSpPr>
              <p:nvPr/>
            </p:nvSpPr>
            <p:spPr>
              <a:xfrm>
                <a:off x="2986600"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6" name="组合 1045">
                <a:extLst>
                  <a:ext uri="{FF2B5EF4-FFF2-40B4-BE49-F238E27FC236}">
                    <a16:creationId xmlns:a16="http://schemas.microsoft.com/office/drawing/2014/main" id="{432BC3E3-C33F-45DB-9C12-80DBA9576112}"/>
                  </a:ext>
                </a:extLst>
              </p:cNvPr>
              <p:cNvGrpSpPr/>
              <p:nvPr/>
            </p:nvGrpSpPr>
            <p:grpSpPr>
              <a:xfrm>
                <a:off x="3004600" y="3168433"/>
                <a:ext cx="180000" cy="151273"/>
                <a:chOff x="926763" y="3187237"/>
                <a:chExt cx="144000" cy="151273"/>
              </a:xfrm>
            </p:grpSpPr>
            <p:sp>
              <p:nvSpPr>
                <p:cNvPr id="1047" name="矩形 1046">
                  <a:extLst>
                    <a:ext uri="{FF2B5EF4-FFF2-40B4-BE49-F238E27FC236}">
                      <a16:creationId xmlns:a16="http://schemas.microsoft.com/office/drawing/2014/main" id="{AFBE4C15-7AB1-49CF-B975-F6CA747FBD07}"/>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8" name="矩形 1047">
                  <a:extLst>
                    <a:ext uri="{FF2B5EF4-FFF2-40B4-BE49-F238E27FC236}">
                      <a16:creationId xmlns:a16="http://schemas.microsoft.com/office/drawing/2014/main" id="{7970FEF5-16DF-4A00-989C-7C6C60A9B9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863" name="矩形: 圆角 862">
              <a:extLst>
                <a:ext uri="{FF2B5EF4-FFF2-40B4-BE49-F238E27FC236}">
                  <a16:creationId xmlns:a16="http://schemas.microsoft.com/office/drawing/2014/main" id="{B64809AD-D167-45C7-A4EC-8560EE574446}"/>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25" name="组合 24">
              <a:extLst>
                <a:ext uri="{FF2B5EF4-FFF2-40B4-BE49-F238E27FC236}">
                  <a16:creationId xmlns:a16="http://schemas.microsoft.com/office/drawing/2014/main" id="{4194A22F-CDBB-4156-87AB-7F39A731E5B3}"/>
                </a:ext>
              </a:extLst>
            </p:cNvPr>
            <p:cNvGrpSpPr/>
            <p:nvPr/>
          </p:nvGrpSpPr>
          <p:grpSpPr>
            <a:xfrm>
              <a:off x="958894" y="2827593"/>
              <a:ext cx="996293" cy="452994"/>
              <a:chOff x="2397064" y="3686880"/>
              <a:chExt cx="996293" cy="452994"/>
            </a:xfrm>
          </p:grpSpPr>
          <p:grpSp>
            <p:nvGrpSpPr>
              <p:cNvPr id="938" name="组合 937">
                <a:extLst>
                  <a:ext uri="{FF2B5EF4-FFF2-40B4-BE49-F238E27FC236}">
                    <a16:creationId xmlns:a16="http://schemas.microsoft.com/office/drawing/2014/main" id="{17F70482-DADB-43DB-A367-52DA6ED9235A}"/>
                  </a:ext>
                </a:extLst>
              </p:cNvPr>
              <p:cNvGrpSpPr/>
              <p:nvPr/>
            </p:nvGrpSpPr>
            <p:grpSpPr>
              <a:xfrm>
                <a:off x="2397064" y="3686880"/>
                <a:ext cx="466228" cy="452994"/>
                <a:chOff x="7824355" y="3116332"/>
                <a:chExt cx="916957" cy="890931"/>
              </a:xfrm>
            </p:grpSpPr>
            <p:sp>
              <p:nvSpPr>
                <p:cNvPr id="944" name="六边形 943">
                  <a:extLst>
                    <a:ext uri="{FF2B5EF4-FFF2-40B4-BE49-F238E27FC236}">
                      <a16:creationId xmlns:a16="http://schemas.microsoft.com/office/drawing/2014/main" id="{594B32B4-0694-4481-BEDC-09F0B29FD15B}"/>
                    </a:ext>
                  </a:extLst>
                </p:cNvPr>
                <p:cNvSpPr/>
                <p:nvPr/>
              </p:nvSpPr>
              <p:spPr>
                <a:xfrm>
                  <a:off x="7824355" y="3116332"/>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5" name="六边形 944">
                  <a:extLst>
                    <a:ext uri="{FF2B5EF4-FFF2-40B4-BE49-F238E27FC236}">
                      <a16:creationId xmlns:a16="http://schemas.microsoft.com/office/drawing/2014/main" id="{3295658D-3A76-4A00-8F34-A27D1CBEC15C}"/>
                    </a:ext>
                  </a:extLst>
                </p:cNvPr>
                <p:cNvSpPr/>
                <p:nvPr/>
              </p:nvSpPr>
              <p:spPr>
                <a:xfrm>
                  <a:off x="8261335" y="3350709"/>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7" name="六边形 946">
                  <a:extLst>
                    <a:ext uri="{FF2B5EF4-FFF2-40B4-BE49-F238E27FC236}">
                      <a16:creationId xmlns:a16="http://schemas.microsoft.com/office/drawing/2014/main" id="{B7C876CD-DA17-4FBD-81B9-C9478A41935C}"/>
                    </a:ext>
                  </a:extLst>
                </p:cNvPr>
                <p:cNvSpPr/>
                <p:nvPr/>
              </p:nvSpPr>
              <p:spPr>
                <a:xfrm>
                  <a:off x="7833058" y="3593491"/>
                  <a:ext cx="479976" cy="41377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grpSp>
            <p:nvGrpSpPr>
              <p:cNvPr id="24" name="组合 23">
                <a:extLst>
                  <a:ext uri="{FF2B5EF4-FFF2-40B4-BE49-F238E27FC236}">
                    <a16:creationId xmlns:a16="http://schemas.microsoft.com/office/drawing/2014/main" id="{8FE53A35-7B1D-4667-B649-AA89BB44D808}"/>
                  </a:ext>
                </a:extLst>
              </p:cNvPr>
              <p:cNvGrpSpPr/>
              <p:nvPr/>
            </p:nvGrpSpPr>
            <p:grpSpPr>
              <a:xfrm>
                <a:off x="2941293" y="3788716"/>
                <a:ext cx="452064" cy="249322"/>
                <a:chOff x="2985439" y="3716434"/>
                <a:chExt cx="452064" cy="249322"/>
              </a:xfrm>
            </p:grpSpPr>
            <p:sp>
              <p:nvSpPr>
                <p:cNvPr id="1065" name="矩形 1064">
                  <a:extLst>
                    <a:ext uri="{FF2B5EF4-FFF2-40B4-BE49-F238E27FC236}">
                      <a16:creationId xmlns:a16="http://schemas.microsoft.com/office/drawing/2014/main" id="{EC4235DF-6AC4-4F0F-94CE-C13DD6DB3628}"/>
                    </a:ext>
                  </a:extLst>
                </p:cNvPr>
                <p:cNvSpPr/>
                <p:nvPr/>
              </p:nvSpPr>
              <p:spPr>
                <a:xfrm>
                  <a:off x="2985441" y="3716434"/>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6" name="矩形 1065">
                  <a:extLst>
                    <a:ext uri="{FF2B5EF4-FFF2-40B4-BE49-F238E27FC236}">
                      <a16:creationId xmlns:a16="http://schemas.microsoft.com/office/drawing/2014/main" id="{45E34FC1-122D-40D6-BEA9-226EA2BDCBCE}"/>
                    </a:ext>
                  </a:extLst>
                </p:cNvPr>
                <p:cNvSpPr/>
                <p:nvPr/>
              </p:nvSpPr>
              <p:spPr>
                <a:xfrm>
                  <a:off x="2985439" y="3813707"/>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69" name="矩形 1068">
                  <a:extLst>
                    <a:ext uri="{FF2B5EF4-FFF2-40B4-BE49-F238E27FC236}">
                      <a16:creationId xmlns:a16="http://schemas.microsoft.com/office/drawing/2014/main" id="{DA16AA45-D176-4D08-BD59-281FF7895BC2}"/>
                    </a:ext>
                  </a:extLst>
                </p:cNvPr>
                <p:cNvSpPr/>
                <p:nvPr/>
              </p:nvSpPr>
              <p:spPr>
                <a:xfrm>
                  <a:off x="2985439" y="3911756"/>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29" name="组合 28">
              <a:extLst>
                <a:ext uri="{FF2B5EF4-FFF2-40B4-BE49-F238E27FC236}">
                  <a16:creationId xmlns:a16="http://schemas.microsoft.com/office/drawing/2014/main" id="{98748623-E96F-40FF-A776-467E82C6C4A8}"/>
                </a:ext>
              </a:extLst>
            </p:cNvPr>
            <p:cNvGrpSpPr/>
            <p:nvPr/>
          </p:nvGrpSpPr>
          <p:grpSpPr>
            <a:xfrm>
              <a:off x="2390618" y="4549429"/>
              <a:ext cx="1015154" cy="263489"/>
              <a:chOff x="2306270" y="4491548"/>
              <a:chExt cx="1015154" cy="263489"/>
            </a:xfrm>
          </p:grpSpPr>
          <p:sp>
            <p:nvSpPr>
              <p:cNvPr id="930" name="圆角矩形 13">
                <a:extLst>
                  <a:ext uri="{FF2B5EF4-FFF2-40B4-BE49-F238E27FC236}">
                    <a16:creationId xmlns:a16="http://schemas.microsoft.com/office/drawing/2014/main" id="{201B923C-EDD6-428E-B992-557CEF434B8B}"/>
                  </a:ext>
                </a:extLst>
              </p:cNvPr>
              <p:cNvSpPr/>
              <p:nvPr/>
            </p:nvSpPr>
            <p:spPr>
              <a:xfrm>
                <a:off x="2626870" y="4491548"/>
                <a:ext cx="357831" cy="263489"/>
              </a:xfrm>
              <a:prstGeom prst="roundRect">
                <a:avLst>
                  <a:gd name="adj" fmla="val 8038"/>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26" name="组合 25">
                <a:extLst>
                  <a:ext uri="{FF2B5EF4-FFF2-40B4-BE49-F238E27FC236}">
                    <a16:creationId xmlns:a16="http://schemas.microsoft.com/office/drawing/2014/main" id="{45C074C8-B745-491A-9083-938E1FFF3520}"/>
                  </a:ext>
                </a:extLst>
              </p:cNvPr>
              <p:cNvGrpSpPr/>
              <p:nvPr/>
            </p:nvGrpSpPr>
            <p:grpSpPr>
              <a:xfrm>
                <a:off x="3069273" y="4491548"/>
                <a:ext cx="252151" cy="249322"/>
                <a:chOff x="3167324" y="4573427"/>
                <a:chExt cx="452064" cy="249322"/>
              </a:xfrm>
            </p:grpSpPr>
            <p:sp>
              <p:nvSpPr>
                <p:cNvPr id="1071" name="矩形 1070">
                  <a:extLst>
                    <a:ext uri="{FF2B5EF4-FFF2-40B4-BE49-F238E27FC236}">
                      <a16:creationId xmlns:a16="http://schemas.microsoft.com/office/drawing/2014/main" id="{0CBAB299-BCC4-4DB1-B0B1-81F3C2F3B2C8}"/>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2" name="矩形 1071">
                  <a:extLst>
                    <a:ext uri="{FF2B5EF4-FFF2-40B4-BE49-F238E27FC236}">
                      <a16:creationId xmlns:a16="http://schemas.microsoft.com/office/drawing/2014/main" id="{97B82DC9-2FF1-498F-A360-B7CB02AFA5BD}"/>
                    </a:ext>
                  </a:extLst>
                </p:cNvPr>
                <p:cNvSpPr/>
                <p:nvPr/>
              </p:nvSpPr>
              <p:spPr>
                <a:xfrm>
                  <a:off x="3167324" y="4670700"/>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3" name="矩形 1072">
                  <a:extLst>
                    <a:ext uri="{FF2B5EF4-FFF2-40B4-BE49-F238E27FC236}">
                      <a16:creationId xmlns:a16="http://schemas.microsoft.com/office/drawing/2014/main" id="{0A3E8C70-F56A-4348-A5A3-965280C2638D}"/>
                    </a:ext>
                  </a:extLst>
                </p:cNvPr>
                <p:cNvSpPr/>
                <p:nvPr/>
              </p:nvSpPr>
              <p:spPr>
                <a:xfrm>
                  <a:off x="3167324"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74" name="组合 1073">
                <a:extLst>
                  <a:ext uri="{FF2B5EF4-FFF2-40B4-BE49-F238E27FC236}">
                    <a16:creationId xmlns:a16="http://schemas.microsoft.com/office/drawing/2014/main" id="{ED8E2C3F-E938-4D95-883D-D29C518F3E79}"/>
                  </a:ext>
                </a:extLst>
              </p:cNvPr>
              <p:cNvGrpSpPr/>
              <p:nvPr/>
            </p:nvGrpSpPr>
            <p:grpSpPr>
              <a:xfrm>
                <a:off x="2306270" y="4491548"/>
                <a:ext cx="252152" cy="249322"/>
                <a:chOff x="3167322" y="4573427"/>
                <a:chExt cx="452066" cy="249322"/>
              </a:xfrm>
            </p:grpSpPr>
            <p:sp>
              <p:nvSpPr>
                <p:cNvPr id="1075" name="矩形 1074">
                  <a:extLst>
                    <a:ext uri="{FF2B5EF4-FFF2-40B4-BE49-F238E27FC236}">
                      <a16:creationId xmlns:a16="http://schemas.microsoft.com/office/drawing/2014/main" id="{2248F49E-F982-40F3-89EF-ECD9EF3F1A0C}"/>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6" name="矩形 1075">
                  <a:extLst>
                    <a:ext uri="{FF2B5EF4-FFF2-40B4-BE49-F238E27FC236}">
                      <a16:creationId xmlns:a16="http://schemas.microsoft.com/office/drawing/2014/main" id="{C6A487A8-755C-4D28-B0AA-507A3359D845}"/>
                    </a:ext>
                  </a:extLst>
                </p:cNvPr>
                <p:cNvSpPr/>
                <p:nvPr/>
              </p:nvSpPr>
              <p:spPr>
                <a:xfrm>
                  <a:off x="3167326" y="4670700"/>
                  <a:ext cx="396001"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7" name="矩形 1076">
                  <a:extLst>
                    <a:ext uri="{FF2B5EF4-FFF2-40B4-BE49-F238E27FC236}">
                      <a16:creationId xmlns:a16="http://schemas.microsoft.com/office/drawing/2014/main" id="{F08D21E7-7021-4181-8C31-97F5FB37D7BA}"/>
                    </a:ext>
                  </a:extLst>
                </p:cNvPr>
                <p:cNvSpPr/>
                <p:nvPr/>
              </p:nvSpPr>
              <p:spPr>
                <a:xfrm>
                  <a:off x="3167322"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grpSp>
        <p:nvGrpSpPr>
          <p:cNvPr id="198" name="组合 197">
            <a:extLst>
              <a:ext uri="{FF2B5EF4-FFF2-40B4-BE49-F238E27FC236}">
                <a16:creationId xmlns:a16="http://schemas.microsoft.com/office/drawing/2014/main" id="{FC522BDD-3447-423F-96CD-D460760F796C}"/>
              </a:ext>
            </a:extLst>
          </p:cNvPr>
          <p:cNvGrpSpPr/>
          <p:nvPr/>
        </p:nvGrpSpPr>
        <p:grpSpPr>
          <a:xfrm>
            <a:off x="4355744" y="1959177"/>
            <a:ext cx="4630137" cy="3093736"/>
            <a:chOff x="4355738" y="1959177"/>
            <a:chExt cx="4630137" cy="3093736"/>
          </a:xfrm>
        </p:grpSpPr>
        <p:sp>
          <p:nvSpPr>
            <p:cNvPr id="611" name="Freeform 6">
              <a:extLst>
                <a:ext uri="{FF2B5EF4-FFF2-40B4-BE49-F238E27FC236}">
                  <a16:creationId xmlns:a16="http://schemas.microsoft.com/office/drawing/2014/main" id="{61153CE2-AE0B-441F-B0A1-0FBBB2760D07}"/>
                </a:ext>
              </a:extLst>
            </p:cNvPr>
            <p:cNvSpPr>
              <a:spLocks/>
            </p:cNvSpPr>
            <p:nvPr/>
          </p:nvSpPr>
          <p:spPr bwMode="auto">
            <a:xfrm>
              <a:off x="4355738" y="1959177"/>
              <a:ext cx="4630137" cy="3093736"/>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092" name="矩形: 圆角 1091">
              <a:extLst>
                <a:ext uri="{FF2B5EF4-FFF2-40B4-BE49-F238E27FC236}">
                  <a16:creationId xmlns:a16="http://schemas.microsoft.com/office/drawing/2014/main" id="{3A2A346D-64A0-4D7C-9357-189428DEBCC6}"/>
                </a:ext>
              </a:extLst>
            </p:cNvPr>
            <p:cNvSpPr>
              <a:spLocks noChangeAspect="1"/>
            </p:cNvSpPr>
            <p:nvPr/>
          </p:nvSpPr>
          <p:spPr>
            <a:xfrm>
              <a:off x="4537757" y="2967959"/>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2" name="Rectangle 8">
              <a:extLst>
                <a:ext uri="{FF2B5EF4-FFF2-40B4-BE49-F238E27FC236}">
                  <a16:creationId xmlns:a16="http://schemas.microsoft.com/office/drawing/2014/main" id="{795F2FB1-4108-407F-B036-2EAEC202A805}"/>
                </a:ext>
              </a:extLst>
            </p:cNvPr>
            <p:cNvSpPr>
              <a:spLocks noChangeArrowheads="1"/>
            </p:cNvSpPr>
            <p:nvPr/>
          </p:nvSpPr>
          <p:spPr bwMode="auto">
            <a:xfrm>
              <a:off x="4537760" y="2305823"/>
              <a:ext cx="4293867" cy="401176"/>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3" name="Rectangle 9">
              <a:extLst>
                <a:ext uri="{FF2B5EF4-FFF2-40B4-BE49-F238E27FC236}">
                  <a16:creationId xmlns:a16="http://schemas.microsoft.com/office/drawing/2014/main" id="{FAC73EC9-CB85-4FC7-82FF-A7427177F2F8}"/>
                </a:ext>
              </a:extLst>
            </p:cNvPr>
            <p:cNvSpPr>
              <a:spLocks noChangeArrowheads="1"/>
            </p:cNvSpPr>
            <p:nvPr/>
          </p:nvSpPr>
          <p:spPr bwMode="auto">
            <a:xfrm>
              <a:off x="4537760" y="2305823"/>
              <a:ext cx="4293867" cy="233694"/>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4" name="Oval 14">
              <a:extLst>
                <a:ext uri="{FF2B5EF4-FFF2-40B4-BE49-F238E27FC236}">
                  <a16:creationId xmlns:a16="http://schemas.microsoft.com/office/drawing/2014/main" id="{F65FB675-16E4-453F-84A9-3127E2E0653E}"/>
                </a:ext>
              </a:extLst>
            </p:cNvPr>
            <p:cNvSpPr>
              <a:spLocks noChangeArrowheads="1"/>
            </p:cNvSpPr>
            <p:nvPr/>
          </p:nvSpPr>
          <p:spPr bwMode="auto">
            <a:xfrm>
              <a:off x="5016364" y="2138342"/>
              <a:ext cx="78918"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5">
              <a:extLst>
                <a:ext uri="{FF2B5EF4-FFF2-40B4-BE49-F238E27FC236}">
                  <a16:creationId xmlns:a16="http://schemas.microsoft.com/office/drawing/2014/main" id="{DD3E21B5-B971-448C-989F-4965A0978D04}"/>
                </a:ext>
              </a:extLst>
            </p:cNvPr>
            <p:cNvSpPr>
              <a:spLocks noChangeArrowheads="1"/>
            </p:cNvSpPr>
            <p:nvPr/>
          </p:nvSpPr>
          <p:spPr bwMode="auto">
            <a:xfrm>
              <a:off x="5155108"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6" name="Oval 16">
              <a:extLst>
                <a:ext uri="{FF2B5EF4-FFF2-40B4-BE49-F238E27FC236}">
                  <a16:creationId xmlns:a16="http://schemas.microsoft.com/office/drawing/2014/main" id="{7F70320F-CFB0-46CE-B0CB-765F25CC79E1}"/>
                </a:ext>
              </a:extLst>
            </p:cNvPr>
            <p:cNvSpPr>
              <a:spLocks noChangeArrowheads="1"/>
            </p:cNvSpPr>
            <p:nvPr/>
          </p:nvSpPr>
          <p:spPr bwMode="auto">
            <a:xfrm>
              <a:off x="5293852"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8" name="Freeform 18">
              <a:extLst>
                <a:ext uri="{FF2B5EF4-FFF2-40B4-BE49-F238E27FC236}">
                  <a16:creationId xmlns:a16="http://schemas.microsoft.com/office/drawing/2014/main" id="{06C97715-B4C3-41BA-BCBA-D4F078BE20EB}"/>
                </a:ext>
              </a:extLst>
            </p:cNvPr>
            <p:cNvSpPr>
              <a:spLocks/>
            </p:cNvSpPr>
            <p:nvPr/>
          </p:nvSpPr>
          <p:spPr bwMode="auto">
            <a:xfrm>
              <a:off x="5604436" y="2349966"/>
              <a:ext cx="669536" cy="211624"/>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9" name="Rectangle 19">
              <a:extLst>
                <a:ext uri="{FF2B5EF4-FFF2-40B4-BE49-F238E27FC236}">
                  <a16:creationId xmlns:a16="http://schemas.microsoft.com/office/drawing/2014/main" id="{3FE38F1D-2F74-447A-9229-7248475B55ED}"/>
                </a:ext>
              </a:extLst>
            </p:cNvPr>
            <p:cNvSpPr>
              <a:spLocks noChangeArrowheads="1"/>
            </p:cNvSpPr>
            <p:nvPr/>
          </p:nvSpPr>
          <p:spPr bwMode="auto">
            <a:xfrm>
              <a:off x="5766092" y="2423969"/>
              <a:ext cx="323313" cy="63617"/>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0" name="Freeform 20">
              <a:extLst>
                <a:ext uri="{FF2B5EF4-FFF2-40B4-BE49-F238E27FC236}">
                  <a16:creationId xmlns:a16="http://schemas.microsoft.com/office/drawing/2014/main" id="{59FB75A4-6A40-4880-A7F8-5852FF741217}"/>
                </a:ext>
              </a:extLst>
            </p:cNvPr>
            <p:cNvSpPr>
              <a:spLocks/>
            </p:cNvSpPr>
            <p:nvPr/>
          </p:nvSpPr>
          <p:spPr bwMode="auto">
            <a:xfrm>
              <a:off x="4974358" y="2405792"/>
              <a:ext cx="308037" cy="63617"/>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1" name="Freeform 21">
              <a:extLst>
                <a:ext uri="{FF2B5EF4-FFF2-40B4-BE49-F238E27FC236}">
                  <a16:creationId xmlns:a16="http://schemas.microsoft.com/office/drawing/2014/main" id="{E139472C-0020-4EA9-82FF-4CE53DFDB91B}"/>
                </a:ext>
              </a:extLst>
            </p:cNvPr>
            <p:cNvSpPr>
              <a:spLocks/>
            </p:cNvSpPr>
            <p:nvPr/>
          </p:nvSpPr>
          <p:spPr bwMode="auto">
            <a:xfrm>
              <a:off x="653491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2">
              <a:extLst>
                <a:ext uri="{FF2B5EF4-FFF2-40B4-BE49-F238E27FC236}">
                  <a16:creationId xmlns:a16="http://schemas.microsoft.com/office/drawing/2014/main" id="{27617993-F16B-4E93-95CA-E1BE3120C21F}"/>
                </a:ext>
              </a:extLst>
            </p:cNvPr>
            <p:cNvSpPr>
              <a:spLocks/>
            </p:cNvSpPr>
            <p:nvPr/>
          </p:nvSpPr>
          <p:spPr bwMode="auto">
            <a:xfrm>
              <a:off x="711789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3">
              <a:extLst>
                <a:ext uri="{FF2B5EF4-FFF2-40B4-BE49-F238E27FC236}">
                  <a16:creationId xmlns:a16="http://schemas.microsoft.com/office/drawing/2014/main" id="{69FD1E44-430C-4F82-BCBB-E6FB7DC74782}"/>
                </a:ext>
              </a:extLst>
            </p:cNvPr>
            <p:cNvSpPr>
              <a:spLocks/>
            </p:cNvSpPr>
            <p:nvPr/>
          </p:nvSpPr>
          <p:spPr bwMode="auto">
            <a:xfrm>
              <a:off x="7700875" y="2405792"/>
              <a:ext cx="306765" cy="63617"/>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6" name="任意多边形: 形状 1105">
              <a:extLst>
                <a:ext uri="{FF2B5EF4-FFF2-40B4-BE49-F238E27FC236}">
                  <a16:creationId xmlns:a16="http://schemas.microsoft.com/office/drawing/2014/main" id="{A138CBCE-9F42-49A3-BE88-2D66367E5DD9}"/>
                </a:ext>
              </a:extLst>
            </p:cNvPr>
            <p:cNvSpPr>
              <a:spLocks/>
            </p:cNvSpPr>
            <p:nvPr/>
          </p:nvSpPr>
          <p:spPr>
            <a:xfrm>
              <a:off x="4537757" y="3442511"/>
              <a:ext cx="697541" cy="205836"/>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07" name="组合 1106">
              <a:extLst>
                <a:ext uri="{FF2B5EF4-FFF2-40B4-BE49-F238E27FC236}">
                  <a16:creationId xmlns:a16="http://schemas.microsoft.com/office/drawing/2014/main" id="{D0A53F62-7EC8-4EC8-95AD-0768F498C341}"/>
                </a:ext>
              </a:extLst>
            </p:cNvPr>
            <p:cNvGrpSpPr/>
            <p:nvPr/>
          </p:nvGrpSpPr>
          <p:grpSpPr>
            <a:xfrm>
              <a:off x="4594421" y="3700293"/>
              <a:ext cx="584212" cy="81394"/>
              <a:chOff x="890763" y="3168433"/>
              <a:chExt cx="1107466" cy="151273"/>
            </a:xfrm>
          </p:grpSpPr>
          <p:grpSp>
            <p:nvGrpSpPr>
              <p:cNvPr id="1108" name="组合 1107">
                <a:extLst>
                  <a:ext uri="{FF2B5EF4-FFF2-40B4-BE49-F238E27FC236}">
                    <a16:creationId xmlns:a16="http://schemas.microsoft.com/office/drawing/2014/main" id="{A5A0F9C8-0652-41EF-B223-D59CB4B5304E}"/>
                  </a:ext>
                </a:extLst>
              </p:cNvPr>
              <p:cNvGrpSpPr/>
              <p:nvPr/>
            </p:nvGrpSpPr>
            <p:grpSpPr>
              <a:xfrm>
                <a:off x="890763" y="3168433"/>
                <a:ext cx="288000" cy="151273"/>
                <a:chOff x="890763" y="3187237"/>
                <a:chExt cx="288000" cy="151273"/>
              </a:xfrm>
            </p:grpSpPr>
            <p:sp>
              <p:nvSpPr>
                <p:cNvPr id="1115" name="矩形 1114">
                  <a:extLst>
                    <a:ext uri="{FF2B5EF4-FFF2-40B4-BE49-F238E27FC236}">
                      <a16:creationId xmlns:a16="http://schemas.microsoft.com/office/drawing/2014/main" id="{602858E2-E07B-4103-91F1-8339BB8CB407}"/>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6" name="矩形 1115">
                  <a:extLst>
                    <a:ext uri="{FF2B5EF4-FFF2-40B4-BE49-F238E27FC236}">
                      <a16:creationId xmlns:a16="http://schemas.microsoft.com/office/drawing/2014/main" id="{2BE97B6F-56B1-4F66-8A28-DB0ACCE1F238}"/>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09" name="组合 1108">
                <a:extLst>
                  <a:ext uri="{FF2B5EF4-FFF2-40B4-BE49-F238E27FC236}">
                    <a16:creationId xmlns:a16="http://schemas.microsoft.com/office/drawing/2014/main" id="{6FBB44BF-2DC9-4274-B3BE-14F8D101FF12}"/>
                  </a:ext>
                </a:extLst>
              </p:cNvPr>
              <p:cNvGrpSpPr/>
              <p:nvPr/>
            </p:nvGrpSpPr>
            <p:grpSpPr>
              <a:xfrm>
                <a:off x="1300496" y="3168433"/>
                <a:ext cx="288000" cy="151273"/>
                <a:chOff x="890763" y="3187237"/>
                <a:chExt cx="288000" cy="151273"/>
              </a:xfrm>
            </p:grpSpPr>
            <p:sp>
              <p:nvSpPr>
                <p:cNvPr id="1113" name="矩形 1112">
                  <a:extLst>
                    <a:ext uri="{FF2B5EF4-FFF2-40B4-BE49-F238E27FC236}">
                      <a16:creationId xmlns:a16="http://schemas.microsoft.com/office/drawing/2014/main" id="{D0A543CC-1E59-4E7A-9FD4-ED7F5136454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4" name="矩形 1113">
                  <a:extLst>
                    <a:ext uri="{FF2B5EF4-FFF2-40B4-BE49-F238E27FC236}">
                      <a16:creationId xmlns:a16="http://schemas.microsoft.com/office/drawing/2014/main" id="{53ECCFBC-67A4-438C-A658-28933614D5BE}"/>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10" name="组合 1109">
                <a:extLst>
                  <a:ext uri="{FF2B5EF4-FFF2-40B4-BE49-F238E27FC236}">
                    <a16:creationId xmlns:a16="http://schemas.microsoft.com/office/drawing/2014/main" id="{1950F0DF-636E-4C20-8A39-A590932B09C9}"/>
                  </a:ext>
                </a:extLst>
              </p:cNvPr>
              <p:cNvGrpSpPr/>
              <p:nvPr/>
            </p:nvGrpSpPr>
            <p:grpSpPr>
              <a:xfrm>
                <a:off x="1710229" y="3168433"/>
                <a:ext cx="288000" cy="151273"/>
                <a:chOff x="890763" y="3187237"/>
                <a:chExt cx="288000" cy="151273"/>
              </a:xfrm>
            </p:grpSpPr>
            <p:sp>
              <p:nvSpPr>
                <p:cNvPr id="1111" name="矩形 1110">
                  <a:extLst>
                    <a:ext uri="{FF2B5EF4-FFF2-40B4-BE49-F238E27FC236}">
                      <a16:creationId xmlns:a16="http://schemas.microsoft.com/office/drawing/2014/main" id="{A155807A-CF95-403F-ACF9-0CB0E279FCC3}"/>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2" name="矩形 1111">
                  <a:extLst>
                    <a:ext uri="{FF2B5EF4-FFF2-40B4-BE49-F238E27FC236}">
                      <a16:creationId xmlns:a16="http://schemas.microsoft.com/office/drawing/2014/main" id="{375E0330-DAA0-480C-BA10-A421C0F2D7CC}"/>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1105" name="矩形: 圆角 1104">
              <a:extLst>
                <a:ext uri="{FF2B5EF4-FFF2-40B4-BE49-F238E27FC236}">
                  <a16:creationId xmlns:a16="http://schemas.microsoft.com/office/drawing/2014/main" id="{5ADAA714-B77B-4CA9-BA00-89F03E8DDAE8}"/>
                </a:ext>
              </a:extLst>
            </p:cNvPr>
            <p:cNvSpPr>
              <a:spLocks noChangeAspect="1"/>
            </p:cNvSpPr>
            <p:nvPr/>
          </p:nvSpPr>
          <p:spPr>
            <a:xfrm>
              <a:off x="4537757" y="3442511"/>
              <a:ext cx="697541" cy="400205"/>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22" name="组合 1121">
              <a:extLst>
                <a:ext uri="{FF2B5EF4-FFF2-40B4-BE49-F238E27FC236}">
                  <a16:creationId xmlns:a16="http://schemas.microsoft.com/office/drawing/2014/main" id="{9E6E783D-953A-4023-996B-329ABEE00C08}"/>
                </a:ext>
              </a:extLst>
            </p:cNvPr>
            <p:cNvGrpSpPr/>
            <p:nvPr/>
          </p:nvGrpSpPr>
          <p:grpSpPr>
            <a:xfrm>
              <a:off x="5661334" y="3313021"/>
              <a:ext cx="2861662" cy="1318925"/>
              <a:chOff x="890763" y="2819277"/>
              <a:chExt cx="1107467" cy="500429"/>
            </a:xfrm>
          </p:grpSpPr>
          <p:grpSp>
            <p:nvGrpSpPr>
              <p:cNvPr id="1123" name="组合 1122">
                <a:extLst>
                  <a:ext uri="{FF2B5EF4-FFF2-40B4-BE49-F238E27FC236}">
                    <a16:creationId xmlns:a16="http://schemas.microsoft.com/office/drawing/2014/main" id="{7A654AB9-A15A-45E1-B556-4C0C59300B7D}"/>
                  </a:ext>
                </a:extLst>
              </p:cNvPr>
              <p:cNvGrpSpPr/>
              <p:nvPr/>
            </p:nvGrpSpPr>
            <p:grpSpPr>
              <a:xfrm>
                <a:off x="890763" y="2819277"/>
                <a:ext cx="1107467" cy="500429"/>
                <a:chOff x="890763" y="2838081"/>
                <a:chExt cx="1107467" cy="500429"/>
              </a:xfrm>
            </p:grpSpPr>
            <p:sp>
              <p:nvSpPr>
                <p:cNvPr id="1130" name="矩形 1129">
                  <a:extLst>
                    <a:ext uri="{FF2B5EF4-FFF2-40B4-BE49-F238E27FC236}">
                      <a16:creationId xmlns:a16="http://schemas.microsoft.com/office/drawing/2014/main" id="{4331E087-73F3-40AD-B97E-31C8A67EF143}"/>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1" name="矩形 1130">
                  <a:extLst>
                    <a:ext uri="{FF2B5EF4-FFF2-40B4-BE49-F238E27FC236}">
                      <a16:creationId xmlns:a16="http://schemas.microsoft.com/office/drawing/2014/main" id="{1ED8F3BF-52DC-4B14-A264-67C3CD84F2A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2" name="矩形 1131">
                  <a:extLst>
                    <a:ext uri="{FF2B5EF4-FFF2-40B4-BE49-F238E27FC236}">
                      <a16:creationId xmlns:a16="http://schemas.microsoft.com/office/drawing/2014/main" id="{2D9A077E-09F8-4C75-82D1-571C10ED9061}"/>
                    </a:ext>
                  </a:extLst>
                </p:cNvPr>
                <p:cNvSpPr/>
                <p:nvPr/>
              </p:nvSpPr>
              <p:spPr>
                <a:xfrm>
                  <a:off x="1134834" y="2838081"/>
                  <a:ext cx="619325"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3" name="矩形 1132">
                  <a:extLst>
                    <a:ext uri="{FF2B5EF4-FFF2-40B4-BE49-F238E27FC236}">
                      <a16:creationId xmlns:a16="http://schemas.microsoft.com/office/drawing/2014/main" id="{6F6F8248-8A85-4F12-B208-2FC76B2A096C}"/>
                    </a:ext>
                  </a:extLst>
                </p:cNvPr>
                <p:cNvSpPr/>
                <p:nvPr/>
              </p:nvSpPr>
              <p:spPr>
                <a:xfrm>
                  <a:off x="890763" y="2935354"/>
                  <a:ext cx="1107467"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4" name="组合 1123">
                <a:extLst>
                  <a:ext uri="{FF2B5EF4-FFF2-40B4-BE49-F238E27FC236}">
                    <a16:creationId xmlns:a16="http://schemas.microsoft.com/office/drawing/2014/main" id="{E1EE6C0C-7722-4415-9A98-42B7AC8ADB91}"/>
                  </a:ext>
                </a:extLst>
              </p:cNvPr>
              <p:cNvGrpSpPr/>
              <p:nvPr/>
            </p:nvGrpSpPr>
            <p:grpSpPr>
              <a:xfrm>
                <a:off x="1300496" y="3168433"/>
                <a:ext cx="288000" cy="151273"/>
                <a:chOff x="890763" y="3187237"/>
                <a:chExt cx="288000" cy="151273"/>
              </a:xfrm>
            </p:grpSpPr>
            <p:sp>
              <p:nvSpPr>
                <p:cNvPr id="1128" name="矩形 1127">
                  <a:extLst>
                    <a:ext uri="{FF2B5EF4-FFF2-40B4-BE49-F238E27FC236}">
                      <a16:creationId xmlns:a16="http://schemas.microsoft.com/office/drawing/2014/main" id="{EE85E310-6383-4A33-9839-1080AB048D39}"/>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9" name="矩形 1128">
                  <a:extLst>
                    <a:ext uri="{FF2B5EF4-FFF2-40B4-BE49-F238E27FC236}">
                      <a16:creationId xmlns:a16="http://schemas.microsoft.com/office/drawing/2014/main" id="{92A8C4BC-E581-4771-8564-C41486B27EDC}"/>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5" name="组合 1124">
                <a:extLst>
                  <a:ext uri="{FF2B5EF4-FFF2-40B4-BE49-F238E27FC236}">
                    <a16:creationId xmlns:a16="http://schemas.microsoft.com/office/drawing/2014/main" id="{1E09A5A0-1198-49B9-91F7-683A4D269955}"/>
                  </a:ext>
                </a:extLst>
              </p:cNvPr>
              <p:cNvGrpSpPr/>
              <p:nvPr/>
            </p:nvGrpSpPr>
            <p:grpSpPr>
              <a:xfrm>
                <a:off x="1710229" y="3168433"/>
                <a:ext cx="288000" cy="151273"/>
                <a:chOff x="890763" y="3187237"/>
                <a:chExt cx="288000" cy="151273"/>
              </a:xfrm>
            </p:grpSpPr>
            <p:sp>
              <p:nvSpPr>
                <p:cNvPr id="1126" name="矩形 1125">
                  <a:extLst>
                    <a:ext uri="{FF2B5EF4-FFF2-40B4-BE49-F238E27FC236}">
                      <a16:creationId xmlns:a16="http://schemas.microsoft.com/office/drawing/2014/main" id="{EB6719D3-6DDD-45CA-9401-20D42A145160}"/>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7" name="矩形 1126">
                  <a:extLst>
                    <a:ext uri="{FF2B5EF4-FFF2-40B4-BE49-F238E27FC236}">
                      <a16:creationId xmlns:a16="http://schemas.microsoft.com/office/drawing/2014/main" id="{3346F224-F564-4731-8D85-DE34A7D4D1B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31" name="组合 30">
              <a:extLst>
                <a:ext uri="{FF2B5EF4-FFF2-40B4-BE49-F238E27FC236}">
                  <a16:creationId xmlns:a16="http://schemas.microsoft.com/office/drawing/2014/main" id="{170293B6-FA82-4064-B08C-0806B8D56359}"/>
                </a:ext>
              </a:extLst>
            </p:cNvPr>
            <p:cNvGrpSpPr>
              <a:grpSpLocks/>
            </p:cNvGrpSpPr>
            <p:nvPr/>
          </p:nvGrpSpPr>
          <p:grpSpPr>
            <a:xfrm>
              <a:off x="4594421" y="3512445"/>
              <a:ext cx="584213" cy="81394"/>
              <a:chOff x="4267627" y="3525007"/>
              <a:chExt cx="584213" cy="96039"/>
            </a:xfrm>
          </p:grpSpPr>
          <p:sp>
            <p:nvSpPr>
              <p:cNvPr id="1160" name="矩形 1159">
                <a:extLst>
                  <a:ext uri="{FF2B5EF4-FFF2-40B4-BE49-F238E27FC236}">
                    <a16:creationId xmlns:a16="http://schemas.microsoft.com/office/drawing/2014/main" id="{72B68B0F-9CBE-473C-B0F3-F80233567427}"/>
                  </a:ext>
                </a:extLst>
              </p:cNvPr>
              <p:cNvSpPr/>
              <p:nvPr/>
            </p:nvSpPr>
            <p:spPr>
              <a:xfrm>
                <a:off x="4396380" y="3525007"/>
                <a:ext cx="326707"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1" name="矩形 1160">
                <a:extLst>
                  <a:ext uri="{FF2B5EF4-FFF2-40B4-BE49-F238E27FC236}">
                    <a16:creationId xmlns:a16="http://schemas.microsoft.com/office/drawing/2014/main" id="{EA664DAD-6074-4BDF-950A-DC4E838A18A5}"/>
                  </a:ext>
                </a:extLst>
              </p:cNvPr>
              <p:cNvSpPr/>
              <p:nvPr/>
            </p:nvSpPr>
            <p:spPr>
              <a:xfrm>
                <a:off x="4267627" y="3586763"/>
                <a:ext cx="584213"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92" name="矩形: 圆角 1191">
              <a:extLst>
                <a:ext uri="{FF2B5EF4-FFF2-40B4-BE49-F238E27FC236}">
                  <a16:creationId xmlns:a16="http://schemas.microsoft.com/office/drawing/2014/main" id="{BA981F9A-9DAF-4D3F-98EF-64790A2A9ACE}"/>
                </a:ext>
              </a:extLst>
            </p:cNvPr>
            <p:cNvSpPr>
              <a:spLocks noChangeAspect="1"/>
            </p:cNvSpPr>
            <p:nvPr/>
          </p:nvSpPr>
          <p:spPr>
            <a:xfrm>
              <a:off x="4537757" y="3917063"/>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3" name="矩形: 圆角 1192">
              <a:extLst>
                <a:ext uri="{FF2B5EF4-FFF2-40B4-BE49-F238E27FC236}">
                  <a16:creationId xmlns:a16="http://schemas.microsoft.com/office/drawing/2014/main" id="{45DBE396-CD6F-4032-A8DF-9AD6392A9FD3}"/>
                </a:ext>
              </a:extLst>
            </p:cNvPr>
            <p:cNvSpPr>
              <a:spLocks noChangeAspect="1"/>
            </p:cNvSpPr>
            <p:nvPr/>
          </p:nvSpPr>
          <p:spPr>
            <a:xfrm>
              <a:off x="4537757" y="4391615"/>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8" name="任意多边形: 形状 1197">
              <a:extLst>
                <a:ext uri="{FF2B5EF4-FFF2-40B4-BE49-F238E27FC236}">
                  <a16:creationId xmlns:a16="http://schemas.microsoft.com/office/drawing/2014/main" id="{84DDD30D-950B-4F9A-8A49-735AE8AC0AFD}"/>
                </a:ext>
              </a:extLst>
            </p:cNvPr>
            <p:cNvSpPr>
              <a:spLocks noChangeAspect="1"/>
            </p:cNvSpPr>
            <p:nvPr/>
          </p:nvSpPr>
          <p:spPr>
            <a:xfrm>
              <a:off x="5383774" y="2967959"/>
              <a:ext cx="3416779" cy="1013353"/>
            </a:xfrm>
            <a:custGeom>
              <a:avLst/>
              <a:gdLst>
                <a:gd name="connsiteX0" fmla="*/ 55458 w 3416779"/>
                <a:gd name="connsiteY0" fmla="*/ 0 h 1013353"/>
                <a:gd name="connsiteX1" fmla="*/ 3361321 w 3416779"/>
                <a:gd name="connsiteY1" fmla="*/ 0 h 1013353"/>
                <a:gd name="connsiteX2" fmla="*/ 3416779 w 3416779"/>
                <a:gd name="connsiteY2" fmla="*/ 55458 h 1013353"/>
                <a:gd name="connsiteX3" fmla="*/ 3416779 w 3416779"/>
                <a:gd name="connsiteY3" fmla="*/ 1013353 h 1013353"/>
                <a:gd name="connsiteX4" fmla="*/ 0 w 3416779"/>
                <a:gd name="connsiteY4" fmla="*/ 1013353 h 1013353"/>
                <a:gd name="connsiteX5" fmla="*/ 0 w 3416779"/>
                <a:gd name="connsiteY5" fmla="*/ 55458 h 1013353"/>
                <a:gd name="connsiteX6" fmla="*/ 55458 w 3416779"/>
                <a:gd name="connsiteY6" fmla="*/ 0 h 101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6779" h="1013353">
                  <a:moveTo>
                    <a:pt x="55458" y="0"/>
                  </a:moveTo>
                  <a:lnTo>
                    <a:pt x="3361321" y="0"/>
                  </a:lnTo>
                  <a:cubicBezTo>
                    <a:pt x="3391950" y="0"/>
                    <a:pt x="3416779" y="24829"/>
                    <a:pt x="3416779" y="55458"/>
                  </a:cubicBezTo>
                  <a:lnTo>
                    <a:pt x="3416779" y="1013353"/>
                  </a:lnTo>
                  <a:lnTo>
                    <a:pt x="0" y="1013353"/>
                  </a:lnTo>
                  <a:lnTo>
                    <a:pt x="0" y="55458"/>
                  </a:lnTo>
                  <a:cubicBezTo>
                    <a:pt x="0" y="24829"/>
                    <a:pt x="24829" y="0"/>
                    <a:pt x="55458" y="0"/>
                  </a:cubicBezTo>
                  <a:close/>
                </a:path>
              </a:pathLst>
            </a:custGeom>
            <a:solidFill>
              <a:srgbClr val="F0EEF2"/>
            </a:solidFill>
            <a:ln w="25400">
              <a:gradFill>
                <a:gsLst>
                  <a:gs pos="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96" name="组合 195">
              <a:extLst>
                <a:ext uri="{FF2B5EF4-FFF2-40B4-BE49-F238E27FC236}">
                  <a16:creationId xmlns:a16="http://schemas.microsoft.com/office/drawing/2014/main" id="{AC643BCA-3BB0-4B9D-81A0-6C5B84A1F99C}"/>
                </a:ext>
              </a:extLst>
            </p:cNvPr>
            <p:cNvGrpSpPr/>
            <p:nvPr/>
          </p:nvGrpSpPr>
          <p:grpSpPr>
            <a:xfrm>
              <a:off x="5661334" y="3276855"/>
              <a:ext cx="2839176" cy="395561"/>
              <a:chOff x="6607371" y="3447302"/>
              <a:chExt cx="584213" cy="81394"/>
            </a:xfrm>
          </p:grpSpPr>
          <p:sp>
            <p:nvSpPr>
              <p:cNvPr id="1201" name="矩形 1200">
                <a:extLst>
                  <a:ext uri="{FF2B5EF4-FFF2-40B4-BE49-F238E27FC236}">
                    <a16:creationId xmlns:a16="http://schemas.microsoft.com/office/drawing/2014/main" id="{D91D9877-7543-4F08-B43F-0DFFE662E9E6}"/>
                  </a:ext>
                </a:extLst>
              </p:cNvPr>
              <p:cNvSpPr/>
              <p:nvPr/>
            </p:nvSpPr>
            <p:spPr>
              <a:xfrm>
                <a:off x="6736124" y="3447302"/>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2" name="矩形 1201">
                <a:extLst>
                  <a:ext uri="{FF2B5EF4-FFF2-40B4-BE49-F238E27FC236}">
                    <a16:creationId xmlns:a16="http://schemas.microsoft.com/office/drawing/2014/main" id="{32B0D4B6-D829-4A3C-8060-DAAC08AA4483}"/>
                  </a:ext>
                </a:extLst>
              </p:cNvPr>
              <p:cNvSpPr/>
              <p:nvPr/>
            </p:nvSpPr>
            <p:spPr>
              <a:xfrm>
                <a:off x="6607371" y="3499641"/>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08" name="矩形: 圆角 1207">
              <a:extLst>
                <a:ext uri="{FF2B5EF4-FFF2-40B4-BE49-F238E27FC236}">
                  <a16:creationId xmlns:a16="http://schemas.microsoft.com/office/drawing/2014/main" id="{9C7A5DC9-080D-48A1-9895-7D9FDBEF81A3}"/>
                </a:ext>
              </a:extLst>
            </p:cNvPr>
            <p:cNvSpPr>
              <a:spLocks noChangeAspect="1"/>
            </p:cNvSpPr>
            <p:nvPr/>
          </p:nvSpPr>
          <p:spPr>
            <a:xfrm>
              <a:off x="4537757" y="4864702"/>
              <a:ext cx="697541" cy="164498"/>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5" name="矩形: 圆角 1194">
              <a:extLst>
                <a:ext uri="{FF2B5EF4-FFF2-40B4-BE49-F238E27FC236}">
                  <a16:creationId xmlns:a16="http://schemas.microsoft.com/office/drawing/2014/main" id="{58D625B9-C935-4337-BA60-59145751AA0F}"/>
                </a:ext>
              </a:extLst>
            </p:cNvPr>
            <p:cNvSpPr>
              <a:spLocks noChangeAspect="1"/>
            </p:cNvSpPr>
            <p:nvPr/>
          </p:nvSpPr>
          <p:spPr>
            <a:xfrm>
              <a:off x="5383774" y="2967958"/>
              <a:ext cx="3416779" cy="1960332"/>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142" name="标题 1">
            <a:extLst>
              <a:ext uri="{FF2B5EF4-FFF2-40B4-BE49-F238E27FC236}">
                <a16:creationId xmlns:a16="http://schemas.microsoft.com/office/drawing/2014/main" id="{B167232B-C94B-4B55-9BB9-3932D3048E90}"/>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快速</a:t>
            </a:r>
            <a:r>
              <a:rPr lang="zh-CN" altLang="en-US" sz="2800" b="1"/>
              <a:t>设计页</a:t>
            </a:r>
            <a:r>
              <a:rPr lang="zh-CN" altLang="en-US" sz="100" b="1"/>
              <a:t> </a:t>
            </a:r>
            <a:r>
              <a:rPr lang="zh-CN" altLang="en-US" sz="2800" b="1"/>
              <a:t>面  </a:t>
            </a:r>
            <a:r>
              <a:rPr lang="en-US" altLang="zh-CN" sz="2800" b="1" dirty="0"/>
              <a:t>Quick Slides Design</a:t>
            </a:r>
            <a:endParaRPr lang="zh-CN" altLang="en-US" sz="2800" b="1" dirty="0"/>
          </a:p>
        </p:txBody>
      </p:sp>
      <p:grpSp>
        <p:nvGrpSpPr>
          <p:cNvPr id="7" name="组合 6">
            <a:extLst>
              <a:ext uri="{FF2B5EF4-FFF2-40B4-BE49-F238E27FC236}">
                <a16:creationId xmlns:a16="http://schemas.microsoft.com/office/drawing/2014/main" id="{1F9F365A-2C24-41FD-B002-CB59D5D24B1C}"/>
              </a:ext>
            </a:extLst>
          </p:cNvPr>
          <p:cNvGrpSpPr/>
          <p:nvPr/>
        </p:nvGrpSpPr>
        <p:grpSpPr>
          <a:xfrm>
            <a:off x="2402783" y="3675081"/>
            <a:ext cx="990824" cy="138044"/>
            <a:chOff x="4746821" y="3664845"/>
            <a:chExt cx="584213" cy="81394"/>
          </a:xfrm>
        </p:grpSpPr>
        <p:sp>
          <p:nvSpPr>
            <p:cNvPr id="4" name="矩形 3">
              <a:extLst>
                <a:ext uri="{FF2B5EF4-FFF2-40B4-BE49-F238E27FC236}">
                  <a16:creationId xmlns:a16="http://schemas.microsoft.com/office/drawing/2014/main" id="{AB1FAD69-4D08-4E64-9C63-16E13C313BBE}"/>
                </a:ext>
              </a:extLst>
            </p:cNvPr>
            <p:cNvSpPr/>
            <p:nvPr/>
          </p:nvSpPr>
          <p:spPr>
            <a:xfrm>
              <a:off x="4875574" y="3664845"/>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AF65DC8F-823A-46D5-9360-28BA88F6A828}"/>
                </a:ext>
              </a:extLst>
            </p:cNvPr>
            <p:cNvSpPr/>
            <p:nvPr/>
          </p:nvSpPr>
          <p:spPr>
            <a:xfrm>
              <a:off x="4746821" y="3717184"/>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矩形 1">
            <a:extLst>
              <a:ext uri="{FF2B5EF4-FFF2-40B4-BE49-F238E27FC236}">
                <a16:creationId xmlns:a16="http://schemas.microsoft.com/office/drawing/2014/main" id="{6D4473A2-7E5A-494A-B9DD-696441DA144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a:t>
            </a:r>
            <a:r>
              <a:rPr lang="zh-CN" altLang="en-US" sz="800">
                <a:solidFill>
                  <a:schemeClr val="bg1"/>
                </a:solidFill>
              </a:rPr>
              <a:t>请删除</a:t>
            </a:r>
            <a:r>
              <a:rPr lang="zh-CN" altLang="en-US" sz="100">
                <a:solidFill>
                  <a:schemeClr val="bg1"/>
                </a:solidFill>
              </a:rPr>
              <a:t> </a:t>
            </a:r>
            <a:r>
              <a:rPr lang="zh-CN" altLang="en-US" sz="800">
                <a:solidFill>
                  <a:schemeClr val="bg1"/>
                </a:solidFill>
              </a:rPr>
              <a:t>本</a:t>
            </a:r>
            <a:r>
              <a:rPr lang="zh-CN" altLang="en-US" sz="800" dirty="0">
                <a:solidFill>
                  <a:schemeClr val="bg1"/>
                </a:solidFill>
              </a:rPr>
              <a:t>页内容。</a:t>
            </a: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39152180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95" name="Rectangle 10">
            <a:extLst>
              <a:ext uri="{FF2B5EF4-FFF2-40B4-BE49-F238E27FC236}">
                <a16:creationId xmlns:a16="http://schemas.microsoft.com/office/drawing/2014/main" id="{EB08811A-69A0-4B03-AD69-4D4093A4A1A1}"/>
              </a:ext>
            </a:extLst>
          </p:cNvPr>
          <p:cNvSpPr>
            <a:spLocks noChangeArrowheads="1"/>
          </p:cNvSpPr>
          <p:nvPr/>
        </p:nvSpPr>
        <p:spPr bwMode="auto">
          <a:xfrm>
            <a:off x="809622" y="2219171"/>
            <a:ext cx="3659316"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5" name="组合 4">
            <a:extLst>
              <a:ext uri="{FF2B5EF4-FFF2-40B4-BE49-F238E27FC236}">
                <a16:creationId xmlns:a16="http://schemas.microsoft.com/office/drawing/2014/main" id="{48A2BA8E-E72F-4AD7-AC03-A69B802AD243}"/>
              </a:ext>
            </a:extLst>
          </p:cNvPr>
          <p:cNvGrpSpPr/>
          <p:nvPr/>
        </p:nvGrpSpPr>
        <p:grpSpPr>
          <a:xfrm>
            <a:off x="660400" y="5387494"/>
            <a:ext cx="3493913" cy="553998"/>
            <a:chOff x="673100" y="5387494"/>
            <a:chExt cx="3493913" cy="553998"/>
          </a:xfrm>
        </p:grpSpPr>
        <p:sp>
          <p:nvSpPr>
            <p:cNvPr id="351" name="文本框 350"/>
            <p:cNvSpPr txBox="1"/>
            <p:nvPr/>
          </p:nvSpPr>
          <p:spPr>
            <a:xfrm>
              <a:off x="994562" y="5387494"/>
              <a:ext cx="3172451" cy="553998"/>
            </a:xfrm>
            <a:prstGeom prst="rect">
              <a:avLst/>
            </a:prstGeom>
            <a:noFill/>
          </p:spPr>
          <p:txBody>
            <a:bodyPr wrap="square" rtlCol="0" anchor="ctr">
              <a:spAutoFit/>
            </a:bodyPr>
            <a:lstStyle/>
            <a:p>
              <a:r>
                <a:rPr lang="zh-CN" altLang="en-US" sz="1000" dirty="0">
                  <a:solidFill>
                    <a:srgbClr val="2F2F2F"/>
                  </a:solidFill>
                </a:rPr>
                <a:t>选中图示中的图标</a:t>
              </a:r>
              <a:endParaRPr lang="en-US" altLang="zh-CN" sz="1000" dirty="0">
                <a:solidFill>
                  <a:srgbClr val="2F2F2F"/>
                </a:solidFill>
              </a:endParaRPr>
            </a:p>
            <a:p>
              <a:r>
                <a:rPr lang="en-US" altLang="zh-CN" sz="1000">
                  <a:solidFill>
                    <a:srgbClr val="2F2F2F"/>
                  </a:solidFill>
                </a:rPr>
                <a:t>Se</a:t>
              </a:r>
              <a:r>
                <a:rPr lang="en-US" altLang="zh-CN" sz="100">
                  <a:solidFill>
                    <a:srgbClr val="2F2F2F"/>
                  </a:solidFill>
                </a:rPr>
                <a:t> </a:t>
              </a:r>
              <a:r>
                <a:rPr lang="en-US" altLang="zh-CN" sz="1000">
                  <a:solidFill>
                    <a:srgbClr val="2F2F2F"/>
                  </a:solidFill>
                </a:rPr>
                <a:t>lect </a:t>
              </a:r>
              <a:r>
                <a:rPr lang="en-US" altLang="zh-CN" sz="1000" dirty="0">
                  <a:solidFill>
                    <a:srgbClr val="2F2F2F"/>
                  </a:solidFill>
                </a:rPr>
                <a:t>the icon that needs to be changed in the diagram</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id="{C18997BC-8A46-4480-BDE2-8A42CE9D6E96}"/>
              </a:ext>
            </a:extLst>
          </p:cNvPr>
          <p:cNvSpPr/>
          <p:nvPr/>
        </p:nvSpPr>
        <p:spPr>
          <a:xfrm>
            <a:off x="4284309"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a16="http://schemas.microsoft.com/office/drawing/2014/main" id="{8AD2200D-CA44-4767-84EF-C1856654B4FA}"/>
              </a:ext>
            </a:extLst>
          </p:cNvPr>
          <p:cNvSpPr txBox="1"/>
          <p:nvPr/>
        </p:nvSpPr>
        <p:spPr>
          <a:xfrm>
            <a:off x="4916703" y="5387481"/>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a:solidFill>
                  <a:srgbClr val="2F2F2F"/>
                </a:solidFill>
              </a:rPr>
              <a:t>图标库</a:t>
            </a:r>
            <a:r>
              <a:rPr lang="zh-CN" altLang="en-US" sz="100">
                <a:solidFill>
                  <a:srgbClr val="2F2F2F"/>
                </a:solidFill>
              </a:rPr>
              <a:t> </a:t>
            </a:r>
            <a:r>
              <a:rPr lang="en-US" altLang="zh-CN" sz="1000">
                <a:solidFill>
                  <a:srgbClr val="2F2F2F"/>
                </a:solidFill>
              </a:rPr>
              <a:t>】</a:t>
            </a:r>
            <a:r>
              <a:rPr lang="zh-CN" altLang="en-US" sz="1000" dirty="0">
                <a:solidFill>
                  <a:srgbClr val="2F2F2F"/>
                </a:solidFill>
              </a:rPr>
              <a:t>中的图标替换</a:t>
            </a:r>
            <a:endParaRPr lang="en-US" altLang="zh-CN" sz="1000" dirty="0">
              <a:solidFill>
                <a:srgbClr val="2F2F2F"/>
              </a:solidFill>
            </a:endParaRPr>
          </a:p>
          <a:p>
            <a:r>
              <a:rPr lang="en-US" altLang="zh-CN" sz="1000" dirty="0">
                <a:solidFill>
                  <a:srgbClr val="2F2F2F"/>
                </a:solidFill>
              </a:rPr>
              <a:t>Click the target icon in iSlide “Icon Library” to replace it</a:t>
            </a:r>
            <a:endParaRPr lang="zh-CN" altLang="en-US" sz="1000" dirty="0">
              <a:solidFill>
                <a:srgbClr val="2F2F2F"/>
              </a:solidFill>
            </a:endParaRPr>
          </a:p>
        </p:txBody>
      </p:sp>
      <p:sp>
        <p:nvSpPr>
          <p:cNvPr id="614" name="椭圆 613">
            <a:extLst>
              <a:ext uri="{FF2B5EF4-FFF2-40B4-BE49-F238E27FC236}">
                <a16:creationId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id="{262E38B2-0226-44BA-9105-CB532FA15FCA}"/>
              </a:ext>
            </a:extLst>
          </p:cNvPr>
          <p:cNvSpPr/>
          <p:nvPr/>
        </p:nvSpPr>
        <p:spPr>
          <a:xfrm>
            <a:off x="772084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4" name="组合 3">
            <a:extLst>
              <a:ext uri="{FF2B5EF4-FFF2-40B4-BE49-F238E27FC236}">
                <a16:creationId xmlns:a16="http://schemas.microsoft.com/office/drawing/2014/main" id="{A28377A9-9395-4FE8-A752-D85653CA6493}"/>
              </a:ext>
            </a:extLst>
          </p:cNvPr>
          <p:cNvGrpSpPr/>
          <p:nvPr/>
        </p:nvGrpSpPr>
        <p:grpSpPr>
          <a:xfrm>
            <a:off x="8024992" y="5464436"/>
            <a:ext cx="3493908" cy="400110"/>
            <a:chOff x="8024992" y="5464436"/>
            <a:chExt cx="3493908" cy="400110"/>
          </a:xfrm>
        </p:grpSpPr>
        <p:sp>
          <p:nvSpPr>
            <p:cNvPr id="753" name="文本框 752">
              <a:extLst>
                <a:ext uri="{FF2B5EF4-FFF2-40B4-BE49-F238E27FC236}">
                  <a16:creationId xmlns:a16="http://schemas.microsoft.com/office/drawing/2014/main" id="{64E2827D-DD54-493E-8009-F97E8BD7C996}"/>
                </a:ext>
              </a:extLst>
            </p:cNvPr>
            <p:cNvSpPr txBox="1"/>
            <p:nvPr/>
          </p:nvSpPr>
          <p:spPr>
            <a:xfrm>
              <a:off x="8344861" y="5464436"/>
              <a:ext cx="3174039" cy="400110"/>
            </a:xfrm>
            <a:prstGeom prst="rect">
              <a:avLst/>
            </a:prstGeom>
            <a:noFill/>
          </p:spPr>
          <p:txBody>
            <a:bodyPr wrap="square" rtlCol="0" anchor="ctr">
              <a:spAutoFit/>
            </a:bodyPr>
            <a:lstStyle/>
            <a:p>
              <a:r>
                <a:rPr lang="zh-CN" altLang="en-US" sz="1000">
                  <a:solidFill>
                    <a:srgbClr val="2F2F2F"/>
                  </a:solidFill>
                </a:rPr>
                <a:t>替换</a:t>
              </a:r>
              <a:r>
                <a:rPr lang="zh-CN" altLang="en-US" sz="100">
                  <a:solidFill>
                    <a:srgbClr val="2F2F2F"/>
                  </a:solidFill>
                </a:rPr>
                <a:t> </a:t>
              </a:r>
              <a:r>
                <a:rPr lang="zh-CN" altLang="en-US" sz="1000">
                  <a:solidFill>
                    <a:srgbClr val="2F2F2F"/>
                  </a:solidFill>
                </a:rPr>
                <a:t>成功</a:t>
              </a:r>
              <a:endParaRPr lang="en-US" altLang="zh-CN" sz="1000" dirty="0">
                <a:solidFill>
                  <a:srgbClr val="2F2F2F"/>
                </a:solidFill>
              </a:endParaRPr>
            </a:p>
            <a:p>
              <a:r>
                <a:rPr lang="en-US" altLang="zh-CN" sz="1000" dirty="0">
                  <a:solidFill>
                    <a:srgbClr val="2F2F2F"/>
                  </a:solidFill>
                </a:rPr>
                <a:t>Done</a:t>
              </a:r>
            </a:p>
          </p:txBody>
        </p:sp>
        <p:sp>
          <p:nvSpPr>
            <p:cNvPr id="754" name="椭圆 753">
              <a:extLst>
                <a:ext uri="{FF2B5EF4-FFF2-40B4-BE49-F238E27FC236}">
                  <a16:creationId xmlns:a16="http://schemas.microsoft.com/office/drawing/2014/main" id="{2CAE1083-0567-4F35-9DA3-912D7BA86E08}"/>
                </a:ext>
              </a:extLst>
            </p:cNvPr>
            <p:cNvSpPr/>
            <p:nvPr/>
          </p:nvSpPr>
          <p:spPr>
            <a:xfrm>
              <a:off x="8024992"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sp>
        <p:nvSpPr>
          <p:cNvPr id="3" name="标题 1">
            <a:extLst>
              <a:ext uri="{FF2B5EF4-FFF2-40B4-BE49-F238E27FC236}">
                <a16:creationId xmlns:a16="http://schemas.microsoft.com/office/drawing/2014/main" id="{4F84E74D-AA01-4BAE-92D2-C59945F97B6D}"/>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a:t>更改页面</a:t>
            </a:r>
            <a:r>
              <a:rPr lang="zh-CN" altLang="en-US" sz="100" b="1"/>
              <a:t> </a:t>
            </a:r>
            <a:r>
              <a:rPr lang="zh-CN" altLang="en-US" sz="2800" b="1"/>
              <a:t>中</a:t>
            </a:r>
            <a:r>
              <a:rPr lang="zh-CN" altLang="en-US" sz="2800" b="1" dirty="0"/>
              <a:t>的图标  </a:t>
            </a:r>
            <a:r>
              <a:rPr lang="en-US" altLang="zh-CN" sz="2800" b="1" dirty="0"/>
              <a:t>Replace Icons</a:t>
            </a:r>
            <a:endParaRPr lang="zh-CN" altLang="en-US" sz="2800" b="1" dirty="0"/>
          </a:p>
        </p:txBody>
      </p:sp>
      <p:grpSp>
        <p:nvGrpSpPr>
          <p:cNvPr id="22" name="组合 21">
            <a:extLst>
              <a:ext uri="{FF2B5EF4-FFF2-40B4-BE49-F238E27FC236}">
                <a16:creationId xmlns:a16="http://schemas.microsoft.com/office/drawing/2014/main" id="{3A3BC1D5-EA0F-41BB-8F53-59743BD1B38C}"/>
              </a:ext>
            </a:extLst>
          </p:cNvPr>
          <p:cNvGrpSpPr/>
          <p:nvPr/>
        </p:nvGrpSpPr>
        <p:grpSpPr>
          <a:xfrm>
            <a:off x="660400" y="1959178"/>
            <a:ext cx="3493913" cy="2403813"/>
            <a:chOff x="673100" y="1959176"/>
            <a:chExt cx="3493913" cy="2403813"/>
          </a:xfrm>
        </p:grpSpPr>
        <p:grpSp>
          <p:nvGrpSpPr>
            <p:cNvPr id="12" name="组合 11">
              <a:extLst>
                <a:ext uri="{FF2B5EF4-FFF2-40B4-BE49-F238E27FC236}">
                  <a16:creationId xmlns:a16="http://schemas.microsoft.com/office/drawing/2014/main" id="{3D97207B-26E6-494B-A2BE-1E1B9E3E4E18}"/>
                </a:ext>
              </a:extLst>
            </p:cNvPr>
            <p:cNvGrpSpPr/>
            <p:nvPr/>
          </p:nvGrpSpPr>
          <p:grpSpPr>
            <a:xfrm>
              <a:off x="673100" y="1959176"/>
              <a:ext cx="3493913" cy="2403813"/>
              <a:chOff x="673100" y="1959176"/>
              <a:chExt cx="3493913" cy="2403813"/>
            </a:xfrm>
          </p:grpSpPr>
          <p:sp>
            <p:nvSpPr>
              <p:cNvPr id="395" name="Freeform 6">
                <a:extLst>
                  <a:ext uri="{FF2B5EF4-FFF2-40B4-BE49-F238E27FC236}">
                    <a16:creationId xmlns:a16="http://schemas.microsoft.com/office/drawing/2014/main" id="{531F3E12-E1A1-4FB6-BE6F-619A1EB5646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396" name="矩形: 圆角 395">
                <a:extLst>
                  <a:ext uri="{FF2B5EF4-FFF2-40B4-BE49-F238E27FC236}">
                    <a16:creationId xmlns:a16="http://schemas.microsoft.com/office/drawing/2014/main" id="{41C62B95-EC03-4F9F-8BDA-29725A649F10}"/>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397" name="Rectangle 8">
                <a:extLst>
                  <a:ext uri="{FF2B5EF4-FFF2-40B4-BE49-F238E27FC236}">
                    <a16:creationId xmlns:a16="http://schemas.microsoft.com/office/drawing/2014/main" id="{6BC6B2AE-F334-45A7-8DC1-83E254A97646}"/>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Rectangle 9">
                <a:extLst>
                  <a:ext uri="{FF2B5EF4-FFF2-40B4-BE49-F238E27FC236}">
                    <a16:creationId xmlns:a16="http://schemas.microsoft.com/office/drawing/2014/main" id="{68127BC8-69DB-42D5-933C-6C3BB881784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9" name="Oval 14">
                <a:extLst>
                  <a:ext uri="{FF2B5EF4-FFF2-40B4-BE49-F238E27FC236}">
                    <a16:creationId xmlns:a16="http://schemas.microsoft.com/office/drawing/2014/main" id="{560F0ECF-D54D-48C1-99F9-1628B8E529F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0" name="Oval 15">
                <a:extLst>
                  <a:ext uri="{FF2B5EF4-FFF2-40B4-BE49-F238E27FC236}">
                    <a16:creationId xmlns:a16="http://schemas.microsoft.com/office/drawing/2014/main" id="{6561D1AC-5205-4166-B410-F62D7AA3418D}"/>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1" name="Oval 16">
                <a:extLst>
                  <a:ext uri="{FF2B5EF4-FFF2-40B4-BE49-F238E27FC236}">
                    <a16:creationId xmlns:a16="http://schemas.microsoft.com/office/drawing/2014/main" id="{B63B0240-B214-4523-8D02-15FD02022D42}"/>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2" name="Freeform 18">
                <a:extLst>
                  <a:ext uri="{FF2B5EF4-FFF2-40B4-BE49-F238E27FC236}">
                    <a16:creationId xmlns:a16="http://schemas.microsoft.com/office/drawing/2014/main" id="{E270C877-0DE9-4B40-AF0A-2BD4879C8157}"/>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3" name="Rectangle 19">
                <a:extLst>
                  <a:ext uri="{FF2B5EF4-FFF2-40B4-BE49-F238E27FC236}">
                    <a16:creationId xmlns:a16="http://schemas.microsoft.com/office/drawing/2014/main" id="{58C87805-37F6-47C6-99DE-933822F94A81}"/>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4" name="Freeform 20">
                <a:extLst>
                  <a:ext uri="{FF2B5EF4-FFF2-40B4-BE49-F238E27FC236}">
                    <a16:creationId xmlns:a16="http://schemas.microsoft.com/office/drawing/2014/main" id="{1C2469F6-351F-4DF3-BA4D-2D313709F444}"/>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5" name="Freeform 21">
                <a:extLst>
                  <a:ext uri="{FF2B5EF4-FFF2-40B4-BE49-F238E27FC236}">
                    <a16:creationId xmlns:a16="http://schemas.microsoft.com/office/drawing/2014/main" id="{0546D3E7-D879-4A49-9ECB-4376DCE28F9F}"/>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6" name="Freeform 22">
                <a:extLst>
                  <a:ext uri="{FF2B5EF4-FFF2-40B4-BE49-F238E27FC236}">
                    <a16:creationId xmlns:a16="http://schemas.microsoft.com/office/drawing/2014/main" id="{5233617A-97F2-4429-AF9B-F0A6CB363E83}"/>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7" name="Freeform 23">
                <a:extLst>
                  <a:ext uri="{FF2B5EF4-FFF2-40B4-BE49-F238E27FC236}">
                    <a16:creationId xmlns:a16="http://schemas.microsoft.com/office/drawing/2014/main" id="{B378177B-6943-4F4B-8E95-6B7ACB9CAAF5}"/>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 name="矩形: 圆角 412">
                <a:extLst>
                  <a:ext uri="{FF2B5EF4-FFF2-40B4-BE49-F238E27FC236}">
                    <a16:creationId xmlns:a16="http://schemas.microsoft.com/office/drawing/2014/main" id="{A5273A11-4ECF-4BC3-B800-7AB534DFA803}"/>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4" name="矩形: 圆角 413">
                <a:extLst>
                  <a:ext uri="{FF2B5EF4-FFF2-40B4-BE49-F238E27FC236}">
                    <a16:creationId xmlns:a16="http://schemas.microsoft.com/office/drawing/2014/main" id="{E3CF60ED-F7D9-4D1A-9948-5618058A2AC0}"/>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7" name="矩形: 圆角 416">
                <a:extLst>
                  <a:ext uri="{FF2B5EF4-FFF2-40B4-BE49-F238E27FC236}">
                    <a16:creationId xmlns:a16="http://schemas.microsoft.com/office/drawing/2014/main" id="{361B979D-727A-401A-B59B-F2C14D9B30D7}"/>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8" name="矩形: 圆角 417">
                <a:extLst>
                  <a:ext uri="{FF2B5EF4-FFF2-40B4-BE49-F238E27FC236}">
                    <a16:creationId xmlns:a16="http://schemas.microsoft.com/office/drawing/2014/main" id="{93DD38D4-7820-4D39-A810-19710F4E6372}"/>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5" name="矩形: 圆角 134">
                <a:extLst>
                  <a:ext uri="{FF2B5EF4-FFF2-40B4-BE49-F238E27FC236}">
                    <a16:creationId xmlns:a16="http://schemas.microsoft.com/office/drawing/2014/main" id="{D79E55C5-A2DE-4D31-AA8A-1A5CDFEC06DD}"/>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4" name="组合 13">
              <a:extLst>
                <a:ext uri="{FF2B5EF4-FFF2-40B4-BE49-F238E27FC236}">
                  <a16:creationId xmlns:a16="http://schemas.microsoft.com/office/drawing/2014/main" id="{23994454-07E0-4714-A984-4D1D3F716955}"/>
                </a:ext>
              </a:extLst>
            </p:cNvPr>
            <p:cNvGrpSpPr/>
            <p:nvPr/>
          </p:nvGrpSpPr>
          <p:grpSpPr>
            <a:xfrm>
              <a:off x="1625650" y="2998805"/>
              <a:ext cx="2224728" cy="1011538"/>
              <a:chOff x="1625650" y="2998805"/>
              <a:chExt cx="2224728" cy="1011538"/>
            </a:xfrm>
          </p:grpSpPr>
          <p:sp>
            <p:nvSpPr>
              <p:cNvPr id="420" name="矩形 419">
                <a:extLst>
                  <a:ext uri="{FF2B5EF4-FFF2-40B4-BE49-F238E27FC236}">
                    <a16:creationId xmlns:a16="http://schemas.microsoft.com/office/drawing/2014/main" id="{B63E4F93-58FC-4CD9-A34C-1104C0B05951}"/>
                  </a:ext>
                </a:extLst>
              </p:cNvPr>
              <p:cNvSpPr/>
              <p:nvPr/>
            </p:nvSpPr>
            <p:spPr>
              <a:xfrm>
                <a:off x="1658306"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3" name="六边形 442">
                <a:extLst>
                  <a:ext uri="{FF2B5EF4-FFF2-40B4-BE49-F238E27FC236}">
                    <a16:creationId xmlns:a16="http://schemas.microsoft.com/office/drawing/2014/main" id="{45D5F12E-5FA7-4314-9F36-17008F56C1BA}"/>
                  </a:ext>
                </a:extLst>
              </p:cNvPr>
              <p:cNvSpPr/>
              <p:nvPr/>
            </p:nvSpPr>
            <p:spPr>
              <a:xfrm>
                <a:off x="1625650" y="2998805"/>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4" name="六边形 443">
                <a:extLst>
                  <a:ext uri="{FF2B5EF4-FFF2-40B4-BE49-F238E27FC236}">
                    <a16:creationId xmlns:a16="http://schemas.microsoft.com/office/drawing/2014/main" id="{98872168-52C8-4CB0-849C-CFFD8AFAAECE}"/>
                  </a:ext>
                </a:extLst>
              </p:cNvPr>
              <p:cNvSpPr/>
              <p:nvPr/>
            </p:nvSpPr>
            <p:spPr>
              <a:xfrm>
                <a:off x="2121786" y="3264910"/>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445" name="六边形 444">
                <a:extLst>
                  <a:ext uri="{FF2B5EF4-FFF2-40B4-BE49-F238E27FC236}">
                    <a16:creationId xmlns:a16="http://schemas.microsoft.com/office/drawing/2014/main" id="{D1533CD2-D858-4859-B0BA-68DD7361A521}"/>
                  </a:ext>
                </a:extLst>
              </p:cNvPr>
              <p:cNvSpPr/>
              <p:nvPr/>
            </p:nvSpPr>
            <p:spPr>
              <a:xfrm>
                <a:off x="1635531" y="3540559"/>
                <a:ext cx="544952" cy="469784"/>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6" name="矩形 445">
                <a:extLst>
                  <a:ext uri="{FF2B5EF4-FFF2-40B4-BE49-F238E27FC236}">
                    <a16:creationId xmlns:a16="http://schemas.microsoft.com/office/drawing/2014/main" id="{36870D1E-3609-43A4-90AA-F0C0A7F193B6}"/>
                  </a:ext>
                </a:extLst>
              </p:cNvPr>
              <p:cNvSpPr/>
              <p:nvPr/>
            </p:nvSpPr>
            <p:spPr>
              <a:xfrm>
                <a:off x="2840921" y="3226205"/>
                <a:ext cx="1009457"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7" name="矩形 446">
                <a:extLst>
                  <a:ext uri="{FF2B5EF4-FFF2-40B4-BE49-F238E27FC236}">
                    <a16:creationId xmlns:a16="http://schemas.microsoft.com/office/drawing/2014/main" id="{8120700A-212B-4D96-BE36-7DC480D315D8}"/>
                  </a:ext>
                </a:extLst>
              </p:cNvPr>
              <p:cNvSpPr/>
              <p:nvPr/>
            </p:nvSpPr>
            <p:spPr>
              <a:xfrm>
                <a:off x="2840916" y="3443416"/>
                <a:ext cx="884270"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8" name="矩形 447">
                <a:extLst>
                  <a:ext uri="{FF2B5EF4-FFF2-40B4-BE49-F238E27FC236}">
                    <a16:creationId xmlns:a16="http://schemas.microsoft.com/office/drawing/2014/main" id="{62645477-49A9-44F5-8502-6F99449F9544}"/>
                  </a:ext>
                </a:extLst>
              </p:cNvPr>
              <p:cNvSpPr/>
              <p:nvPr/>
            </p:nvSpPr>
            <p:spPr>
              <a:xfrm>
                <a:off x="2840916" y="3662360"/>
                <a:ext cx="757094"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7" name="任意多边形: 形状 466">
                <a:extLst>
                  <a:ext uri="{FF2B5EF4-FFF2-40B4-BE49-F238E27FC236}">
                    <a16:creationId xmlns:a16="http://schemas.microsoft.com/office/drawing/2014/main" id="{029C489B-D9F3-48DB-BAA7-20AF8AFA842D}"/>
                  </a:ext>
                </a:extLst>
              </p:cNvPr>
              <p:cNvSpPr>
                <a:spLocks noChangeArrowheads="1"/>
              </p:cNvSpPr>
              <p:nvPr/>
            </p:nvSpPr>
            <p:spPr bwMode="auto">
              <a:xfrm>
                <a:off x="1755343" y="3079063"/>
                <a:ext cx="289293" cy="289295"/>
              </a:xfrm>
              <a:custGeom>
                <a:avLst/>
                <a:gdLst>
                  <a:gd name="connsiteX0" fmla="*/ 31617 w 289293"/>
                  <a:gd name="connsiteY0" fmla="*/ 267953 h 289295"/>
                  <a:gd name="connsiteX1" fmla="*/ 257677 w 289293"/>
                  <a:gd name="connsiteY1" fmla="*/ 267953 h 289295"/>
                  <a:gd name="connsiteX2" fmla="*/ 267952 w 289293"/>
                  <a:gd name="connsiteY2" fmla="*/ 278624 h 289295"/>
                  <a:gd name="connsiteX3" fmla="*/ 257677 w 289293"/>
                  <a:gd name="connsiteY3" fmla="*/ 289295 h 289295"/>
                  <a:gd name="connsiteX4" fmla="*/ 31617 w 289293"/>
                  <a:gd name="connsiteY4" fmla="*/ 289295 h 289295"/>
                  <a:gd name="connsiteX5" fmla="*/ 21342 w 289293"/>
                  <a:gd name="connsiteY5" fmla="*/ 278624 h 289295"/>
                  <a:gd name="connsiteX6" fmla="*/ 31617 w 289293"/>
                  <a:gd name="connsiteY6" fmla="*/ 267953 h 289295"/>
                  <a:gd name="connsiteX7" fmla="*/ 123983 w 289293"/>
                  <a:gd name="connsiteY7" fmla="*/ 138821 h 289295"/>
                  <a:gd name="connsiteX8" fmla="*/ 144648 w 289293"/>
                  <a:gd name="connsiteY8" fmla="*/ 142993 h 289295"/>
                  <a:gd name="connsiteX9" fmla="*/ 165310 w 289293"/>
                  <a:gd name="connsiteY9" fmla="*/ 138822 h 289295"/>
                  <a:gd name="connsiteX10" fmla="*/ 165310 w 289293"/>
                  <a:gd name="connsiteY10" fmla="*/ 161161 h 289295"/>
                  <a:gd name="connsiteX11" fmla="*/ 175642 w 289293"/>
                  <a:gd name="connsiteY11" fmla="*/ 171493 h 289295"/>
                  <a:gd name="connsiteX12" fmla="*/ 278961 w 289293"/>
                  <a:gd name="connsiteY12" fmla="*/ 186991 h 289295"/>
                  <a:gd name="connsiteX13" fmla="*/ 289293 w 289293"/>
                  <a:gd name="connsiteY13" fmla="*/ 197323 h 289295"/>
                  <a:gd name="connsiteX14" fmla="*/ 289293 w 289293"/>
                  <a:gd name="connsiteY14" fmla="*/ 238651 h 289295"/>
                  <a:gd name="connsiteX15" fmla="*/ 278961 w 289293"/>
                  <a:gd name="connsiteY15" fmla="*/ 248983 h 289295"/>
                  <a:gd name="connsiteX16" fmla="*/ 10332 w 289293"/>
                  <a:gd name="connsiteY16" fmla="*/ 248983 h 289295"/>
                  <a:gd name="connsiteX17" fmla="*/ 0 w 289293"/>
                  <a:gd name="connsiteY17" fmla="*/ 238651 h 289295"/>
                  <a:gd name="connsiteX18" fmla="*/ 0 w 289293"/>
                  <a:gd name="connsiteY18" fmla="*/ 197323 h 289295"/>
                  <a:gd name="connsiteX19" fmla="*/ 10332 w 289293"/>
                  <a:gd name="connsiteY19" fmla="*/ 186991 h 289295"/>
                  <a:gd name="connsiteX20" fmla="*/ 113651 w 289293"/>
                  <a:gd name="connsiteY20" fmla="*/ 171493 h 289295"/>
                  <a:gd name="connsiteX21" fmla="*/ 123983 w 289293"/>
                  <a:gd name="connsiteY21" fmla="*/ 161161 h 289295"/>
                  <a:gd name="connsiteX22" fmla="*/ 123983 w 289293"/>
                  <a:gd name="connsiteY22" fmla="*/ 141546 h 289295"/>
                  <a:gd name="connsiteX23" fmla="*/ 144648 w 289293"/>
                  <a:gd name="connsiteY23" fmla="*/ 0 h 289295"/>
                  <a:gd name="connsiteX24" fmla="*/ 206301 w 289293"/>
                  <a:gd name="connsiteY24" fmla="*/ 61653 h 289295"/>
                  <a:gd name="connsiteX25" fmla="*/ 144648 w 289293"/>
                  <a:gd name="connsiteY25" fmla="*/ 123306 h 289295"/>
                  <a:gd name="connsiteX26" fmla="*/ 82995 w 289293"/>
                  <a:gd name="connsiteY26" fmla="*/ 61653 h 289295"/>
                  <a:gd name="connsiteX27" fmla="*/ 144648 w 289293"/>
                  <a:gd name="connsiteY27" fmla="*/ 0 h 28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9293" h="289295">
                    <a:moveTo>
                      <a:pt x="31617" y="267953"/>
                    </a:moveTo>
                    <a:cubicBezTo>
                      <a:pt x="257677" y="267953"/>
                      <a:pt x="257677" y="267953"/>
                      <a:pt x="257677" y="267953"/>
                    </a:cubicBezTo>
                    <a:cubicBezTo>
                      <a:pt x="262814" y="267953"/>
                      <a:pt x="267952" y="273289"/>
                      <a:pt x="267952" y="278624"/>
                    </a:cubicBezTo>
                    <a:cubicBezTo>
                      <a:pt x="267952" y="283960"/>
                      <a:pt x="262814" y="289295"/>
                      <a:pt x="257677" y="289295"/>
                    </a:cubicBezTo>
                    <a:cubicBezTo>
                      <a:pt x="31617" y="289295"/>
                      <a:pt x="31617" y="289295"/>
                      <a:pt x="31617" y="289295"/>
                    </a:cubicBezTo>
                    <a:cubicBezTo>
                      <a:pt x="26480" y="289295"/>
                      <a:pt x="21342" y="283960"/>
                      <a:pt x="21342" y="278624"/>
                    </a:cubicBezTo>
                    <a:cubicBezTo>
                      <a:pt x="21342" y="273289"/>
                      <a:pt x="26480" y="267953"/>
                      <a:pt x="31617" y="267953"/>
                    </a:cubicBezTo>
                    <a:close/>
                    <a:moveTo>
                      <a:pt x="123983" y="138821"/>
                    </a:moveTo>
                    <a:lnTo>
                      <a:pt x="144648" y="142993"/>
                    </a:lnTo>
                    <a:lnTo>
                      <a:pt x="165310" y="138822"/>
                    </a:lnTo>
                    <a:lnTo>
                      <a:pt x="165310" y="161161"/>
                    </a:lnTo>
                    <a:cubicBezTo>
                      <a:pt x="165310" y="166327"/>
                      <a:pt x="170476" y="171493"/>
                      <a:pt x="175642" y="171493"/>
                    </a:cubicBezTo>
                    <a:cubicBezTo>
                      <a:pt x="175642" y="171493"/>
                      <a:pt x="175642" y="171493"/>
                      <a:pt x="278961" y="186991"/>
                    </a:cubicBezTo>
                    <a:cubicBezTo>
                      <a:pt x="284127" y="186991"/>
                      <a:pt x="289293" y="192157"/>
                      <a:pt x="289293" y="197323"/>
                    </a:cubicBezTo>
                    <a:cubicBezTo>
                      <a:pt x="289293" y="197323"/>
                      <a:pt x="289293" y="197323"/>
                      <a:pt x="289293" y="238651"/>
                    </a:cubicBezTo>
                    <a:cubicBezTo>
                      <a:pt x="289293" y="243817"/>
                      <a:pt x="284127" y="248983"/>
                      <a:pt x="278961" y="248983"/>
                    </a:cubicBezTo>
                    <a:cubicBezTo>
                      <a:pt x="278961" y="248983"/>
                      <a:pt x="278961" y="248983"/>
                      <a:pt x="10332" y="248983"/>
                    </a:cubicBezTo>
                    <a:cubicBezTo>
                      <a:pt x="5166" y="248983"/>
                      <a:pt x="0" y="243817"/>
                      <a:pt x="0" y="238651"/>
                    </a:cubicBezTo>
                    <a:cubicBezTo>
                      <a:pt x="0" y="238651"/>
                      <a:pt x="0" y="238651"/>
                      <a:pt x="0" y="197323"/>
                    </a:cubicBezTo>
                    <a:cubicBezTo>
                      <a:pt x="0" y="192157"/>
                      <a:pt x="5166" y="186991"/>
                      <a:pt x="10332" y="186991"/>
                    </a:cubicBezTo>
                    <a:cubicBezTo>
                      <a:pt x="10332" y="186991"/>
                      <a:pt x="10332" y="186991"/>
                      <a:pt x="113651" y="171493"/>
                    </a:cubicBezTo>
                    <a:cubicBezTo>
                      <a:pt x="118817" y="171493"/>
                      <a:pt x="123983" y="166327"/>
                      <a:pt x="123983" y="161161"/>
                    </a:cubicBezTo>
                    <a:cubicBezTo>
                      <a:pt x="123983" y="161161"/>
                      <a:pt x="123983" y="161161"/>
                      <a:pt x="123983" y="141546"/>
                    </a:cubicBezTo>
                    <a:close/>
                    <a:moveTo>
                      <a:pt x="144648" y="0"/>
                    </a:moveTo>
                    <a:cubicBezTo>
                      <a:pt x="178698" y="0"/>
                      <a:pt x="206301" y="27603"/>
                      <a:pt x="206301" y="61653"/>
                    </a:cubicBezTo>
                    <a:cubicBezTo>
                      <a:pt x="206301" y="95703"/>
                      <a:pt x="178698" y="123306"/>
                      <a:pt x="144648" y="123306"/>
                    </a:cubicBezTo>
                    <a:cubicBezTo>
                      <a:pt x="110598" y="123306"/>
                      <a:pt x="82995" y="95703"/>
                      <a:pt x="82995" y="61653"/>
                    </a:cubicBezTo>
                    <a:cubicBezTo>
                      <a:pt x="82995" y="27603"/>
                      <a:pt x="110598" y="0"/>
                      <a:pt x="144648" y="0"/>
                    </a:cubicBez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p>
                <a:endParaRPr lang="zh-CN" altLang="en-US"/>
              </a:p>
            </p:txBody>
          </p:sp>
          <p:grpSp>
            <p:nvGrpSpPr>
              <p:cNvPr id="645" name="组合 644">
                <a:extLst>
                  <a:ext uri="{FF2B5EF4-FFF2-40B4-BE49-F238E27FC236}">
                    <a16:creationId xmlns:a16="http://schemas.microsoft.com/office/drawing/2014/main" id="{A980D983-409E-4F6D-A8D7-AF3AA18366AA}"/>
                  </a:ext>
                </a:extLst>
              </p:cNvPr>
              <p:cNvGrpSpPr/>
              <p:nvPr/>
            </p:nvGrpSpPr>
            <p:grpSpPr>
              <a:xfrm>
                <a:off x="1710532" y="3031370"/>
                <a:ext cx="380194" cy="380158"/>
                <a:chOff x="4979129" y="5045363"/>
                <a:chExt cx="209362" cy="209343"/>
              </a:xfrm>
            </p:grpSpPr>
            <p:sp>
              <p:nvSpPr>
                <p:cNvPr id="646" name="矩形 645">
                  <a:extLst>
                    <a:ext uri="{FF2B5EF4-FFF2-40B4-BE49-F238E27FC236}">
                      <a16:creationId xmlns:a16="http://schemas.microsoft.com/office/drawing/2014/main" id="{E2EF094A-9F22-4CBF-A563-9F39A89EDE24}"/>
                    </a:ext>
                  </a:extLst>
                </p:cNvPr>
                <p:cNvSpPr/>
                <p:nvPr/>
              </p:nvSpPr>
              <p:spPr>
                <a:xfrm>
                  <a:off x="5001989" y="5068223"/>
                  <a:ext cx="164175" cy="164176"/>
                </a:xfrm>
                <a:prstGeom prst="rect">
                  <a:avLst/>
                </a:prstGeom>
                <a:no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7" name="椭圆 646">
                  <a:extLst>
                    <a:ext uri="{FF2B5EF4-FFF2-40B4-BE49-F238E27FC236}">
                      <a16:creationId xmlns:a16="http://schemas.microsoft.com/office/drawing/2014/main" id="{0A0E975C-2768-49C1-BC9B-15B2714B9184}"/>
                    </a:ext>
                  </a:extLst>
                </p:cNvPr>
                <p:cNvSpPr/>
                <p:nvPr/>
              </p:nvSpPr>
              <p:spPr>
                <a:xfrm flipH="1">
                  <a:off x="4979129"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8" name="椭圆 647">
                  <a:extLst>
                    <a:ext uri="{FF2B5EF4-FFF2-40B4-BE49-F238E27FC236}">
                      <a16:creationId xmlns:a16="http://schemas.microsoft.com/office/drawing/2014/main" id="{1AA69BA9-DB07-47A3-A2DB-3512B4181734}"/>
                    </a:ext>
                  </a:extLst>
                </p:cNvPr>
                <p:cNvSpPr/>
                <p:nvPr/>
              </p:nvSpPr>
              <p:spPr>
                <a:xfrm flipH="1">
                  <a:off x="5060950"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9" name="椭圆 648">
                  <a:extLst>
                    <a:ext uri="{FF2B5EF4-FFF2-40B4-BE49-F238E27FC236}">
                      <a16:creationId xmlns:a16="http://schemas.microsoft.com/office/drawing/2014/main" id="{A0DD3FB0-9AC4-4C67-AAB9-C1E208C41157}"/>
                    </a:ext>
                  </a:extLst>
                </p:cNvPr>
                <p:cNvSpPr/>
                <p:nvPr/>
              </p:nvSpPr>
              <p:spPr>
                <a:xfrm flipH="1">
                  <a:off x="5142771"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0" name="椭圆 649">
                  <a:extLst>
                    <a:ext uri="{FF2B5EF4-FFF2-40B4-BE49-F238E27FC236}">
                      <a16:creationId xmlns:a16="http://schemas.microsoft.com/office/drawing/2014/main" id="{92C7735D-63F6-4AA2-83DB-6B21C5788203}"/>
                    </a:ext>
                  </a:extLst>
                </p:cNvPr>
                <p:cNvSpPr/>
                <p:nvPr/>
              </p:nvSpPr>
              <p:spPr>
                <a:xfrm flipH="1">
                  <a:off x="4979129"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1" name="椭圆 650">
                  <a:extLst>
                    <a:ext uri="{FF2B5EF4-FFF2-40B4-BE49-F238E27FC236}">
                      <a16:creationId xmlns:a16="http://schemas.microsoft.com/office/drawing/2014/main" id="{DF364357-CE3D-4673-B0A2-05FDF922165F}"/>
                    </a:ext>
                  </a:extLst>
                </p:cNvPr>
                <p:cNvSpPr/>
                <p:nvPr/>
              </p:nvSpPr>
              <p:spPr>
                <a:xfrm flipH="1">
                  <a:off x="5060950"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2" name="椭圆 651">
                  <a:extLst>
                    <a:ext uri="{FF2B5EF4-FFF2-40B4-BE49-F238E27FC236}">
                      <a16:creationId xmlns:a16="http://schemas.microsoft.com/office/drawing/2014/main" id="{2693782D-19FB-4370-B8E7-05C833C254BD}"/>
                    </a:ext>
                  </a:extLst>
                </p:cNvPr>
                <p:cNvSpPr/>
                <p:nvPr/>
              </p:nvSpPr>
              <p:spPr>
                <a:xfrm flipH="1">
                  <a:off x="5142771"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3" name="椭圆 652">
                  <a:extLst>
                    <a:ext uri="{FF2B5EF4-FFF2-40B4-BE49-F238E27FC236}">
                      <a16:creationId xmlns:a16="http://schemas.microsoft.com/office/drawing/2014/main" id="{1452D86B-89ED-4307-84D8-78666F3CBC06}"/>
                    </a:ext>
                  </a:extLst>
                </p:cNvPr>
                <p:cNvSpPr/>
                <p:nvPr/>
              </p:nvSpPr>
              <p:spPr>
                <a:xfrm flipH="1">
                  <a:off x="4979129"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4" name="椭圆 653">
                  <a:extLst>
                    <a:ext uri="{FF2B5EF4-FFF2-40B4-BE49-F238E27FC236}">
                      <a16:creationId xmlns:a16="http://schemas.microsoft.com/office/drawing/2014/main" id="{48D7D6B8-AE14-4CEE-9140-AEE799D035C4}"/>
                    </a:ext>
                  </a:extLst>
                </p:cNvPr>
                <p:cNvSpPr/>
                <p:nvPr/>
              </p:nvSpPr>
              <p:spPr>
                <a:xfrm flipH="1">
                  <a:off x="5142771"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9" name="组合 18">
            <a:extLst>
              <a:ext uri="{FF2B5EF4-FFF2-40B4-BE49-F238E27FC236}">
                <a16:creationId xmlns:a16="http://schemas.microsoft.com/office/drawing/2014/main" id="{A953E1EA-5442-446E-A462-53B91D8B981C}"/>
              </a:ext>
            </a:extLst>
          </p:cNvPr>
          <p:cNvGrpSpPr/>
          <p:nvPr/>
        </p:nvGrpSpPr>
        <p:grpSpPr>
          <a:xfrm>
            <a:off x="8024992" y="1959178"/>
            <a:ext cx="3493913" cy="2403813"/>
            <a:chOff x="8024986" y="1959176"/>
            <a:chExt cx="3493913" cy="2403813"/>
          </a:xfrm>
        </p:grpSpPr>
        <p:grpSp>
          <p:nvGrpSpPr>
            <p:cNvPr id="13" name="组合 12">
              <a:extLst>
                <a:ext uri="{FF2B5EF4-FFF2-40B4-BE49-F238E27FC236}">
                  <a16:creationId xmlns:a16="http://schemas.microsoft.com/office/drawing/2014/main" id="{B57002A2-7F15-448F-AC09-094CA63BCDD2}"/>
                </a:ext>
              </a:extLst>
            </p:cNvPr>
            <p:cNvGrpSpPr/>
            <p:nvPr/>
          </p:nvGrpSpPr>
          <p:grpSpPr>
            <a:xfrm>
              <a:off x="8024986" y="1959176"/>
              <a:ext cx="3493913" cy="2403813"/>
              <a:chOff x="8024986" y="1959176"/>
              <a:chExt cx="3493913" cy="2403813"/>
            </a:xfrm>
          </p:grpSpPr>
          <p:sp>
            <p:nvSpPr>
              <p:cNvPr id="527" name="Freeform 6">
                <a:extLst>
                  <a:ext uri="{FF2B5EF4-FFF2-40B4-BE49-F238E27FC236}">
                    <a16:creationId xmlns:a16="http://schemas.microsoft.com/office/drawing/2014/main" id="{D0DB7F0C-3F1A-432C-B5BF-314B0EC0181B}"/>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28" name="矩形: 圆角 527">
                <a:extLst>
                  <a:ext uri="{FF2B5EF4-FFF2-40B4-BE49-F238E27FC236}">
                    <a16:creationId xmlns:a16="http://schemas.microsoft.com/office/drawing/2014/main" id="{366E25C9-4663-44AF-83DB-5C2883180C00}"/>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9" name="Rectangle 8">
                <a:extLst>
                  <a:ext uri="{FF2B5EF4-FFF2-40B4-BE49-F238E27FC236}">
                    <a16:creationId xmlns:a16="http://schemas.microsoft.com/office/drawing/2014/main" id="{A79FABC5-26F1-4EC6-9EC7-C32D22030AEA}"/>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0" name="Rectangle 9">
                <a:extLst>
                  <a:ext uri="{FF2B5EF4-FFF2-40B4-BE49-F238E27FC236}">
                    <a16:creationId xmlns:a16="http://schemas.microsoft.com/office/drawing/2014/main" id="{3D7B81C0-B20F-4397-BDE9-EF21FFB82AB9}"/>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1" name="Oval 14">
                <a:extLst>
                  <a:ext uri="{FF2B5EF4-FFF2-40B4-BE49-F238E27FC236}">
                    <a16:creationId xmlns:a16="http://schemas.microsoft.com/office/drawing/2014/main" id="{F2F08DE4-71E4-4577-ADDE-1956E19457DF}"/>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2" name="Oval 15">
                <a:extLst>
                  <a:ext uri="{FF2B5EF4-FFF2-40B4-BE49-F238E27FC236}">
                    <a16:creationId xmlns:a16="http://schemas.microsoft.com/office/drawing/2014/main" id="{4AF1E064-9F5D-47E7-8FC3-DEE7D1EA196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3" name="Oval 16">
                <a:extLst>
                  <a:ext uri="{FF2B5EF4-FFF2-40B4-BE49-F238E27FC236}">
                    <a16:creationId xmlns:a16="http://schemas.microsoft.com/office/drawing/2014/main" id="{E391C315-1646-461A-B27D-B6395580D893}"/>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4" name="Freeform 18">
                <a:extLst>
                  <a:ext uri="{FF2B5EF4-FFF2-40B4-BE49-F238E27FC236}">
                    <a16:creationId xmlns:a16="http://schemas.microsoft.com/office/drawing/2014/main" id="{1BFDB322-46E4-47DC-A1ED-B47F015723A6}"/>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5" name="Rectangle 19">
                <a:extLst>
                  <a:ext uri="{FF2B5EF4-FFF2-40B4-BE49-F238E27FC236}">
                    <a16:creationId xmlns:a16="http://schemas.microsoft.com/office/drawing/2014/main" id="{44E9B971-12B9-4264-8D7D-460E1FD76CF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6" name="Freeform 20">
                <a:extLst>
                  <a:ext uri="{FF2B5EF4-FFF2-40B4-BE49-F238E27FC236}">
                    <a16:creationId xmlns:a16="http://schemas.microsoft.com/office/drawing/2014/main" id="{EA314B02-C47E-4D32-B9FC-9118DF1A6AA4}"/>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7" name="Freeform 21">
                <a:extLst>
                  <a:ext uri="{FF2B5EF4-FFF2-40B4-BE49-F238E27FC236}">
                    <a16:creationId xmlns:a16="http://schemas.microsoft.com/office/drawing/2014/main" id="{913CAEE0-753D-431F-83B9-B272C447A700}"/>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8" name="Freeform 22">
                <a:extLst>
                  <a:ext uri="{FF2B5EF4-FFF2-40B4-BE49-F238E27FC236}">
                    <a16:creationId xmlns:a16="http://schemas.microsoft.com/office/drawing/2014/main" id="{5CE63E49-B6CC-43DD-904D-EC6F5224AC0A}"/>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9" name="Freeform 23">
                <a:extLst>
                  <a:ext uri="{FF2B5EF4-FFF2-40B4-BE49-F238E27FC236}">
                    <a16:creationId xmlns:a16="http://schemas.microsoft.com/office/drawing/2014/main" id="{ABA5EC36-D29E-4F6C-9502-C25F2137BD81}"/>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1" name="矩形: 圆角 540">
                <a:extLst>
                  <a:ext uri="{FF2B5EF4-FFF2-40B4-BE49-F238E27FC236}">
                    <a16:creationId xmlns:a16="http://schemas.microsoft.com/office/drawing/2014/main" id="{3F86DCD2-D9CF-46E6-BFD1-BAB8916DC2EA}"/>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2" name="矩形: 圆角 541">
                <a:extLst>
                  <a:ext uri="{FF2B5EF4-FFF2-40B4-BE49-F238E27FC236}">
                    <a16:creationId xmlns:a16="http://schemas.microsoft.com/office/drawing/2014/main" id="{D6A00E65-2537-4774-A8D8-F642FACABC2F}"/>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4" name="矩形: 圆角 543">
                <a:extLst>
                  <a:ext uri="{FF2B5EF4-FFF2-40B4-BE49-F238E27FC236}">
                    <a16:creationId xmlns:a16="http://schemas.microsoft.com/office/drawing/2014/main" id="{D882A42A-7B06-40CE-B447-A09172C76D13}"/>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5" name="矩形: 圆角 544">
                <a:extLst>
                  <a:ext uri="{FF2B5EF4-FFF2-40B4-BE49-F238E27FC236}">
                    <a16:creationId xmlns:a16="http://schemas.microsoft.com/office/drawing/2014/main" id="{A569696E-1132-41A6-BC06-5898FDCC97B4}"/>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6" name="矩形: 圆角 135">
                <a:extLst>
                  <a:ext uri="{FF2B5EF4-FFF2-40B4-BE49-F238E27FC236}">
                    <a16:creationId xmlns:a16="http://schemas.microsoft.com/office/drawing/2014/main" id="{73718C15-8B09-4939-AE5C-40AE1079D83C}"/>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a16="http://schemas.microsoft.com/office/drawing/2014/main" id="{9B9AB381-004E-4056-9790-0522D6B2A26B}"/>
                </a:ext>
              </a:extLst>
            </p:cNvPr>
            <p:cNvGrpSpPr/>
            <p:nvPr/>
          </p:nvGrpSpPr>
          <p:grpSpPr>
            <a:xfrm>
              <a:off x="8977536" y="2998805"/>
              <a:ext cx="2224728" cy="1011538"/>
              <a:chOff x="8977536" y="2998805"/>
              <a:chExt cx="2224728" cy="1011538"/>
            </a:xfrm>
          </p:grpSpPr>
          <p:sp>
            <p:nvSpPr>
              <p:cNvPr id="543" name="矩形 542">
                <a:extLst>
                  <a:ext uri="{FF2B5EF4-FFF2-40B4-BE49-F238E27FC236}">
                    <a16:creationId xmlns:a16="http://schemas.microsoft.com/office/drawing/2014/main" id="{10BBD707-7622-4846-AC35-F64FAF320131}"/>
                  </a:ext>
                </a:extLst>
              </p:cNvPr>
              <p:cNvSpPr/>
              <p:nvPr/>
            </p:nvSpPr>
            <p:spPr>
              <a:xfrm>
                <a:off x="9010192"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546" name="组合 545">
                <a:extLst>
                  <a:ext uri="{FF2B5EF4-FFF2-40B4-BE49-F238E27FC236}">
                    <a16:creationId xmlns:a16="http://schemas.microsoft.com/office/drawing/2014/main" id="{4FF503A4-23B1-47BE-AC5D-58EAF4A524B1}"/>
                  </a:ext>
                </a:extLst>
              </p:cNvPr>
              <p:cNvGrpSpPr/>
              <p:nvPr/>
            </p:nvGrpSpPr>
            <p:grpSpPr>
              <a:xfrm>
                <a:off x="8977536" y="2998805"/>
                <a:ext cx="2224728" cy="1011538"/>
                <a:chOff x="958894" y="2827593"/>
                <a:chExt cx="996293" cy="452994"/>
              </a:xfrm>
            </p:grpSpPr>
            <p:sp>
              <p:nvSpPr>
                <p:cNvPr id="555" name="六边形 554">
                  <a:extLst>
                    <a:ext uri="{FF2B5EF4-FFF2-40B4-BE49-F238E27FC236}">
                      <a16:creationId xmlns:a16="http://schemas.microsoft.com/office/drawing/2014/main" id="{C81E0498-C03F-4C88-B8E8-BA820C3AC361}"/>
                    </a:ext>
                  </a:extLst>
                </p:cNvPr>
                <p:cNvSpPr/>
                <p:nvPr/>
              </p:nvSpPr>
              <p:spPr>
                <a:xfrm>
                  <a:off x="958894" y="2827593"/>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6" name="六边形 555">
                  <a:extLst>
                    <a:ext uri="{FF2B5EF4-FFF2-40B4-BE49-F238E27FC236}">
                      <a16:creationId xmlns:a16="http://schemas.microsoft.com/office/drawing/2014/main" id="{85CA280C-D2AD-4B92-B853-8C8222275E69}"/>
                    </a:ext>
                  </a:extLst>
                </p:cNvPr>
                <p:cNvSpPr/>
                <p:nvPr/>
              </p:nvSpPr>
              <p:spPr>
                <a:xfrm>
                  <a:off x="1181077" y="2946762"/>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557" name="六边形 556">
                  <a:extLst>
                    <a:ext uri="{FF2B5EF4-FFF2-40B4-BE49-F238E27FC236}">
                      <a16:creationId xmlns:a16="http://schemas.microsoft.com/office/drawing/2014/main" id="{0C969DE1-AE61-4723-86A3-FAF3F49BA56E}"/>
                    </a:ext>
                  </a:extLst>
                </p:cNvPr>
                <p:cNvSpPr/>
                <p:nvPr/>
              </p:nvSpPr>
              <p:spPr>
                <a:xfrm>
                  <a:off x="963319" y="3070205"/>
                  <a:ext cx="244044" cy="21038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8" name="矩形 557">
                  <a:extLst>
                    <a:ext uri="{FF2B5EF4-FFF2-40B4-BE49-F238E27FC236}">
                      <a16:creationId xmlns:a16="http://schemas.microsoft.com/office/drawing/2014/main" id="{0B77D82E-E026-424E-B009-DAA6B58B8284}"/>
                    </a:ext>
                  </a:extLst>
                </p:cNvPr>
                <p:cNvSpPr/>
                <p:nvPr/>
              </p:nvSpPr>
              <p:spPr>
                <a:xfrm>
                  <a:off x="1503125" y="2929429"/>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59" name="矩形 558">
                  <a:extLst>
                    <a:ext uri="{FF2B5EF4-FFF2-40B4-BE49-F238E27FC236}">
                      <a16:creationId xmlns:a16="http://schemas.microsoft.com/office/drawing/2014/main" id="{4DB09F39-F909-4E31-B594-4541A6628E80}"/>
                    </a:ext>
                  </a:extLst>
                </p:cNvPr>
                <p:cNvSpPr/>
                <p:nvPr/>
              </p:nvSpPr>
              <p:spPr>
                <a:xfrm>
                  <a:off x="1503123" y="3026702"/>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60" name="矩形 559">
                  <a:extLst>
                    <a:ext uri="{FF2B5EF4-FFF2-40B4-BE49-F238E27FC236}">
                      <a16:creationId xmlns:a16="http://schemas.microsoft.com/office/drawing/2014/main" id="{9F60DA02-9D3A-4347-B32F-5B3D00206CA0}"/>
                    </a:ext>
                  </a:extLst>
                </p:cNvPr>
                <p:cNvSpPr/>
                <p:nvPr/>
              </p:nvSpPr>
              <p:spPr>
                <a:xfrm>
                  <a:off x="1503123" y="3124751"/>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48" name="Freeform 499">
                <a:extLst>
                  <a:ext uri="{FF2B5EF4-FFF2-40B4-BE49-F238E27FC236}">
                    <a16:creationId xmlns:a16="http://schemas.microsoft.com/office/drawing/2014/main" id="{03A46AFF-3D3B-40E9-A60F-688EDD456656}"/>
                  </a:ext>
                </a:extLst>
              </p:cNvPr>
              <p:cNvSpPr>
                <a:spLocks noChangeArrowheads="1"/>
              </p:cNvSpPr>
              <p:nvPr/>
            </p:nvSpPr>
            <p:spPr bwMode="auto">
              <a:xfrm>
                <a:off x="9107228" y="3101934"/>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grpSp>
        <p:nvGrpSpPr>
          <p:cNvPr id="25" name="组合 24">
            <a:extLst>
              <a:ext uri="{FF2B5EF4-FFF2-40B4-BE49-F238E27FC236}">
                <a16:creationId xmlns:a16="http://schemas.microsoft.com/office/drawing/2014/main" id="{F00C8B15-A1F2-4819-87A0-43B4EE2A1E5B}"/>
              </a:ext>
            </a:extLst>
          </p:cNvPr>
          <p:cNvGrpSpPr/>
          <p:nvPr/>
        </p:nvGrpSpPr>
        <p:grpSpPr>
          <a:xfrm>
            <a:off x="4588452" y="1963867"/>
            <a:ext cx="3002400" cy="3002400"/>
            <a:chOff x="4595239" y="1963866"/>
            <a:chExt cx="3002400" cy="3002400"/>
          </a:xfrm>
        </p:grpSpPr>
        <p:sp>
          <p:nvSpPr>
            <p:cNvPr id="302" name="矩形 301">
              <a:extLst>
                <a:ext uri="{FF2B5EF4-FFF2-40B4-BE49-F238E27FC236}">
                  <a16:creationId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35" name="组合 334">
              <a:extLst>
                <a:ext uri="{FF2B5EF4-FFF2-40B4-BE49-F238E27FC236}">
                  <a16:creationId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a16="http://schemas.microsoft.com/office/drawing/2014/main" id="{5F280EC2-D63E-48C8-8C25-014D5494D2B0}"/>
                </a:ext>
              </a:extLst>
            </p:cNvPr>
            <p:cNvGrpSpPr/>
            <p:nvPr/>
          </p:nvGrpSpPr>
          <p:grpSpPr>
            <a:xfrm>
              <a:off x="4716352" y="2686508"/>
              <a:ext cx="2759294" cy="600274"/>
              <a:chOff x="8108849" y="2664061"/>
              <a:chExt cx="2482230" cy="540000"/>
            </a:xfrm>
          </p:grpSpPr>
          <p:sp>
            <p:nvSpPr>
              <p:cNvPr id="498" name="矩形: 圆角 497">
                <a:extLst>
                  <a:ext uri="{FF2B5EF4-FFF2-40B4-BE49-F238E27FC236}">
                    <a16:creationId xmlns:a16="http://schemas.microsoft.com/office/drawing/2014/main" id="{F6744093-6E81-4E08-A533-C23A9AB95163}"/>
                  </a:ext>
                </a:extLst>
              </p:cNvPr>
              <p:cNvSpPr>
                <a:spLocks/>
              </p:cNvSpPr>
              <p:nvPr/>
            </p:nvSpPr>
            <p:spPr>
              <a:xfrm>
                <a:off x="810884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1" name="矩形: 圆角 500">
                <a:extLst>
                  <a:ext uri="{FF2B5EF4-FFF2-40B4-BE49-F238E27FC236}">
                    <a16:creationId xmlns:a16="http://schemas.microsoft.com/office/drawing/2014/main" id="{5FE105D6-B3C4-4015-BA24-A34EFCD47E42}"/>
                  </a:ext>
                </a:extLst>
              </p:cNvPr>
              <p:cNvSpPr>
                <a:spLocks/>
              </p:cNvSpPr>
              <p:nvPr/>
            </p:nvSpPr>
            <p:spPr>
              <a:xfrm>
                <a:off x="875625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3" name="矩形: 圆角 502">
                <a:extLst>
                  <a:ext uri="{FF2B5EF4-FFF2-40B4-BE49-F238E27FC236}">
                    <a16:creationId xmlns:a16="http://schemas.microsoft.com/office/drawing/2014/main" id="{99C184F9-1611-4668-92FF-32794F7F049F}"/>
                  </a:ext>
                </a:extLst>
              </p:cNvPr>
              <p:cNvSpPr>
                <a:spLocks/>
              </p:cNvSpPr>
              <p:nvPr/>
            </p:nvSpPr>
            <p:spPr>
              <a:xfrm>
                <a:off x="940366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5" name="矩形: 圆角 504">
                <a:extLst>
                  <a:ext uri="{FF2B5EF4-FFF2-40B4-BE49-F238E27FC236}">
                    <a16:creationId xmlns:a16="http://schemas.microsoft.com/office/drawing/2014/main" id="{4E270696-E047-47AA-A380-F3CB89176B8B}"/>
                  </a:ext>
                </a:extLst>
              </p:cNvPr>
              <p:cNvSpPr>
                <a:spLocks/>
              </p:cNvSpPr>
              <p:nvPr/>
            </p:nvSpPr>
            <p:spPr>
              <a:xfrm>
                <a:off x="1005107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15" name="矩形: 圆角 514">
              <a:extLst>
                <a:ext uri="{FF2B5EF4-FFF2-40B4-BE49-F238E27FC236}">
                  <a16:creationId xmlns:a16="http://schemas.microsoft.com/office/drawing/2014/main" id="{C56E3699-2F3A-44D6-B8BE-97A13678B45D}"/>
                </a:ext>
              </a:extLst>
            </p:cNvPr>
            <p:cNvSpPr>
              <a:spLocks/>
            </p:cNvSpPr>
            <p:nvPr/>
          </p:nvSpPr>
          <p:spPr>
            <a:xfrm>
              <a:off x="5436026" y="3410069"/>
              <a:ext cx="600274" cy="600274"/>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 name="组合 10">
              <a:extLst>
                <a:ext uri="{FF2B5EF4-FFF2-40B4-BE49-F238E27FC236}">
                  <a16:creationId xmlns:a16="http://schemas.microsoft.com/office/drawing/2014/main" id="{3A15B1F4-4BA4-461C-A8D5-CD76FF3AD5C8}"/>
                </a:ext>
              </a:extLst>
            </p:cNvPr>
            <p:cNvGrpSpPr/>
            <p:nvPr/>
          </p:nvGrpSpPr>
          <p:grpSpPr>
            <a:xfrm>
              <a:off x="4716352" y="3410069"/>
              <a:ext cx="2759294" cy="600274"/>
              <a:chOff x="8110911" y="3314969"/>
              <a:chExt cx="2482230" cy="540000"/>
            </a:xfrm>
          </p:grpSpPr>
          <p:sp>
            <p:nvSpPr>
              <p:cNvPr id="514" name="矩形: 圆角 513">
                <a:extLst>
                  <a:ext uri="{FF2B5EF4-FFF2-40B4-BE49-F238E27FC236}">
                    <a16:creationId xmlns:a16="http://schemas.microsoft.com/office/drawing/2014/main" id="{9CE95D13-982B-4745-85DC-7E460C919084}"/>
                  </a:ext>
                </a:extLst>
              </p:cNvPr>
              <p:cNvSpPr>
                <a:spLocks/>
              </p:cNvSpPr>
              <p:nvPr/>
            </p:nvSpPr>
            <p:spPr>
              <a:xfrm>
                <a:off x="811091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6" name="矩形: 圆角 515">
                <a:extLst>
                  <a:ext uri="{FF2B5EF4-FFF2-40B4-BE49-F238E27FC236}">
                    <a16:creationId xmlns:a16="http://schemas.microsoft.com/office/drawing/2014/main" id="{259A12CD-C5CF-4D63-8386-3679C4CE4E09}"/>
                  </a:ext>
                </a:extLst>
              </p:cNvPr>
              <p:cNvSpPr>
                <a:spLocks/>
              </p:cNvSpPr>
              <p:nvPr/>
            </p:nvSpPr>
            <p:spPr>
              <a:xfrm>
                <a:off x="940573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7" name="矩形: 圆角 516">
                <a:extLst>
                  <a:ext uri="{FF2B5EF4-FFF2-40B4-BE49-F238E27FC236}">
                    <a16:creationId xmlns:a16="http://schemas.microsoft.com/office/drawing/2014/main" id="{E3CEFF48-7A05-4510-9E38-C0DD3087D172}"/>
                  </a:ext>
                </a:extLst>
              </p:cNvPr>
              <p:cNvSpPr>
                <a:spLocks/>
              </p:cNvSpPr>
              <p:nvPr/>
            </p:nvSpPr>
            <p:spPr>
              <a:xfrm>
                <a:off x="1005314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19" name="组合 518">
              <a:extLst>
                <a:ext uri="{FF2B5EF4-FFF2-40B4-BE49-F238E27FC236}">
                  <a16:creationId xmlns:a16="http://schemas.microsoft.com/office/drawing/2014/main" id="{E6822575-5437-42EF-9B6D-EB30AA1590CB}"/>
                </a:ext>
              </a:extLst>
            </p:cNvPr>
            <p:cNvGrpSpPr/>
            <p:nvPr/>
          </p:nvGrpSpPr>
          <p:grpSpPr>
            <a:xfrm>
              <a:off x="4716352" y="4133631"/>
              <a:ext cx="2759294" cy="600274"/>
              <a:chOff x="8108849" y="2664061"/>
              <a:chExt cx="2482230" cy="540000"/>
            </a:xfrm>
          </p:grpSpPr>
          <p:sp>
            <p:nvSpPr>
              <p:cNvPr id="520" name="矩形: 圆角 519">
                <a:extLst>
                  <a:ext uri="{FF2B5EF4-FFF2-40B4-BE49-F238E27FC236}">
                    <a16:creationId xmlns:a16="http://schemas.microsoft.com/office/drawing/2014/main" id="{190BA26F-3036-445E-9766-8D3B18851FD3}"/>
                  </a:ext>
                </a:extLst>
              </p:cNvPr>
              <p:cNvSpPr>
                <a:spLocks/>
              </p:cNvSpPr>
              <p:nvPr/>
            </p:nvSpPr>
            <p:spPr>
              <a:xfrm>
                <a:off x="810884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1" name="矩形: 圆角 520">
                <a:extLst>
                  <a:ext uri="{FF2B5EF4-FFF2-40B4-BE49-F238E27FC236}">
                    <a16:creationId xmlns:a16="http://schemas.microsoft.com/office/drawing/2014/main" id="{160EA5D8-C35C-4AF4-A9AE-3DB758D2709C}"/>
                  </a:ext>
                </a:extLst>
              </p:cNvPr>
              <p:cNvSpPr>
                <a:spLocks/>
              </p:cNvSpPr>
              <p:nvPr/>
            </p:nvSpPr>
            <p:spPr>
              <a:xfrm>
                <a:off x="875625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2" name="矩形: 圆角 521">
                <a:extLst>
                  <a:ext uri="{FF2B5EF4-FFF2-40B4-BE49-F238E27FC236}">
                    <a16:creationId xmlns:a16="http://schemas.microsoft.com/office/drawing/2014/main" id="{8E01D07F-3FCF-4EDC-9641-8C34EA5A37CE}"/>
                  </a:ext>
                </a:extLst>
              </p:cNvPr>
              <p:cNvSpPr>
                <a:spLocks/>
              </p:cNvSpPr>
              <p:nvPr/>
            </p:nvSpPr>
            <p:spPr>
              <a:xfrm>
                <a:off x="940366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3" name="矩形: 圆角 522">
                <a:extLst>
                  <a:ext uri="{FF2B5EF4-FFF2-40B4-BE49-F238E27FC236}">
                    <a16:creationId xmlns:a16="http://schemas.microsoft.com/office/drawing/2014/main" id="{4A31D2B2-0783-43E9-9854-EC8CBE4DD058}"/>
                  </a:ext>
                </a:extLst>
              </p:cNvPr>
              <p:cNvSpPr>
                <a:spLocks/>
              </p:cNvSpPr>
              <p:nvPr/>
            </p:nvSpPr>
            <p:spPr>
              <a:xfrm>
                <a:off x="1005107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635" name="Rounded Rectangle 514_1">
              <a:extLst>
                <a:ext uri="{FF2B5EF4-FFF2-40B4-BE49-F238E27FC236}">
                  <a16:creationId xmlns:a16="http://schemas.microsoft.com/office/drawing/2014/main" id="{082720E7-9CF6-446A-9968-810C366DAF86}"/>
                </a:ext>
              </a:extLst>
            </p:cNvPr>
            <p:cNvSpPr>
              <a:spLocks/>
            </p:cNvSpPr>
            <p:nvPr/>
          </p:nvSpPr>
          <p:spPr>
            <a:xfrm>
              <a:off x="5436026" y="3410069"/>
              <a:ext cx="600274" cy="600274"/>
            </a:xfrm>
            <a:prstGeom prst="roundRect">
              <a:avLst>
                <a:gd name="adj" fmla="val 4859"/>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5" name="Freeform 467">
              <a:extLst>
                <a:ext uri="{FF2B5EF4-FFF2-40B4-BE49-F238E27FC236}">
                  <a16:creationId xmlns:a16="http://schemas.microsoft.com/office/drawing/2014/main" id="{E34E1331-813D-4613-806D-EFFB8B68EBB7}"/>
                </a:ext>
              </a:extLst>
            </p:cNvPr>
            <p:cNvSpPr>
              <a:spLocks noChangeArrowheads="1"/>
            </p:cNvSpPr>
            <p:nvPr/>
          </p:nvSpPr>
          <p:spPr bwMode="auto">
            <a:xfrm>
              <a:off x="5591516" y="3578906"/>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nvGrpSpPr>
            <p:cNvPr id="150" name="组合 149">
              <a:extLst>
                <a:ext uri="{FF2B5EF4-FFF2-40B4-BE49-F238E27FC236}">
                  <a16:creationId xmlns:a16="http://schemas.microsoft.com/office/drawing/2014/main" id="{BDB0E8E0-ED93-46FC-90D5-2715E779C5AC}"/>
                </a:ext>
              </a:extLst>
            </p:cNvPr>
            <p:cNvGrpSpPr/>
            <p:nvPr/>
          </p:nvGrpSpPr>
          <p:grpSpPr>
            <a:xfrm>
              <a:off x="4595239" y="1963866"/>
              <a:ext cx="3002400" cy="320240"/>
              <a:chOff x="4595239" y="1963866"/>
              <a:chExt cx="3002400" cy="320240"/>
            </a:xfrm>
          </p:grpSpPr>
          <p:grpSp>
            <p:nvGrpSpPr>
              <p:cNvPr id="151" name="组合 150">
                <a:extLst>
                  <a:ext uri="{FF2B5EF4-FFF2-40B4-BE49-F238E27FC236}">
                    <a16:creationId xmlns:a16="http://schemas.microsoft.com/office/drawing/2014/main" id="{544BF709-2458-42C5-B9FD-5C0F66BE0330}"/>
                  </a:ext>
                </a:extLst>
              </p:cNvPr>
              <p:cNvGrpSpPr/>
              <p:nvPr/>
            </p:nvGrpSpPr>
            <p:grpSpPr>
              <a:xfrm>
                <a:off x="4595239" y="1963866"/>
                <a:ext cx="3002400" cy="320240"/>
                <a:chOff x="8616223" y="1963866"/>
                <a:chExt cx="3002400" cy="320240"/>
              </a:xfrm>
            </p:grpSpPr>
            <p:sp>
              <p:nvSpPr>
                <p:cNvPr id="153" name="矩形 152">
                  <a:extLst>
                    <a:ext uri="{FF2B5EF4-FFF2-40B4-BE49-F238E27FC236}">
                      <a16:creationId xmlns:a16="http://schemas.microsoft.com/office/drawing/2014/main" id="{28BAB253-E748-40EE-BE86-7F4935434241}"/>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54" name="Multiply 213">
                  <a:extLst>
                    <a:ext uri="{FF2B5EF4-FFF2-40B4-BE49-F238E27FC236}">
                      <a16:creationId xmlns:a16="http://schemas.microsoft.com/office/drawing/2014/main" id="{744B4C5B-D5F4-446A-B63A-279FB5E4FCB6}"/>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152" name="矩形 151">
                <a:extLst>
                  <a:ext uri="{FF2B5EF4-FFF2-40B4-BE49-F238E27FC236}">
                    <a16:creationId xmlns:a16="http://schemas.microsoft.com/office/drawing/2014/main" id="{6BEC8753-670B-4BDF-A3E6-445620C80C4A}"/>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a:solidFill>
                      <a:srgbClr val="FFFFFF"/>
                    </a:solidFill>
                  </a:rPr>
                  <a:t>图标库</a:t>
                </a:r>
                <a:r>
                  <a:rPr lang="zh-CN" altLang="en-US" sz="100" kern="0">
                    <a:solidFill>
                      <a:srgbClr val="FFFFFF"/>
                    </a:solidFill>
                  </a:rPr>
                  <a:t> </a:t>
                </a:r>
                <a:r>
                  <a:rPr lang="zh-CN" altLang="en-US" sz="1000" kern="0">
                    <a:solidFill>
                      <a:srgbClr val="FFFFFF"/>
                    </a:solidFill>
                  </a:rPr>
                  <a:t> </a:t>
                </a:r>
                <a:r>
                  <a:rPr lang="en-US" altLang="zh-CN" sz="1000" kern="0" dirty="0">
                    <a:solidFill>
                      <a:srgbClr val="FFFFFF"/>
                    </a:solidFill>
                  </a:rPr>
                  <a:t>/ Icon Library</a:t>
                </a:r>
                <a:endParaRPr lang="zh-CN" altLang="en-US" sz="1000" kern="0" dirty="0">
                  <a:solidFill>
                    <a:srgbClr val="FFFFFF"/>
                  </a:solidFill>
                </a:endParaRPr>
              </a:p>
            </p:txBody>
          </p:sp>
        </p:grpSp>
      </p:grpSp>
      <p:sp>
        <p:nvSpPr>
          <p:cNvPr id="2" name="矩形 1">
            <a:extLst>
              <a:ext uri="{FF2B5EF4-FFF2-40B4-BE49-F238E27FC236}">
                <a16:creationId xmlns:a16="http://schemas.microsoft.com/office/drawing/2014/main" id="{E0F38C24-6AB8-4A87-8935-06692C174C7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a:t>
            </a:r>
            <a:r>
              <a:rPr lang="zh-CN" altLang="en-US" sz="800">
                <a:solidFill>
                  <a:schemeClr val="bg1"/>
                </a:solidFill>
              </a:rPr>
              <a:t>请删除</a:t>
            </a:r>
            <a:r>
              <a:rPr lang="zh-CN" altLang="en-US" sz="100">
                <a:solidFill>
                  <a:schemeClr val="bg1"/>
                </a:solidFill>
              </a:rPr>
              <a:t> </a:t>
            </a:r>
            <a:r>
              <a:rPr lang="zh-CN" altLang="en-US" sz="800">
                <a:solidFill>
                  <a:schemeClr val="bg1"/>
                </a:solidFill>
              </a:rPr>
              <a:t>本</a:t>
            </a:r>
            <a:r>
              <a:rPr lang="zh-CN" altLang="en-US" sz="800" dirty="0">
                <a:solidFill>
                  <a:schemeClr val="bg1"/>
                </a:solidFill>
              </a:rPr>
              <a:t>页内容。</a:t>
            </a:r>
          </a:p>
          <a:p>
            <a:pPr>
              <a:lnSpc>
                <a:spcPct val="120000"/>
              </a:lnSpc>
            </a:pPr>
            <a:r>
              <a:rPr lang="en-US" altLang="zh-CN" sz="800" dirty="0">
                <a:solidFill>
                  <a:schemeClr val="bg1"/>
                </a:solidFill>
              </a:rPr>
              <a:t>This slide is an instruction. Please delete this slide before using it for presentation.</a:t>
            </a:r>
          </a:p>
        </p:txBody>
      </p:sp>
    </p:spTree>
    <p:custDataLst>
      <p:tags r:id="rId1"/>
    </p:custDataLst>
    <p:extLst>
      <p:ext uri="{BB962C8B-B14F-4D97-AF65-F5344CB8AC3E}">
        <p14:creationId xmlns:p14="http://schemas.microsoft.com/office/powerpoint/2010/main" val="25626015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06500485-734D-463E-B159-B8861C906AAC}"/>
              </a:ext>
            </a:extLst>
          </p:cNvPr>
          <p:cNvGrpSpPr/>
          <p:nvPr/>
        </p:nvGrpSpPr>
        <p:grpSpPr>
          <a:xfrm>
            <a:off x="660400" y="5464436"/>
            <a:ext cx="3493913" cy="400110"/>
            <a:chOff x="673100" y="5464436"/>
            <a:chExt cx="3493913" cy="400110"/>
          </a:xfrm>
        </p:grpSpPr>
        <p:sp>
          <p:nvSpPr>
            <p:cNvPr id="351" name="文本框 350"/>
            <p:cNvSpPr txBox="1"/>
            <p:nvPr/>
          </p:nvSpPr>
          <p:spPr>
            <a:xfrm>
              <a:off x="994562" y="5464436"/>
              <a:ext cx="3172451" cy="400110"/>
            </a:xfrm>
            <a:prstGeom prst="rect">
              <a:avLst/>
            </a:prstGeom>
            <a:noFill/>
          </p:spPr>
          <p:txBody>
            <a:bodyPr wrap="square" rtlCol="0" anchor="ctr">
              <a:spAutoFit/>
            </a:bodyPr>
            <a:lstStyle/>
            <a:p>
              <a:r>
                <a:rPr lang="zh-CN" altLang="en-US" sz="1000" dirty="0">
                  <a:solidFill>
                    <a:srgbClr val="2F2F2F"/>
                  </a:solidFill>
                </a:rPr>
                <a:t>选中图示中的占位形状</a:t>
              </a:r>
              <a:endParaRPr lang="en-US" altLang="zh-CN" sz="1000" dirty="0">
                <a:solidFill>
                  <a:srgbClr val="2F2F2F"/>
                </a:solidFill>
              </a:endParaRPr>
            </a:p>
            <a:p>
              <a:r>
                <a:rPr lang="en-US" altLang="zh-CN" sz="1000" dirty="0">
                  <a:solidFill>
                    <a:srgbClr val="2F2F2F"/>
                  </a:solidFill>
                </a:rPr>
                <a:t>Select the shape </a:t>
              </a:r>
              <a:r>
                <a:rPr lang="en-US" altLang="zh-CN" sz="1000">
                  <a:solidFill>
                    <a:srgbClr val="2F2F2F"/>
                  </a:solidFill>
                </a:rPr>
                <a:t>that</a:t>
              </a:r>
              <a:r>
                <a:rPr lang="zh-CN" altLang="en-US" sz="1000">
                  <a:solidFill>
                    <a:srgbClr val="2F2F2F"/>
                  </a:solidFill>
                </a:rPr>
                <a:t> </a:t>
              </a:r>
              <a:r>
                <a:rPr lang="zh-CN" altLang="en-US" sz="100">
                  <a:solidFill>
                    <a:srgbClr val="2F2F2F"/>
                  </a:solidFill>
                </a:rPr>
                <a:t> </a:t>
              </a:r>
              <a:r>
                <a:rPr lang="en-US" altLang="zh-CN" sz="1000">
                  <a:solidFill>
                    <a:srgbClr val="2F2F2F"/>
                  </a:solidFill>
                </a:rPr>
                <a:t>needs</a:t>
              </a:r>
              <a:r>
                <a:rPr lang="zh-CN" altLang="en-US" sz="1000">
                  <a:solidFill>
                    <a:srgbClr val="2F2F2F"/>
                  </a:solidFill>
                </a:rPr>
                <a:t> </a:t>
              </a:r>
              <a:r>
                <a:rPr lang="en-US" altLang="zh-CN" sz="1000" dirty="0">
                  <a:solidFill>
                    <a:srgbClr val="2F2F2F"/>
                  </a:solidFill>
                </a:rPr>
                <a:t>to</a:t>
              </a:r>
              <a:r>
                <a:rPr lang="zh-CN" altLang="en-US" sz="1000" dirty="0">
                  <a:solidFill>
                    <a:srgbClr val="2F2F2F"/>
                  </a:solidFill>
                </a:rPr>
                <a:t> </a:t>
              </a:r>
              <a:r>
                <a:rPr lang="en-US" altLang="zh-CN" sz="1000" dirty="0">
                  <a:solidFill>
                    <a:srgbClr val="2F2F2F"/>
                  </a:solidFill>
                </a:rPr>
                <a:t>be</a:t>
              </a:r>
              <a:r>
                <a:rPr lang="zh-CN" altLang="en-US" sz="1000" dirty="0">
                  <a:solidFill>
                    <a:srgbClr val="2F2F2F"/>
                  </a:solidFill>
                </a:rPr>
                <a:t> </a:t>
              </a:r>
              <a:r>
                <a:rPr lang="en-US" altLang="zh-CN" sz="1000" dirty="0">
                  <a:solidFill>
                    <a:srgbClr val="2F2F2F"/>
                  </a:solidFill>
                </a:rPr>
                <a:t>filled</a:t>
              </a:r>
              <a:r>
                <a:rPr lang="zh-CN" altLang="en-US" sz="1000" dirty="0">
                  <a:solidFill>
                    <a:srgbClr val="2F2F2F"/>
                  </a:solidFill>
                </a:rPr>
                <a:t> </a:t>
              </a:r>
              <a:r>
                <a:rPr lang="en-US" altLang="zh-CN" sz="1000" dirty="0">
                  <a:solidFill>
                    <a:srgbClr val="2F2F2F"/>
                  </a:solidFill>
                </a:rPr>
                <a:t>with</a:t>
              </a:r>
              <a:r>
                <a:rPr lang="zh-CN" altLang="en-US" sz="1000" dirty="0">
                  <a:solidFill>
                    <a:srgbClr val="2F2F2F"/>
                  </a:solidFill>
                </a:rPr>
                <a:t> </a:t>
              </a:r>
              <a:r>
                <a:rPr lang="en-US" altLang="zh-CN" sz="1000" dirty="0">
                  <a:solidFill>
                    <a:srgbClr val="2F2F2F"/>
                  </a:solidFill>
                </a:rPr>
                <a:t>picture</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19" name="组合 18">
            <a:extLst>
              <a:ext uri="{FF2B5EF4-FFF2-40B4-BE49-F238E27FC236}">
                <a16:creationId xmlns:a16="http://schemas.microsoft.com/office/drawing/2014/main" id="{3DADE2E2-462A-4DAB-9FCF-67CBE7BC402C}"/>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a16="http://schemas.microsoft.com/office/drawing/2014/main"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a16="http://schemas.microsoft.com/office/drawing/2014/main"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a16="http://schemas.microsoft.com/office/drawing/2014/main"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a16="http://schemas.microsoft.com/office/drawing/2014/main"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a16="http://schemas.microsoft.com/office/drawing/2014/main"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a16="http://schemas.microsoft.com/office/drawing/2014/main"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9" name="矩形: 圆角 158">
                <a:extLst>
                  <a:ext uri="{FF2B5EF4-FFF2-40B4-BE49-F238E27FC236}">
                    <a16:creationId xmlns:a16="http://schemas.microsoft.com/office/drawing/2014/main" id="{30E424DF-74BE-442A-AAB5-9F114C1494C8}"/>
                  </a:ext>
                </a:extLst>
              </p:cNvPr>
              <p:cNvSpPr>
                <a:spLocks noChangeAspect="1"/>
              </p:cNvSpPr>
              <p:nvPr/>
            </p:nvSpPr>
            <p:spPr>
              <a:xfrm>
                <a:off x="6839591" y="3950927"/>
                <a:ext cx="1189177" cy="668912"/>
              </a:xfrm>
              <a:prstGeom prst="roundRect">
                <a:avLst>
                  <a:gd name="adj" fmla="val 4418"/>
                </a:avLst>
              </a:prstGeom>
              <a:blipFill>
                <a:blip r:embed="rId3"/>
                <a:srcRect/>
                <a:stretch>
                  <a:fillRect t="-153" b="-15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354"/>
                <a:endParaRPr lang="zh-CN" altLang="en-US" kern="0">
                  <a:solidFill>
                    <a:srgbClr val="44546A">
                      <a:lumMod val="60000"/>
                      <a:lumOff val="40000"/>
                    </a:srgbClr>
                  </a:solidFill>
                </a:endParaRPr>
              </a:p>
            </p:txBody>
          </p:sp>
          <p:sp>
            <p:nvSpPr>
              <p:cNvPr id="160" name="矩形: 圆角 159">
                <a:extLst>
                  <a:ext uri="{FF2B5EF4-FFF2-40B4-BE49-F238E27FC236}">
                    <a16:creationId xmlns:a16="http://schemas.microsoft.com/office/drawing/2014/main"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a16="http://schemas.microsoft.com/office/drawing/2014/main" id="{33AD0B02-1124-4118-881C-CF0D5138955B}"/>
                </a:ext>
              </a:extLst>
            </p:cNvPr>
            <p:cNvGrpSpPr/>
            <p:nvPr/>
          </p:nvGrpSpPr>
          <p:grpSpPr>
            <a:xfrm>
              <a:off x="4595239" y="1963866"/>
              <a:ext cx="3002400" cy="320240"/>
              <a:chOff x="4595239" y="1963866"/>
              <a:chExt cx="3002400" cy="320240"/>
            </a:xfrm>
          </p:grpSpPr>
          <p:grpSp>
            <p:nvGrpSpPr>
              <p:cNvPr id="5" name="组合 4">
                <a:extLst>
                  <a:ext uri="{FF2B5EF4-FFF2-40B4-BE49-F238E27FC236}">
                    <a16:creationId xmlns:a16="http://schemas.microsoft.com/office/drawing/2014/main"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a16="http://schemas.microsoft.com/office/drawing/2014/main"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a16="http://schemas.microsoft.com/office/drawing/2014/main"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a16="http://schemas.microsoft.com/office/drawing/2014/main"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片库 </a:t>
                </a:r>
                <a:r>
                  <a:rPr lang="en-US" altLang="zh-CN" sz="1000" kern="0">
                    <a:solidFill>
                      <a:srgbClr val="FFFFFF"/>
                    </a:solidFill>
                  </a:rPr>
                  <a:t>/ Pict</a:t>
                </a:r>
                <a:r>
                  <a:rPr lang="en-US" altLang="zh-CN" sz="100" kern="0">
                    <a:solidFill>
                      <a:srgbClr val="FFFFFF"/>
                    </a:solidFill>
                  </a:rPr>
                  <a:t> </a:t>
                </a:r>
                <a:r>
                  <a:rPr lang="en-US" altLang="zh-CN" sz="1000" kern="0">
                    <a:solidFill>
                      <a:srgbClr val="FFFFFF"/>
                    </a:solidFill>
                  </a:rPr>
                  <a:t>ure </a:t>
                </a:r>
                <a:r>
                  <a:rPr lang="en-US" altLang="zh-CN" sz="1000" kern="0" dirty="0">
                    <a:solidFill>
                      <a:srgbClr val="FFFFFF"/>
                    </a:solidFill>
                  </a:rPr>
                  <a:t>Library</a:t>
                </a:r>
                <a:endParaRPr lang="zh-CN" altLang="en-US" sz="1000" kern="0" dirty="0">
                  <a:solidFill>
                    <a:srgbClr val="FFFFFF"/>
                  </a:solidFill>
                </a:endParaRPr>
              </a:p>
            </p:txBody>
          </p:sp>
        </p:grpSp>
        <p:grpSp>
          <p:nvGrpSpPr>
            <p:cNvPr id="335" name="组合 334">
              <a:extLst>
                <a:ext uri="{FF2B5EF4-FFF2-40B4-BE49-F238E27FC236}">
                  <a16:creationId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sp>
        <p:nvSpPr>
          <p:cNvPr id="613" name="文本框 612">
            <a:extLst>
              <a:ext uri="{FF2B5EF4-FFF2-40B4-BE49-F238E27FC236}">
                <a16:creationId xmlns:a16="http://schemas.microsoft.com/office/drawing/2014/main"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err="1">
                <a:solidFill>
                  <a:srgbClr val="2F2F2F"/>
                </a:solidFill>
              </a:rPr>
              <a:t>iSlide</a:t>
            </a:r>
            <a:r>
              <a:rPr lang="en-US" altLang="zh-CN" sz="1000" dirty="0">
                <a:solidFill>
                  <a:srgbClr val="2F2F2F"/>
                </a:solidFill>
              </a:rPr>
              <a:t>【</a:t>
            </a:r>
            <a:r>
              <a:rPr lang="zh-CN" altLang="en-US" sz="1000" dirty="0">
                <a:solidFill>
                  <a:srgbClr val="2F2F2F"/>
                </a:solidFill>
              </a:rPr>
              <a:t>图片库</a:t>
            </a:r>
            <a:r>
              <a:rPr lang="en-US" altLang="zh-CN" sz="1000" dirty="0">
                <a:solidFill>
                  <a:srgbClr val="2F2F2F"/>
                </a:solidFill>
              </a:rPr>
              <a:t>】</a:t>
            </a:r>
            <a:r>
              <a:rPr lang="zh-CN" altLang="en-US" sz="1000" dirty="0">
                <a:solidFill>
                  <a:srgbClr val="2F2F2F"/>
                </a:solidFill>
              </a:rPr>
              <a:t>中的图片替换</a:t>
            </a:r>
            <a:endParaRPr lang="en-US" altLang="zh-CN" sz="1000" dirty="0">
              <a:solidFill>
                <a:srgbClr val="2F2F2F"/>
              </a:solidFill>
            </a:endParaRPr>
          </a:p>
          <a:p>
            <a:r>
              <a:rPr lang="en-US" altLang="zh-CN" sz="1000" dirty="0">
                <a:solidFill>
                  <a:srgbClr val="2F2F2F"/>
                </a:solidFill>
              </a:rPr>
              <a:t>Click the target picture </a:t>
            </a:r>
            <a:r>
              <a:rPr lang="en-US" altLang="zh-CN" sz="1000">
                <a:solidFill>
                  <a:srgbClr val="2F2F2F"/>
                </a:solidFill>
              </a:rPr>
              <a:t>in iSl</a:t>
            </a:r>
            <a:r>
              <a:rPr lang="en-US" altLang="zh-CN" sz="100">
                <a:solidFill>
                  <a:srgbClr val="2F2F2F"/>
                </a:solidFill>
              </a:rPr>
              <a:t> </a:t>
            </a:r>
            <a:r>
              <a:rPr lang="en-US" altLang="zh-CN" sz="1000">
                <a:solidFill>
                  <a:srgbClr val="2F2F2F"/>
                </a:solidFill>
              </a:rPr>
              <a:t>ide </a:t>
            </a:r>
            <a:r>
              <a:rPr lang="en-US" altLang="zh-CN" sz="1000" dirty="0">
                <a:solidFill>
                  <a:srgbClr val="2F2F2F"/>
                </a:solidFill>
              </a:rPr>
              <a:t>“Picture Library” to insert it into the shape</a:t>
            </a:r>
            <a:endParaRPr lang="zh-CN" altLang="en-US" sz="1000" dirty="0">
              <a:solidFill>
                <a:srgbClr val="2F2F2F"/>
              </a:solidFill>
            </a:endParaRPr>
          </a:p>
        </p:txBody>
      </p:sp>
      <p:sp>
        <p:nvSpPr>
          <p:cNvPr id="614" name="椭圆 613">
            <a:extLst>
              <a:ext uri="{FF2B5EF4-FFF2-40B4-BE49-F238E27FC236}">
                <a16:creationId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a16="http://schemas.microsoft.com/office/drawing/2014/main" id="{64E2827D-DD54-493E-8009-F97E8BD7C996}"/>
              </a:ext>
            </a:extLst>
          </p:cNvPr>
          <p:cNvSpPr txBox="1"/>
          <p:nvPr/>
        </p:nvSpPr>
        <p:spPr>
          <a:xfrm>
            <a:off x="8346455" y="5387493"/>
            <a:ext cx="3174039" cy="553998"/>
          </a:xfrm>
          <a:prstGeom prst="rect">
            <a:avLst/>
          </a:prstGeom>
          <a:noFill/>
        </p:spPr>
        <p:txBody>
          <a:bodyPr wrap="square" rtlCol="0" anchor="ctr">
            <a:spAutoFit/>
          </a:bodyPr>
          <a:lstStyle/>
          <a:p>
            <a:r>
              <a:rPr lang="zh-CN" altLang="en-US" sz="1000" dirty="0">
                <a:solidFill>
                  <a:srgbClr val="2F2F2F"/>
                </a:solidFill>
              </a:rPr>
              <a:t>自动填充，图片保持比例不变</a:t>
            </a:r>
            <a:endParaRPr lang="en-US" altLang="zh-CN" sz="1000" dirty="0">
              <a:solidFill>
                <a:srgbClr val="2F2F2F"/>
              </a:solidFill>
            </a:endParaRPr>
          </a:p>
          <a:p>
            <a:r>
              <a:rPr lang="en-US" altLang="zh-CN" sz="1000" dirty="0">
                <a:solidFill>
                  <a:srgbClr val="2F2F2F"/>
                </a:solidFill>
              </a:rPr>
              <a:t>The picture will be filled in the </a:t>
            </a:r>
            <a:r>
              <a:rPr lang="en-US" altLang="zh-CN" sz="1000">
                <a:solidFill>
                  <a:srgbClr val="2F2F2F"/>
                </a:solidFill>
              </a:rPr>
              <a:t>shape aut</a:t>
            </a:r>
            <a:r>
              <a:rPr lang="en-US" altLang="zh-CN" sz="100">
                <a:solidFill>
                  <a:srgbClr val="2F2F2F"/>
                </a:solidFill>
              </a:rPr>
              <a:t> </a:t>
            </a:r>
            <a:r>
              <a:rPr lang="en-US" altLang="zh-CN" sz="1000">
                <a:solidFill>
                  <a:srgbClr val="2F2F2F"/>
                </a:solidFill>
              </a:rPr>
              <a:t>omatically </a:t>
            </a:r>
            <a:r>
              <a:rPr lang="en-US" altLang="zh-CN" sz="1000" dirty="0">
                <a:solidFill>
                  <a:srgbClr val="2F2F2F"/>
                </a:solidFill>
              </a:rPr>
              <a:t>while maintaining the original aspect ratio</a:t>
            </a:r>
            <a:endParaRPr lang="zh-CN" altLang="en-US" sz="1000" dirty="0">
              <a:solidFill>
                <a:srgbClr val="2F2F2F"/>
              </a:solidFill>
            </a:endParaRPr>
          </a:p>
        </p:txBody>
      </p:sp>
      <p:sp>
        <p:nvSpPr>
          <p:cNvPr id="754" name="椭圆 753">
            <a:extLst>
              <a:ext uri="{FF2B5EF4-FFF2-40B4-BE49-F238E27FC236}">
                <a16:creationId xmlns:a16="http://schemas.microsoft.com/office/drawing/2014/main" id="{2CAE1083-0567-4F35-9DA3-912D7BA86E08}"/>
              </a:ext>
            </a:extLst>
          </p:cNvPr>
          <p:cNvSpPr/>
          <p:nvPr/>
        </p:nvSpPr>
        <p:spPr>
          <a:xfrm>
            <a:off x="8024992" y="5526324"/>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6" name="组合 5">
            <a:extLst>
              <a:ext uri="{FF2B5EF4-FFF2-40B4-BE49-F238E27FC236}">
                <a16:creationId xmlns:a16="http://schemas.microsoft.com/office/drawing/2014/main" id="{05CB054B-5632-4BEE-B55C-057A66B51EA7}"/>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a16="http://schemas.microsoft.com/office/drawing/2014/main"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10" name="组合 9">
              <a:extLst>
                <a:ext uri="{FF2B5EF4-FFF2-40B4-BE49-F238E27FC236}">
                  <a16:creationId xmlns:a16="http://schemas.microsoft.com/office/drawing/2014/main" id="{5B9E7E2D-AC2C-49EF-846B-D2112A03771B}"/>
                </a:ext>
              </a:extLst>
            </p:cNvPr>
            <p:cNvGrpSpPr/>
            <p:nvPr/>
          </p:nvGrpSpPr>
          <p:grpSpPr>
            <a:xfrm>
              <a:off x="660400" y="1959178"/>
              <a:ext cx="3493913" cy="2403813"/>
              <a:chOff x="673100" y="1959176"/>
              <a:chExt cx="3493913" cy="2403813"/>
            </a:xfrm>
          </p:grpSpPr>
          <p:grpSp>
            <p:nvGrpSpPr>
              <p:cNvPr id="630" name="组合 629">
                <a:extLst>
                  <a:ext uri="{FF2B5EF4-FFF2-40B4-BE49-F238E27FC236}">
                    <a16:creationId xmlns:a16="http://schemas.microsoft.com/office/drawing/2014/main" id="{510829D3-93DD-45B8-B4CA-857E2EF8EBCC}"/>
                  </a:ext>
                </a:extLst>
              </p:cNvPr>
              <p:cNvGrpSpPr/>
              <p:nvPr/>
            </p:nvGrpSpPr>
            <p:grpSpPr>
              <a:xfrm>
                <a:off x="673100" y="1959176"/>
                <a:ext cx="3493913" cy="2403813"/>
                <a:chOff x="673100" y="1959176"/>
                <a:chExt cx="3493913" cy="2403813"/>
              </a:xfrm>
            </p:grpSpPr>
            <p:sp>
              <p:nvSpPr>
                <p:cNvPr id="631" name="Freeform 6">
                  <a:extLst>
                    <a:ext uri="{FF2B5EF4-FFF2-40B4-BE49-F238E27FC236}">
                      <a16:creationId xmlns:a16="http://schemas.microsoft.com/office/drawing/2014/main" id="{72294BB5-13DA-4B6E-865D-2BD4E411B55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dirty="0"/>
                </a:p>
              </p:txBody>
            </p:sp>
            <p:sp>
              <p:nvSpPr>
                <p:cNvPr id="632" name="矩形: 圆角 631">
                  <a:extLst>
                    <a:ext uri="{FF2B5EF4-FFF2-40B4-BE49-F238E27FC236}">
                      <a16:creationId xmlns:a16="http://schemas.microsoft.com/office/drawing/2014/main" id="{B0A9673E-E45E-40E8-8394-D4D234EB83B1}"/>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33" name="Rectangle 8">
                  <a:extLst>
                    <a:ext uri="{FF2B5EF4-FFF2-40B4-BE49-F238E27FC236}">
                      <a16:creationId xmlns:a16="http://schemas.microsoft.com/office/drawing/2014/main" id="{2DF9B9B3-2C87-4FB7-B3F8-0991D49AA9E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4" name="Rectangle 9">
                  <a:extLst>
                    <a:ext uri="{FF2B5EF4-FFF2-40B4-BE49-F238E27FC236}">
                      <a16:creationId xmlns:a16="http://schemas.microsoft.com/office/drawing/2014/main" id="{F1ABC1A6-AE5D-408B-A4FD-9442DE6B2C8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5" name="Oval 14">
                  <a:extLst>
                    <a:ext uri="{FF2B5EF4-FFF2-40B4-BE49-F238E27FC236}">
                      <a16:creationId xmlns:a16="http://schemas.microsoft.com/office/drawing/2014/main" id="{596E97CB-AB40-4317-A22D-F6D78AB0F39B}"/>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6" name="Oval 15">
                  <a:extLst>
                    <a:ext uri="{FF2B5EF4-FFF2-40B4-BE49-F238E27FC236}">
                      <a16:creationId xmlns:a16="http://schemas.microsoft.com/office/drawing/2014/main" id="{D75A818A-89BB-43FB-8B83-1FD85B898D84}"/>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7" name="Oval 16">
                  <a:extLst>
                    <a:ext uri="{FF2B5EF4-FFF2-40B4-BE49-F238E27FC236}">
                      <a16:creationId xmlns:a16="http://schemas.microsoft.com/office/drawing/2014/main" id="{7DD10C7C-7BA7-4453-B2C4-FD8894F5B431}"/>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8" name="Freeform 18">
                  <a:extLst>
                    <a:ext uri="{FF2B5EF4-FFF2-40B4-BE49-F238E27FC236}">
                      <a16:creationId xmlns:a16="http://schemas.microsoft.com/office/drawing/2014/main" id="{67CF1F31-08E2-4A01-993C-B31C6A9CB311}"/>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9" name="Rectangle 19">
                  <a:extLst>
                    <a:ext uri="{FF2B5EF4-FFF2-40B4-BE49-F238E27FC236}">
                      <a16:creationId xmlns:a16="http://schemas.microsoft.com/office/drawing/2014/main" id="{841C6BD3-6051-4CC5-8012-F63265A7490C}"/>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0" name="Freeform 20">
                  <a:extLst>
                    <a:ext uri="{FF2B5EF4-FFF2-40B4-BE49-F238E27FC236}">
                      <a16:creationId xmlns:a16="http://schemas.microsoft.com/office/drawing/2014/main" id="{D0B48CBB-7BBA-4DC2-92BE-77F3A8AE7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1" name="Freeform 21">
                  <a:extLst>
                    <a:ext uri="{FF2B5EF4-FFF2-40B4-BE49-F238E27FC236}">
                      <a16:creationId xmlns:a16="http://schemas.microsoft.com/office/drawing/2014/main" id="{D77522F3-359C-4A76-8CFB-E98210318674}"/>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2" name="Freeform 22">
                  <a:extLst>
                    <a:ext uri="{FF2B5EF4-FFF2-40B4-BE49-F238E27FC236}">
                      <a16:creationId xmlns:a16="http://schemas.microsoft.com/office/drawing/2014/main" id="{D29031B0-D856-4AC0-A389-2000EA566C1B}"/>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3" name="Freeform 23">
                  <a:extLst>
                    <a:ext uri="{FF2B5EF4-FFF2-40B4-BE49-F238E27FC236}">
                      <a16:creationId xmlns:a16="http://schemas.microsoft.com/office/drawing/2014/main" id="{FE055015-7E94-4650-A93E-2EB94EA8FCFE}"/>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4" name="矩形: 圆角 643">
                  <a:extLst>
                    <a:ext uri="{FF2B5EF4-FFF2-40B4-BE49-F238E27FC236}">
                      <a16:creationId xmlns:a16="http://schemas.microsoft.com/office/drawing/2014/main" id="{A7E978AF-0551-4504-BBDB-E5F72BFA97CA}"/>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5" name="矩形: 圆角 644">
                  <a:extLst>
                    <a:ext uri="{FF2B5EF4-FFF2-40B4-BE49-F238E27FC236}">
                      <a16:creationId xmlns:a16="http://schemas.microsoft.com/office/drawing/2014/main" id="{1D92DB09-1A26-43BD-AC9B-598C9F3BAB5C}"/>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6" name="矩形: 圆角 645">
                  <a:extLst>
                    <a:ext uri="{FF2B5EF4-FFF2-40B4-BE49-F238E27FC236}">
                      <a16:creationId xmlns:a16="http://schemas.microsoft.com/office/drawing/2014/main" id="{B292DAEA-71EC-4C54-BF5B-3F603C828145}"/>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7" name="矩形: 圆角 646">
                  <a:extLst>
                    <a:ext uri="{FF2B5EF4-FFF2-40B4-BE49-F238E27FC236}">
                      <a16:creationId xmlns:a16="http://schemas.microsoft.com/office/drawing/2014/main" id="{FC5AB78D-1183-44FB-B882-A5C05D3FAEE8}"/>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8" name="矩形: 圆角 647">
                  <a:extLst>
                    <a:ext uri="{FF2B5EF4-FFF2-40B4-BE49-F238E27FC236}">
                      <a16:creationId xmlns:a16="http://schemas.microsoft.com/office/drawing/2014/main" id="{E7793187-92B2-493B-8B2F-C1D87DCE8C84}"/>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a16="http://schemas.microsoft.com/office/drawing/2014/main" id="{276AC502-71BC-4226-8EC2-9CE0C1B80C6A}"/>
                  </a:ext>
                </a:extLst>
              </p:cNvPr>
              <p:cNvGrpSpPr/>
              <p:nvPr/>
            </p:nvGrpSpPr>
            <p:grpSpPr>
              <a:xfrm>
                <a:off x="1642158" y="3169834"/>
                <a:ext cx="2158596" cy="669284"/>
                <a:chOff x="1642158" y="3169834"/>
                <a:chExt cx="2158596" cy="669284"/>
              </a:xfrm>
            </p:grpSpPr>
            <p:sp>
              <p:nvSpPr>
                <p:cNvPr id="420" name="矩形 419">
                  <a:extLst>
                    <a:ext uri="{FF2B5EF4-FFF2-40B4-BE49-F238E27FC236}">
                      <a16:creationId xmlns:a16="http://schemas.microsoft.com/office/drawing/2014/main"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a:extLst>
                    <a:ext uri="{FF2B5EF4-FFF2-40B4-BE49-F238E27FC236}">
                      <a16:creationId xmlns:a16="http://schemas.microsoft.com/office/drawing/2014/main" id="{2745541B-888E-4007-BA79-52D8C8B54A33}"/>
                    </a:ext>
                  </a:extLst>
                </p:cNvPr>
                <p:cNvGrpSpPr/>
                <p:nvPr/>
              </p:nvGrpSpPr>
              <p:grpSpPr>
                <a:xfrm>
                  <a:off x="1687146" y="3211004"/>
                  <a:ext cx="2101734" cy="587141"/>
                  <a:chOff x="1633218" y="3294045"/>
                  <a:chExt cx="2101734" cy="587141"/>
                </a:xfrm>
              </p:grpSpPr>
              <p:sp>
                <p:nvSpPr>
                  <p:cNvPr id="125" name="圆角矩形 13">
                    <a:extLst>
                      <a:ext uri="{FF2B5EF4-FFF2-40B4-BE49-F238E27FC236}">
                        <a16:creationId xmlns:a16="http://schemas.microsoft.com/office/drawing/2014/main" id="{488858F3-69A3-4E36-933E-A60BB21CB6F5}"/>
                      </a:ext>
                    </a:extLst>
                  </p:cNvPr>
                  <p:cNvSpPr/>
                  <p:nvPr/>
                </p:nvSpPr>
                <p:spPr>
                  <a:xfrm>
                    <a:off x="1633218" y="3294045"/>
                    <a:ext cx="875309" cy="587141"/>
                  </a:xfrm>
                  <a:prstGeom prst="roundRect">
                    <a:avLst>
                      <a:gd name="adj" fmla="val 8038"/>
                    </a:avLst>
                  </a:prstGeom>
                  <a:pattFill prst="pct5">
                    <a:fgClr>
                      <a:srgbClr val="867D98">
                        <a:lumMod val="20000"/>
                        <a:lumOff val="80000"/>
                      </a:srgbClr>
                    </a:fgClr>
                    <a:bgClr>
                      <a:srgbClr val="ADB5BF"/>
                    </a:bgClr>
                  </a:patt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144" name="组合 143">
                    <a:extLst>
                      <a:ext uri="{FF2B5EF4-FFF2-40B4-BE49-F238E27FC236}">
                        <a16:creationId xmlns:a16="http://schemas.microsoft.com/office/drawing/2014/main" id="{428E477C-F4CA-49FF-BCAA-14A401D6124F}"/>
                      </a:ext>
                    </a:extLst>
                  </p:cNvPr>
                  <p:cNvGrpSpPr/>
                  <p:nvPr/>
                </p:nvGrpSpPr>
                <p:grpSpPr>
                  <a:xfrm>
                    <a:off x="2634832" y="3294045"/>
                    <a:ext cx="1100120" cy="587141"/>
                    <a:chOff x="1703214" y="3185928"/>
                    <a:chExt cx="582258" cy="521425"/>
                  </a:xfrm>
                </p:grpSpPr>
                <p:sp>
                  <p:nvSpPr>
                    <p:cNvPr id="145" name="矩形 144">
                      <a:extLst>
                        <a:ext uri="{FF2B5EF4-FFF2-40B4-BE49-F238E27FC236}">
                          <a16:creationId xmlns:a16="http://schemas.microsoft.com/office/drawing/2014/main"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69" name="组合 168">
                  <a:extLst>
                    <a:ext uri="{FF2B5EF4-FFF2-40B4-BE49-F238E27FC236}">
                      <a16:creationId xmlns:a16="http://schemas.microsoft.com/office/drawing/2014/main" id="{EC3F73D4-F515-4140-8158-87AE57BCA18E}"/>
                    </a:ext>
                  </a:extLst>
                </p:cNvPr>
                <p:cNvGrpSpPr/>
                <p:nvPr/>
              </p:nvGrpSpPr>
              <p:grpSpPr>
                <a:xfrm>
                  <a:off x="1642158" y="3169834"/>
                  <a:ext cx="956891" cy="669284"/>
                  <a:chOff x="4979129" y="5045363"/>
                  <a:chExt cx="526932" cy="368557"/>
                </a:xfrm>
              </p:grpSpPr>
              <p:sp>
                <p:nvSpPr>
                  <p:cNvPr id="170" name="矩形 169">
                    <a:extLst>
                      <a:ext uri="{FF2B5EF4-FFF2-40B4-BE49-F238E27FC236}">
                        <a16:creationId xmlns:a16="http://schemas.microsoft.com/office/drawing/2014/main" id="{E1A6343C-E9AF-4F6B-8807-64C6D3898212}"/>
                      </a:ext>
                    </a:extLst>
                  </p:cNvPr>
                  <p:cNvSpPr/>
                  <p:nvPr/>
                </p:nvSpPr>
                <p:spPr>
                  <a:xfrm>
                    <a:off x="5001992" y="5068224"/>
                    <a:ext cx="481727" cy="323135"/>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1" name="椭圆 170">
                    <a:extLst>
                      <a:ext uri="{FF2B5EF4-FFF2-40B4-BE49-F238E27FC236}">
                        <a16:creationId xmlns:a16="http://schemas.microsoft.com/office/drawing/2014/main" id="{369817C5-79D9-4864-8C51-E8A19B7DA008}"/>
                      </a:ext>
                    </a:extLst>
                  </p:cNvPr>
                  <p:cNvSpPr/>
                  <p:nvPr/>
                </p:nvSpPr>
                <p:spPr>
                  <a:xfrm flipH="1">
                    <a:off x="4979129"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椭圆 171">
                    <a:extLst>
                      <a:ext uri="{FF2B5EF4-FFF2-40B4-BE49-F238E27FC236}">
                        <a16:creationId xmlns:a16="http://schemas.microsoft.com/office/drawing/2014/main" id="{0264495B-17CB-4E7B-BFE8-5DF7A0249796}"/>
                      </a:ext>
                    </a:extLst>
                  </p:cNvPr>
                  <p:cNvSpPr/>
                  <p:nvPr/>
                </p:nvSpPr>
                <p:spPr>
                  <a:xfrm flipH="1">
                    <a:off x="5219995"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椭圆 172">
                    <a:extLst>
                      <a:ext uri="{FF2B5EF4-FFF2-40B4-BE49-F238E27FC236}">
                        <a16:creationId xmlns:a16="http://schemas.microsoft.com/office/drawing/2014/main" id="{07318BFA-8529-4CB7-A1DF-AE3F0CAF4B3B}"/>
                      </a:ext>
                    </a:extLst>
                  </p:cNvPr>
                  <p:cNvSpPr/>
                  <p:nvPr/>
                </p:nvSpPr>
                <p:spPr>
                  <a:xfrm flipH="1">
                    <a:off x="5460337"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椭圆 176">
                    <a:extLst>
                      <a:ext uri="{FF2B5EF4-FFF2-40B4-BE49-F238E27FC236}">
                        <a16:creationId xmlns:a16="http://schemas.microsoft.com/office/drawing/2014/main" id="{01C057E9-76C3-4DCD-B579-9BB383218B7D}"/>
                      </a:ext>
                    </a:extLst>
                  </p:cNvPr>
                  <p:cNvSpPr/>
                  <p:nvPr/>
                </p:nvSpPr>
                <p:spPr>
                  <a:xfrm flipH="1">
                    <a:off x="4979129"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椭圆 177">
                    <a:extLst>
                      <a:ext uri="{FF2B5EF4-FFF2-40B4-BE49-F238E27FC236}">
                        <a16:creationId xmlns:a16="http://schemas.microsoft.com/office/drawing/2014/main" id="{4D360A41-2751-4012-85FB-FB320C5FDC4E}"/>
                      </a:ext>
                    </a:extLst>
                  </p:cNvPr>
                  <p:cNvSpPr/>
                  <p:nvPr/>
                </p:nvSpPr>
                <p:spPr>
                  <a:xfrm flipH="1">
                    <a:off x="5460341"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椭圆 189">
                    <a:extLst>
                      <a:ext uri="{FF2B5EF4-FFF2-40B4-BE49-F238E27FC236}">
                        <a16:creationId xmlns:a16="http://schemas.microsoft.com/office/drawing/2014/main" id="{98AAFF81-4D05-4193-AD73-8D53438272E5}"/>
                      </a:ext>
                    </a:extLst>
                  </p:cNvPr>
                  <p:cNvSpPr/>
                  <p:nvPr/>
                </p:nvSpPr>
                <p:spPr>
                  <a:xfrm flipH="1">
                    <a:off x="4979129" y="5368200"/>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椭圆 190">
                    <a:extLst>
                      <a:ext uri="{FF2B5EF4-FFF2-40B4-BE49-F238E27FC236}">
                        <a16:creationId xmlns:a16="http://schemas.microsoft.com/office/drawing/2014/main" id="{51B80C2F-8B0A-4B59-A45E-11544A481C29}"/>
                      </a:ext>
                    </a:extLst>
                  </p:cNvPr>
                  <p:cNvSpPr/>
                  <p:nvPr/>
                </p:nvSpPr>
                <p:spPr>
                  <a:xfrm flipH="1">
                    <a:off x="5219995"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椭圆 191">
                    <a:extLst>
                      <a:ext uri="{FF2B5EF4-FFF2-40B4-BE49-F238E27FC236}">
                        <a16:creationId xmlns:a16="http://schemas.microsoft.com/office/drawing/2014/main" id="{2D68CCDA-A842-4953-913F-5D57DD0DA445}"/>
                      </a:ext>
                    </a:extLst>
                  </p:cNvPr>
                  <p:cNvSpPr/>
                  <p:nvPr/>
                </p:nvSpPr>
                <p:spPr>
                  <a:xfrm flipH="1">
                    <a:off x="5460337"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
        <p:nvSpPr>
          <p:cNvPr id="211" name="矩形 210">
            <a:extLst>
              <a:ext uri="{FF2B5EF4-FFF2-40B4-BE49-F238E27FC236}">
                <a16:creationId xmlns:a16="http://schemas.microsoft.com/office/drawing/2014/main" id="{0510714D-1063-4116-9681-56D6C11586DB}"/>
              </a:ext>
            </a:extLst>
          </p:cNvPr>
          <p:cNvSpPr/>
          <p:nvPr/>
        </p:nvSpPr>
        <p:spPr>
          <a:xfrm>
            <a:off x="9010199" y="3180644"/>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0">
            <a:extLst>
              <a:ext uri="{FF2B5EF4-FFF2-40B4-BE49-F238E27FC236}">
                <a16:creationId xmlns:a16="http://schemas.microsoft.com/office/drawing/2014/main" id="{956C0B5D-F5F6-4391-BA8D-37F22BE68FDA}"/>
              </a:ext>
            </a:extLst>
          </p:cNvPr>
          <p:cNvGrpSpPr/>
          <p:nvPr/>
        </p:nvGrpSpPr>
        <p:grpSpPr>
          <a:xfrm>
            <a:off x="8024987" y="1959178"/>
            <a:ext cx="3493913" cy="2403813"/>
            <a:chOff x="8024986" y="1959176"/>
            <a:chExt cx="3493913" cy="2403813"/>
          </a:xfrm>
        </p:grpSpPr>
        <p:grpSp>
          <p:nvGrpSpPr>
            <p:cNvPr id="608" name="组合 607">
              <a:extLst>
                <a:ext uri="{FF2B5EF4-FFF2-40B4-BE49-F238E27FC236}">
                  <a16:creationId xmlns:a16="http://schemas.microsoft.com/office/drawing/2014/main" id="{DCCD8EAC-8413-4950-94D6-6E1EB4F34DD5}"/>
                </a:ext>
              </a:extLst>
            </p:cNvPr>
            <p:cNvGrpSpPr/>
            <p:nvPr/>
          </p:nvGrpSpPr>
          <p:grpSpPr>
            <a:xfrm>
              <a:off x="8024986" y="1959176"/>
              <a:ext cx="3493913" cy="2403813"/>
              <a:chOff x="8024986" y="1959176"/>
              <a:chExt cx="3493913" cy="2403813"/>
            </a:xfrm>
          </p:grpSpPr>
          <p:sp>
            <p:nvSpPr>
              <p:cNvPr id="609" name="Freeform 6">
                <a:extLst>
                  <a:ext uri="{FF2B5EF4-FFF2-40B4-BE49-F238E27FC236}">
                    <a16:creationId xmlns:a16="http://schemas.microsoft.com/office/drawing/2014/main" id="{FF69F6C2-47FC-4959-84F0-F8BCB61C572F}"/>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0" name="矩形: 圆角 609">
                <a:extLst>
                  <a:ext uri="{FF2B5EF4-FFF2-40B4-BE49-F238E27FC236}">
                    <a16:creationId xmlns:a16="http://schemas.microsoft.com/office/drawing/2014/main" id="{6C5B2963-ECA9-4700-AEF1-D4F9D0446EA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1" name="Rectangle 8">
                <a:extLst>
                  <a:ext uri="{FF2B5EF4-FFF2-40B4-BE49-F238E27FC236}">
                    <a16:creationId xmlns:a16="http://schemas.microsoft.com/office/drawing/2014/main" id="{FC9BDBEC-A273-4FEB-892A-E0B9D85FAD0F}"/>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2" name="Rectangle 9">
                <a:extLst>
                  <a:ext uri="{FF2B5EF4-FFF2-40B4-BE49-F238E27FC236}">
                    <a16:creationId xmlns:a16="http://schemas.microsoft.com/office/drawing/2014/main" id="{9A98051B-AB98-43BD-8039-1C62FB08D8B8}"/>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4">
                <a:extLst>
                  <a:ext uri="{FF2B5EF4-FFF2-40B4-BE49-F238E27FC236}">
                    <a16:creationId xmlns:a16="http://schemas.microsoft.com/office/drawing/2014/main" id="{471121A1-F8F1-44CB-8F2F-C0D1C37860A8}"/>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6" name="Oval 15">
                <a:extLst>
                  <a:ext uri="{FF2B5EF4-FFF2-40B4-BE49-F238E27FC236}">
                    <a16:creationId xmlns:a16="http://schemas.microsoft.com/office/drawing/2014/main" id="{A40A8446-7E8E-4B21-9495-3CF22B7C42C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7" name="Oval 16">
                <a:extLst>
                  <a:ext uri="{FF2B5EF4-FFF2-40B4-BE49-F238E27FC236}">
                    <a16:creationId xmlns:a16="http://schemas.microsoft.com/office/drawing/2014/main" id="{BE987962-30BE-4B9B-9CA4-6D7883091721}"/>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9" name="Freeform 18">
                <a:extLst>
                  <a:ext uri="{FF2B5EF4-FFF2-40B4-BE49-F238E27FC236}">
                    <a16:creationId xmlns:a16="http://schemas.microsoft.com/office/drawing/2014/main" id="{30E2C5FC-33B1-47E5-AD36-4E6B4FAEBBCC}"/>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0" name="Rectangle 19">
                <a:extLst>
                  <a:ext uri="{FF2B5EF4-FFF2-40B4-BE49-F238E27FC236}">
                    <a16:creationId xmlns:a16="http://schemas.microsoft.com/office/drawing/2014/main" id="{28F7A2CC-66F3-42CD-9732-C1AA1859EC8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1" name="Freeform 20">
                <a:extLst>
                  <a:ext uri="{FF2B5EF4-FFF2-40B4-BE49-F238E27FC236}">
                    <a16:creationId xmlns:a16="http://schemas.microsoft.com/office/drawing/2014/main" id="{4DD48F52-1F9A-476B-8A9A-20C8F508B49F}"/>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1">
                <a:extLst>
                  <a:ext uri="{FF2B5EF4-FFF2-40B4-BE49-F238E27FC236}">
                    <a16:creationId xmlns:a16="http://schemas.microsoft.com/office/drawing/2014/main" id="{472B9D02-8F50-440D-9F55-2E34EDD06C2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2">
                <a:extLst>
                  <a:ext uri="{FF2B5EF4-FFF2-40B4-BE49-F238E27FC236}">
                    <a16:creationId xmlns:a16="http://schemas.microsoft.com/office/drawing/2014/main" id="{A5F8C765-92B7-41C1-87CB-C17E9F46333C}"/>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4" name="Freeform 23">
                <a:extLst>
                  <a:ext uri="{FF2B5EF4-FFF2-40B4-BE49-F238E27FC236}">
                    <a16:creationId xmlns:a16="http://schemas.microsoft.com/office/drawing/2014/main" id="{0BA9A71E-D138-4574-8EE0-19A441C6AF2A}"/>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5" name="矩形: 圆角 624">
                <a:extLst>
                  <a:ext uri="{FF2B5EF4-FFF2-40B4-BE49-F238E27FC236}">
                    <a16:creationId xmlns:a16="http://schemas.microsoft.com/office/drawing/2014/main" id="{92E768DA-EF1D-42C2-9B38-20445A9E3BC3}"/>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6" name="矩形: 圆角 625">
                <a:extLst>
                  <a:ext uri="{FF2B5EF4-FFF2-40B4-BE49-F238E27FC236}">
                    <a16:creationId xmlns:a16="http://schemas.microsoft.com/office/drawing/2014/main" id="{7AFD250F-B882-418A-B79A-AE329F8692B0}"/>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7" name="矩形: 圆角 626">
                <a:extLst>
                  <a:ext uri="{FF2B5EF4-FFF2-40B4-BE49-F238E27FC236}">
                    <a16:creationId xmlns:a16="http://schemas.microsoft.com/office/drawing/2014/main" id="{3CA75934-C292-46AD-9325-128D972B839C}"/>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8" name="矩形: 圆角 627">
                <a:extLst>
                  <a:ext uri="{FF2B5EF4-FFF2-40B4-BE49-F238E27FC236}">
                    <a16:creationId xmlns:a16="http://schemas.microsoft.com/office/drawing/2014/main" id="{5E37EE48-49D9-4743-98F1-815E336336AA}"/>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9" name="矩形: 圆角 628">
                <a:extLst>
                  <a:ext uri="{FF2B5EF4-FFF2-40B4-BE49-F238E27FC236}">
                    <a16:creationId xmlns:a16="http://schemas.microsoft.com/office/drawing/2014/main" id="{7396136D-056B-45EB-853B-366205E7375D}"/>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214" name="组合 213">
              <a:extLst>
                <a:ext uri="{FF2B5EF4-FFF2-40B4-BE49-F238E27FC236}">
                  <a16:creationId xmlns:a16="http://schemas.microsoft.com/office/drawing/2014/main" id="{7FEAF294-79A2-4F9A-89C4-B17D5389BFEF}"/>
                </a:ext>
              </a:extLst>
            </p:cNvPr>
            <p:cNvGrpSpPr/>
            <p:nvPr/>
          </p:nvGrpSpPr>
          <p:grpSpPr>
            <a:xfrm>
              <a:off x="9039034" y="3211004"/>
              <a:ext cx="2101734" cy="587141"/>
              <a:chOff x="1633218" y="3294045"/>
              <a:chExt cx="2101734" cy="587141"/>
            </a:xfrm>
          </p:grpSpPr>
          <p:sp>
            <p:nvSpPr>
              <p:cNvPr id="231" name="圆角矩形 13">
                <a:extLst>
                  <a:ext uri="{FF2B5EF4-FFF2-40B4-BE49-F238E27FC236}">
                    <a16:creationId xmlns:a16="http://schemas.microsoft.com/office/drawing/2014/main" id="{9491DAE1-4CEA-4AFC-A030-4E6E6F3F2EDA}"/>
                  </a:ext>
                </a:extLst>
              </p:cNvPr>
              <p:cNvSpPr/>
              <p:nvPr/>
            </p:nvSpPr>
            <p:spPr>
              <a:xfrm>
                <a:off x="1633218" y="3294045"/>
                <a:ext cx="875309" cy="587141"/>
              </a:xfrm>
              <a:prstGeom prst="roundRect">
                <a:avLst>
                  <a:gd name="adj" fmla="val 8038"/>
                </a:avLst>
              </a:prstGeom>
              <a:blipFill>
                <a:blip r:embed="rId3"/>
                <a:srcRect/>
                <a:stretch>
                  <a:fillRect l="-9443" r="-944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endParaRPr lang="zh-CN" altLang="en-US" kern="0" dirty="0">
                  <a:solidFill>
                    <a:srgbClr val="44546A">
                      <a:lumMod val="60000"/>
                      <a:lumOff val="40000"/>
                    </a:srgbClr>
                  </a:solidFill>
                </a:endParaRPr>
              </a:p>
            </p:txBody>
          </p:sp>
          <p:grpSp>
            <p:nvGrpSpPr>
              <p:cNvPr id="232" name="组合 231">
                <a:extLst>
                  <a:ext uri="{FF2B5EF4-FFF2-40B4-BE49-F238E27FC236}">
                    <a16:creationId xmlns:a16="http://schemas.microsoft.com/office/drawing/2014/main" id="{E2391124-F265-4DB1-8229-74D602D19143}"/>
                  </a:ext>
                </a:extLst>
              </p:cNvPr>
              <p:cNvGrpSpPr/>
              <p:nvPr/>
            </p:nvGrpSpPr>
            <p:grpSpPr>
              <a:xfrm>
                <a:off x="2634832" y="3294045"/>
                <a:ext cx="1100120" cy="587141"/>
                <a:chOff x="1703214" y="3185928"/>
                <a:chExt cx="582258" cy="521425"/>
              </a:xfrm>
            </p:grpSpPr>
            <p:sp>
              <p:nvSpPr>
                <p:cNvPr id="233" name="矩形 232">
                  <a:extLst>
                    <a:ext uri="{FF2B5EF4-FFF2-40B4-BE49-F238E27FC236}">
                      <a16:creationId xmlns:a16="http://schemas.microsoft.com/office/drawing/2014/main" id="{C24C1FF5-F911-419A-917D-EE3BC6FF1575}"/>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矩形 233">
                  <a:extLst>
                    <a:ext uri="{FF2B5EF4-FFF2-40B4-BE49-F238E27FC236}">
                      <a16:creationId xmlns:a16="http://schemas.microsoft.com/office/drawing/2014/main" id="{B1784DD8-9CF9-4CAD-AAE1-28E2859DB9ED}"/>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矩形 234">
                  <a:extLst>
                    <a:ext uri="{FF2B5EF4-FFF2-40B4-BE49-F238E27FC236}">
                      <a16:creationId xmlns:a16="http://schemas.microsoft.com/office/drawing/2014/main" id="{FFF26157-FF7D-42F5-8741-B0B5675BACE1}"/>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标题 1">
            <a:extLst>
              <a:ext uri="{FF2B5EF4-FFF2-40B4-BE49-F238E27FC236}">
                <a16:creationId xmlns:a16="http://schemas.microsoft.com/office/drawing/2014/main" id="{02F5592C-255D-433F-8125-698E99B5A828}"/>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填充图示中的图片  </a:t>
            </a:r>
            <a:r>
              <a:rPr lang="en-US" altLang="zh-CN" sz="2800" b="1"/>
              <a:t>Fill Pi</a:t>
            </a:r>
            <a:r>
              <a:rPr lang="en-US" altLang="zh-CN" sz="100" b="1"/>
              <a:t> </a:t>
            </a:r>
            <a:r>
              <a:rPr lang="en-US" altLang="zh-CN" sz="2800" b="1"/>
              <a:t>ctures </a:t>
            </a:r>
            <a:r>
              <a:rPr lang="en-US" altLang="zh-CN" sz="2800" b="1" dirty="0"/>
              <a:t>in Diagram</a:t>
            </a:r>
            <a:endParaRPr lang="zh-CN" altLang="en-US" sz="2800" b="1" dirty="0"/>
          </a:p>
        </p:txBody>
      </p:sp>
      <p:sp>
        <p:nvSpPr>
          <p:cNvPr id="4" name="矩形 3">
            <a:extLst>
              <a:ext uri="{FF2B5EF4-FFF2-40B4-BE49-F238E27FC236}">
                <a16:creationId xmlns:a16="http://schemas.microsoft.com/office/drawing/2014/main" id="{E43AC282-26A4-4B89-9254-20067634254A}"/>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is an instruction</a:t>
            </a:r>
            <a:r>
              <a:rPr lang="en-US" altLang="zh-CN" sz="800">
                <a:solidFill>
                  <a:schemeClr val="bg1"/>
                </a:solidFill>
              </a:rPr>
              <a:t>. Plea</a:t>
            </a:r>
            <a:r>
              <a:rPr lang="en-US" altLang="zh-CN" sz="100">
                <a:solidFill>
                  <a:schemeClr val="bg1"/>
                </a:solidFill>
              </a:rPr>
              <a:t> </a:t>
            </a:r>
            <a:r>
              <a:rPr lang="en-US" altLang="zh-CN" sz="800">
                <a:solidFill>
                  <a:schemeClr val="bg1"/>
                </a:solidFill>
              </a:rPr>
              <a:t>se </a:t>
            </a:r>
            <a:r>
              <a:rPr lang="en-US" altLang="zh-CN" sz="800" dirty="0">
                <a:solidFill>
                  <a:schemeClr val="bg1"/>
                </a:solidFill>
              </a:rPr>
              <a:t>delete this slide before using it for presentation.</a:t>
            </a:r>
          </a:p>
        </p:txBody>
      </p:sp>
    </p:spTree>
    <p:custDataLst>
      <p:tags r:id="rId1"/>
    </p:custDataLst>
    <p:extLst>
      <p:ext uri="{BB962C8B-B14F-4D97-AF65-F5344CB8AC3E}">
        <p14:creationId xmlns:p14="http://schemas.microsoft.com/office/powerpoint/2010/main" val="3299890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5F6B81AB-CE69-4C9D-8320-3B89A6421073}"/>
              </a:ext>
            </a:extLst>
          </p:cNvPr>
          <p:cNvGrpSpPr/>
          <p:nvPr/>
        </p:nvGrpSpPr>
        <p:grpSpPr>
          <a:xfrm>
            <a:off x="660400" y="5387492"/>
            <a:ext cx="3493913" cy="553998"/>
            <a:chOff x="673100" y="5387492"/>
            <a:chExt cx="3493913" cy="553998"/>
          </a:xfrm>
        </p:grpSpPr>
        <p:sp>
          <p:nvSpPr>
            <p:cNvPr id="351" name="文本框 350"/>
            <p:cNvSpPr txBox="1"/>
            <p:nvPr/>
          </p:nvSpPr>
          <p:spPr>
            <a:xfrm>
              <a:off x="994562" y="5387492"/>
              <a:ext cx="3172451" cy="553998"/>
            </a:xfrm>
            <a:prstGeom prst="rect">
              <a:avLst/>
            </a:prstGeom>
            <a:noFill/>
          </p:spPr>
          <p:txBody>
            <a:bodyPr wrap="square" rtlCol="0" anchor="ctr">
              <a:spAutoFit/>
            </a:bodyPr>
            <a:lstStyle/>
            <a:p>
              <a:r>
                <a:rPr lang="zh-CN" altLang="en-US" sz="1000" dirty="0">
                  <a:solidFill>
                    <a:srgbClr val="2F2F2F"/>
                  </a:solidFill>
                </a:rPr>
                <a:t>解除组合，选中图示中的插图</a:t>
              </a:r>
              <a:endParaRPr lang="en-US" altLang="zh-CN" sz="1000" dirty="0">
                <a:solidFill>
                  <a:srgbClr val="2F2F2F"/>
                </a:solidFill>
              </a:endParaRPr>
            </a:p>
            <a:p>
              <a:r>
                <a:rPr lang="en-US" altLang="zh-CN" sz="1000" dirty="0">
                  <a:solidFill>
                    <a:srgbClr val="2F2F2F"/>
                  </a:solidFill>
                </a:rPr>
                <a:t>Ungroup the diagram </a:t>
              </a:r>
              <a:r>
                <a:rPr lang="en-US" altLang="zh-CN" sz="1000">
                  <a:solidFill>
                    <a:srgbClr val="2F2F2F"/>
                  </a:solidFill>
                </a:rPr>
                <a:t>and sel</a:t>
              </a:r>
              <a:r>
                <a:rPr lang="en-US" altLang="zh-CN" sz="100">
                  <a:solidFill>
                    <a:srgbClr val="2F2F2F"/>
                  </a:solidFill>
                </a:rPr>
                <a:t> </a:t>
              </a:r>
              <a:r>
                <a:rPr lang="en-US" altLang="zh-CN" sz="1000">
                  <a:solidFill>
                    <a:srgbClr val="2F2F2F"/>
                  </a:solidFill>
                </a:rPr>
                <a:t>ect </a:t>
              </a:r>
              <a:r>
                <a:rPr lang="en-US" altLang="zh-CN" sz="1000" dirty="0">
                  <a:solidFill>
                    <a:srgbClr val="2F2F2F"/>
                  </a:solidFill>
                </a:rPr>
                <a:t>the shape that needs to be replaced</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a16="http://schemas.microsoft.com/office/drawing/2014/main" id="{8AD2200D-CA44-4767-84EF-C1856654B4FA}"/>
              </a:ext>
            </a:extLst>
          </p:cNvPr>
          <p:cNvSpPr txBox="1"/>
          <p:nvPr/>
        </p:nvSpPr>
        <p:spPr>
          <a:xfrm>
            <a:off x="4916703" y="5387482"/>
            <a:ext cx="2558947" cy="553998"/>
          </a:xfrm>
          <a:prstGeom prst="rect">
            <a:avLst/>
          </a:prstGeom>
          <a:noFill/>
        </p:spPr>
        <p:txBody>
          <a:bodyPr wrap="square" rtlCol="0" anchor="ctr">
            <a:spAutoFit/>
          </a:bodyPr>
          <a:lstStyle/>
          <a:p>
            <a:r>
              <a:rPr lang="zh-CN" altLang="en-US" sz="1000" dirty="0">
                <a:solidFill>
                  <a:srgbClr val="2F2F2F"/>
                </a:solidFill>
              </a:rPr>
              <a:t>点击 </a:t>
            </a:r>
            <a:r>
              <a:rPr lang="en-US" altLang="zh-CN" sz="1000" dirty="0">
                <a:solidFill>
                  <a:srgbClr val="2F2F2F"/>
                </a:solidFill>
              </a:rPr>
              <a:t>iSlide【</a:t>
            </a:r>
            <a:r>
              <a:rPr lang="zh-CN" altLang="en-US" sz="1000" dirty="0">
                <a:solidFill>
                  <a:srgbClr val="2F2F2F"/>
                </a:solidFill>
              </a:rPr>
              <a:t>插图库</a:t>
            </a:r>
            <a:r>
              <a:rPr lang="en-US" altLang="zh-CN" sz="1000" dirty="0">
                <a:solidFill>
                  <a:srgbClr val="2F2F2F"/>
                </a:solidFill>
              </a:rPr>
              <a:t>】</a:t>
            </a:r>
            <a:r>
              <a:rPr lang="zh-CN" altLang="en-US" sz="1000" dirty="0">
                <a:solidFill>
                  <a:srgbClr val="2F2F2F"/>
                </a:solidFill>
              </a:rPr>
              <a:t>中的插图替换</a:t>
            </a:r>
            <a:endParaRPr lang="en-US" altLang="zh-CN" sz="1000" dirty="0">
              <a:solidFill>
                <a:srgbClr val="2F2F2F"/>
              </a:solidFill>
            </a:endParaRPr>
          </a:p>
          <a:p>
            <a:r>
              <a:rPr lang="en-US" altLang="zh-CN" sz="1000" dirty="0">
                <a:solidFill>
                  <a:srgbClr val="2F2F2F"/>
                </a:solidFill>
              </a:rPr>
              <a:t>Click the target vector </a:t>
            </a:r>
            <a:r>
              <a:rPr lang="en-US" altLang="zh-CN" sz="1000">
                <a:solidFill>
                  <a:srgbClr val="2F2F2F"/>
                </a:solidFill>
              </a:rPr>
              <a:t>in iSli</a:t>
            </a:r>
            <a:r>
              <a:rPr lang="en-US" altLang="zh-CN" sz="100">
                <a:solidFill>
                  <a:srgbClr val="2F2F2F"/>
                </a:solidFill>
              </a:rPr>
              <a:t> </a:t>
            </a:r>
            <a:r>
              <a:rPr lang="en-US" altLang="zh-CN" sz="1000">
                <a:solidFill>
                  <a:srgbClr val="2F2F2F"/>
                </a:solidFill>
              </a:rPr>
              <a:t>de </a:t>
            </a:r>
            <a:r>
              <a:rPr lang="en-US" altLang="zh-CN" sz="1000" dirty="0">
                <a:solidFill>
                  <a:srgbClr val="2F2F2F"/>
                </a:solidFill>
              </a:rPr>
              <a:t>“Vector Library” to insert it into the diagram</a:t>
            </a:r>
            <a:endParaRPr lang="zh-CN" altLang="en-US" sz="1000" dirty="0">
              <a:solidFill>
                <a:srgbClr val="2F2F2F"/>
              </a:solidFill>
            </a:endParaRPr>
          </a:p>
        </p:txBody>
      </p:sp>
      <p:sp>
        <p:nvSpPr>
          <p:cNvPr id="614" name="椭圆 613">
            <a:extLst>
              <a:ext uri="{FF2B5EF4-FFF2-40B4-BE49-F238E27FC236}">
                <a16:creationId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a16="http://schemas.microsoft.com/office/drawing/2014/main" id="{64E2827D-DD54-493E-8009-F97E8BD7C996}"/>
              </a:ext>
            </a:extLst>
          </p:cNvPr>
          <p:cNvSpPr txBox="1"/>
          <p:nvPr/>
        </p:nvSpPr>
        <p:spPr>
          <a:xfrm>
            <a:off x="8346455" y="5464436"/>
            <a:ext cx="3174039" cy="400110"/>
          </a:xfrm>
          <a:prstGeom prst="rect">
            <a:avLst/>
          </a:prstGeom>
          <a:noFill/>
        </p:spPr>
        <p:txBody>
          <a:bodyPr wrap="square" rtlCol="0" anchor="ctr">
            <a:spAutoFit/>
          </a:bodyPr>
          <a:lstStyle/>
          <a:p>
            <a:r>
              <a:rPr lang="zh-CN" altLang="en-US" sz="1000">
                <a:solidFill>
                  <a:srgbClr val="2F2F2F"/>
                </a:solidFill>
              </a:rPr>
              <a:t>替换成功</a:t>
            </a:r>
            <a:r>
              <a:rPr lang="zh-CN" altLang="en-US" sz="100">
                <a:solidFill>
                  <a:srgbClr val="2F2F2F"/>
                </a:solidFill>
              </a:rPr>
              <a:t> </a:t>
            </a:r>
            <a:endParaRPr lang="en-US" altLang="zh-CN" sz="100" dirty="0">
              <a:solidFill>
                <a:srgbClr val="2F2F2F"/>
              </a:solidFill>
            </a:endParaRPr>
          </a:p>
          <a:p>
            <a:r>
              <a:rPr lang="en-US" altLang="zh-CN" sz="1000" dirty="0">
                <a:solidFill>
                  <a:srgbClr val="2F2F2F"/>
                </a:solidFill>
              </a:rPr>
              <a:t>Done</a:t>
            </a:r>
            <a:endParaRPr lang="zh-CN" altLang="en-US" sz="1000" dirty="0">
              <a:solidFill>
                <a:srgbClr val="2F2F2F"/>
              </a:solidFill>
            </a:endParaRPr>
          </a:p>
        </p:txBody>
      </p:sp>
      <p:sp>
        <p:nvSpPr>
          <p:cNvPr id="754" name="椭圆 753">
            <a:extLst>
              <a:ext uri="{FF2B5EF4-FFF2-40B4-BE49-F238E27FC236}">
                <a16:creationId xmlns:a16="http://schemas.microsoft.com/office/drawing/2014/main" id="{2CAE1083-0567-4F35-9DA3-912D7BA86E08}"/>
              </a:ext>
            </a:extLst>
          </p:cNvPr>
          <p:cNvSpPr/>
          <p:nvPr/>
        </p:nvSpPr>
        <p:spPr>
          <a:xfrm>
            <a:off x="8024992" y="5526321"/>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13" name="组合 12">
            <a:extLst>
              <a:ext uri="{FF2B5EF4-FFF2-40B4-BE49-F238E27FC236}">
                <a16:creationId xmlns:a16="http://schemas.microsoft.com/office/drawing/2014/main" id="{D81B7CF2-C7AA-46F9-ACA8-EBB3BF1C5334}"/>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a16="http://schemas.microsoft.com/office/drawing/2014/main"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a16="http://schemas.microsoft.com/office/drawing/2014/main"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a16="http://schemas.microsoft.com/office/drawing/2014/main"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a16="http://schemas.microsoft.com/office/drawing/2014/main"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a16="http://schemas.microsoft.com/office/drawing/2014/main"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a16="http://schemas.microsoft.com/office/drawing/2014/main"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60" name="矩形: 圆角 159">
                <a:extLst>
                  <a:ext uri="{FF2B5EF4-FFF2-40B4-BE49-F238E27FC236}">
                    <a16:creationId xmlns:a16="http://schemas.microsoft.com/office/drawing/2014/main"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 name="组合 4">
              <a:extLst>
                <a:ext uri="{FF2B5EF4-FFF2-40B4-BE49-F238E27FC236}">
                  <a16:creationId xmlns:a16="http://schemas.microsoft.com/office/drawing/2014/main"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a16="http://schemas.microsoft.com/office/drawing/2014/main"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a16="http://schemas.microsoft.com/office/drawing/2014/main"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a16="http://schemas.microsoft.com/office/drawing/2014/main"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插图库 </a:t>
              </a:r>
              <a:r>
                <a:rPr lang="en-US" altLang="zh-CN" sz="1000" kern="0">
                  <a:solidFill>
                    <a:srgbClr val="FFFFFF"/>
                  </a:solidFill>
                </a:rPr>
                <a:t>/ Vect</a:t>
              </a:r>
              <a:r>
                <a:rPr lang="en-US" altLang="zh-CN" sz="100" kern="0">
                  <a:solidFill>
                    <a:srgbClr val="FFFFFF"/>
                  </a:solidFill>
                </a:rPr>
                <a:t> </a:t>
              </a:r>
              <a:r>
                <a:rPr lang="en-US" altLang="zh-CN" sz="1000" kern="0">
                  <a:solidFill>
                    <a:srgbClr val="FFFFFF"/>
                  </a:solidFill>
                </a:rPr>
                <a:t>or </a:t>
              </a:r>
              <a:r>
                <a:rPr lang="en-US" altLang="zh-CN" sz="1000" kern="0" dirty="0">
                  <a:solidFill>
                    <a:srgbClr val="FFFFFF"/>
                  </a:solidFill>
                </a:rPr>
                <a:t>Library</a:t>
              </a:r>
              <a:endParaRPr lang="zh-CN" altLang="en-US" sz="1000" kern="0" dirty="0">
                <a:solidFill>
                  <a:srgbClr val="FFFFFF"/>
                </a:solidFill>
              </a:endParaRPr>
            </a:p>
          </p:txBody>
        </p:sp>
        <p:grpSp>
          <p:nvGrpSpPr>
            <p:cNvPr id="335" name="组合 334">
              <a:extLst>
                <a:ext uri="{FF2B5EF4-FFF2-40B4-BE49-F238E27FC236}">
                  <a16:creationId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pic>
          <p:nvPicPr>
            <p:cNvPr id="3" name="图形 2">
              <a:extLst>
                <a:ext uri="{FF2B5EF4-FFF2-40B4-BE49-F238E27FC236}">
                  <a16:creationId xmlns:a16="http://schemas.microsoft.com/office/drawing/2014/main" id="{FB29E73C-E73F-4438-A526-FE94FF16031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354959" y="2791001"/>
              <a:ext cx="921528" cy="557932"/>
            </a:xfrm>
            <a:prstGeom prst="rect">
              <a:avLst/>
            </a:prstGeom>
          </p:spPr>
        </p:pic>
      </p:grpSp>
      <p:grpSp>
        <p:nvGrpSpPr>
          <p:cNvPr id="7" name="组合 6">
            <a:extLst>
              <a:ext uri="{FF2B5EF4-FFF2-40B4-BE49-F238E27FC236}">
                <a16:creationId xmlns:a16="http://schemas.microsoft.com/office/drawing/2014/main" id="{09D0D9AA-EB60-4923-BEF0-22333512DE9F}"/>
              </a:ext>
            </a:extLst>
          </p:cNvPr>
          <p:cNvGrpSpPr/>
          <p:nvPr/>
        </p:nvGrpSpPr>
        <p:grpSpPr>
          <a:xfrm>
            <a:off x="8024987" y="1959178"/>
            <a:ext cx="3493913" cy="2403813"/>
            <a:chOff x="8024986" y="1959176"/>
            <a:chExt cx="3493913" cy="2403813"/>
          </a:xfrm>
        </p:grpSpPr>
        <p:grpSp>
          <p:nvGrpSpPr>
            <p:cNvPr id="228" name="组合 227">
              <a:extLst>
                <a:ext uri="{FF2B5EF4-FFF2-40B4-BE49-F238E27FC236}">
                  <a16:creationId xmlns:a16="http://schemas.microsoft.com/office/drawing/2014/main" id="{F07805C6-3B6B-4AF9-9448-282317B3FEB6}"/>
                </a:ext>
              </a:extLst>
            </p:cNvPr>
            <p:cNvGrpSpPr/>
            <p:nvPr/>
          </p:nvGrpSpPr>
          <p:grpSpPr>
            <a:xfrm>
              <a:off x="8024986" y="1959176"/>
              <a:ext cx="3493913" cy="2403813"/>
              <a:chOff x="8024986" y="1959176"/>
              <a:chExt cx="3493913" cy="2403813"/>
            </a:xfrm>
          </p:grpSpPr>
          <p:sp>
            <p:nvSpPr>
              <p:cNvPr id="229" name="Freeform 6">
                <a:extLst>
                  <a:ext uri="{FF2B5EF4-FFF2-40B4-BE49-F238E27FC236}">
                    <a16:creationId xmlns:a16="http://schemas.microsoft.com/office/drawing/2014/main" id="{79502B8B-CFDB-43D8-A905-DFE5C5BD4280}"/>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0" name="矩形: 圆角 229">
                <a:extLst>
                  <a:ext uri="{FF2B5EF4-FFF2-40B4-BE49-F238E27FC236}">
                    <a16:creationId xmlns:a16="http://schemas.microsoft.com/office/drawing/2014/main" id="{752F09D3-948F-4292-8DE2-B8068FAE905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31" name="Rectangle 8">
                <a:extLst>
                  <a:ext uri="{FF2B5EF4-FFF2-40B4-BE49-F238E27FC236}">
                    <a16:creationId xmlns:a16="http://schemas.microsoft.com/office/drawing/2014/main" id="{9E424521-AF73-4143-B27F-AB4CA52F8AC5}"/>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2" name="Rectangle 9">
                <a:extLst>
                  <a:ext uri="{FF2B5EF4-FFF2-40B4-BE49-F238E27FC236}">
                    <a16:creationId xmlns:a16="http://schemas.microsoft.com/office/drawing/2014/main" id="{0A670824-3D53-4F25-9305-B5E61610ACEF}"/>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233" name="Oval 14">
                <a:extLst>
                  <a:ext uri="{FF2B5EF4-FFF2-40B4-BE49-F238E27FC236}">
                    <a16:creationId xmlns:a16="http://schemas.microsoft.com/office/drawing/2014/main" id="{3000338F-035C-4A39-8F0D-0B0F4BF1FBC6}"/>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4" name="Oval 15">
                <a:extLst>
                  <a:ext uri="{FF2B5EF4-FFF2-40B4-BE49-F238E27FC236}">
                    <a16:creationId xmlns:a16="http://schemas.microsoft.com/office/drawing/2014/main" id="{C35FFD29-58F4-44EE-BF85-050C901FFFC2}"/>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5" name="Oval 16">
                <a:extLst>
                  <a:ext uri="{FF2B5EF4-FFF2-40B4-BE49-F238E27FC236}">
                    <a16:creationId xmlns:a16="http://schemas.microsoft.com/office/drawing/2014/main" id="{97F69D09-85DB-44A5-A24E-80C55BD5603A}"/>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7" name="Freeform 18">
                <a:extLst>
                  <a:ext uri="{FF2B5EF4-FFF2-40B4-BE49-F238E27FC236}">
                    <a16:creationId xmlns:a16="http://schemas.microsoft.com/office/drawing/2014/main" id="{90231FE4-5E4A-45A4-90B3-6CE270211D8F}"/>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8" name="Rectangle 19">
                <a:extLst>
                  <a:ext uri="{FF2B5EF4-FFF2-40B4-BE49-F238E27FC236}">
                    <a16:creationId xmlns:a16="http://schemas.microsoft.com/office/drawing/2014/main" id="{F5CB09CD-EA7B-4323-98CD-E0818B8A5E5C}"/>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9" name="Freeform 20">
                <a:extLst>
                  <a:ext uri="{FF2B5EF4-FFF2-40B4-BE49-F238E27FC236}">
                    <a16:creationId xmlns:a16="http://schemas.microsoft.com/office/drawing/2014/main" id="{9E308F54-DF39-45B6-81B7-DB95BBBDC8EB}"/>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21">
                <a:extLst>
                  <a:ext uri="{FF2B5EF4-FFF2-40B4-BE49-F238E27FC236}">
                    <a16:creationId xmlns:a16="http://schemas.microsoft.com/office/drawing/2014/main" id="{AACED065-E1E1-4CB9-A30A-E07933F7ACB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22">
                <a:extLst>
                  <a:ext uri="{FF2B5EF4-FFF2-40B4-BE49-F238E27FC236}">
                    <a16:creationId xmlns:a16="http://schemas.microsoft.com/office/drawing/2014/main" id="{2152015E-3C4D-4CA0-90C5-4D1D7DF55BCD}"/>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23">
                <a:extLst>
                  <a:ext uri="{FF2B5EF4-FFF2-40B4-BE49-F238E27FC236}">
                    <a16:creationId xmlns:a16="http://schemas.microsoft.com/office/drawing/2014/main" id="{222B65CD-2DCC-4C25-B9F3-88E22F8EFCBF}"/>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矩形: 圆角 242">
                <a:extLst>
                  <a:ext uri="{FF2B5EF4-FFF2-40B4-BE49-F238E27FC236}">
                    <a16:creationId xmlns:a16="http://schemas.microsoft.com/office/drawing/2014/main" id="{143380E5-1914-4C09-9478-A3B7CC7F2082}"/>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4" name="矩形: 圆角 243">
                <a:extLst>
                  <a:ext uri="{FF2B5EF4-FFF2-40B4-BE49-F238E27FC236}">
                    <a16:creationId xmlns:a16="http://schemas.microsoft.com/office/drawing/2014/main" id="{7D41D53B-93CF-4F50-95E0-532B3A0F489E}"/>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5" name="矩形: 圆角 244">
                <a:extLst>
                  <a:ext uri="{FF2B5EF4-FFF2-40B4-BE49-F238E27FC236}">
                    <a16:creationId xmlns:a16="http://schemas.microsoft.com/office/drawing/2014/main" id="{729EE4D2-12C4-47C9-8526-205B5F461C5E}"/>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6" name="矩形: 圆角 245">
                <a:extLst>
                  <a:ext uri="{FF2B5EF4-FFF2-40B4-BE49-F238E27FC236}">
                    <a16:creationId xmlns:a16="http://schemas.microsoft.com/office/drawing/2014/main" id="{624B437F-52C2-4B5A-A7F7-AB3734317FD7}"/>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7" name="矩形: 圆角 246">
                <a:extLst>
                  <a:ext uri="{FF2B5EF4-FFF2-40B4-BE49-F238E27FC236}">
                    <a16:creationId xmlns:a16="http://schemas.microsoft.com/office/drawing/2014/main" id="{DBE45890-BEE4-4CC2-954A-359AEB3349DF}"/>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0" name="组合 9">
              <a:extLst>
                <a:ext uri="{FF2B5EF4-FFF2-40B4-BE49-F238E27FC236}">
                  <a16:creationId xmlns:a16="http://schemas.microsoft.com/office/drawing/2014/main" id="{CFA48FDE-21A2-4B5B-A060-950102760C79}"/>
                </a:ext>
              </a:extLst>
            </p:cNvPr>
            <p:cNvGrpSpPr/>
            <p:nvPr/>
          </p:nvGrpSpPr>
          <p:grpSpPr>
            <a:xfrm>
              <a:off x="9010193" y="3211004"/>
              <a:ext cx="2127585" cy="587141"/>
              <a:chOff x="9010193" y="3211004"/>
              <a:chExt cx="2127585" cy="587141"/>
            </a:xfrm>
          </p:grpSpPr>
          <p:grpSp>
            <p:nvGrpSpPr>
              <p:cNvPr id="143" name="组合 142">
                <a:extLst>
                  <a:ext uri="{FF2B5EF4-FFF2-40B4-BE49-F238E27FC236}">
                    <a16:creationId xmlns:a16="http://schemas.microsoft.com/office/drawing/2014/main" id="{009585A0-D562-4C9F-B5A6-071E8AA3C2BA}"/>
                  </a:ext>
                </a:extLst>
              </p:cNvPr>
              <p:cNvGrpSpPr/>
              <p:nvPr/>
            </p:nvGrpSpPr>
            <p:grpSpPr>
              <a:xfrm>
                <a:off x="10629190" y="3211004"/>
                <a:ext cx="508588" cy="587141"/>
                <a:chOff x="1703214" y="3185928"/>
                <a:chExt cx="582258" cy="521425"/>
              </a:xfrm>
            </p:grpSpPr>
            <p:sp>
              <p:nvSpPr>
                <p:cNvPr id="167" name="矩形 166">
                  <a:extLst>
                    <a:ext uri="{FF2B5EF4-FFF2-40B4-BE49-F238E27FC236}">
                      <a16:creationId xmlns:a16="http://schemas.microsoft.com/office/drawing/2014/main" id="{309EB08F-A938-40D0-9A34-596ABEC4C1DD}"/>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矩形 167">
                  <a:extLst>
                    <a:ext uri="{FF2B5EF4-FFF2-40B4-BE49-F238E27FC236}">
                      <a16:creationId xmlns:a16="http://schemas.microsoft.com/office/drawing/2014/main" id="{EA556D63-A4AF-466F-9BA4-4A76DE8E7A63}"/>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矩形 173">
                  <a:extLst>
                    <a:ext uri="{FF2B5EF4-FFF2-40B4-BE49-F238E27FC236}">
                      <a16:creationId xmlns:a16="http://schemas.microsoft.com/office/drawing/2014/main" id="{702E4932-2853-468B-8CEE-8E8DEB08335C}"/>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7" name="组合 146">
                <a:extLst>
                  <a:ext uri="{FF2B5EF4-FFF2-40B4-BE49-F238E27FC236}">
                    <a16:creationId xmlns:a16="http://schemas.microsoft.com/office/drawing/2014/main" id="{5864092F-3936-4E3B-AC38-C65A1D396CA8}"/>
                  </a:ext>
                </a:extLst>
              </p:cNvPr>
              <p:cNvGrpSpPr/>
              <p:nvPr/>
            </p:nvGrpSpPr>
            <p:grpSpPr>
              <a:xfrm>
                <a:off x="9010193" y="3211004"/>
                <a:ext cx="508588" cy="587141"/>
                <a:chOff x="1703214" y="3185928"/>
                <a:chExt cx="582258" cy="521425"/>
              </a:xfrm>
            </p:grpSpPr>
            <p:sp>
              <p:nvSpPr>
                <p:cNvPr id="149" name="矩形 148">
                  <a:extLst>
                    <a:ext uri="{FF2B5EF4-FFF2-40B4-BE49-F238E27FC236}">
                      <a16:creationId xmlns:a16="http://schemas.microsoft.com/office/drawing/2014/main" id="{F5CE67A9-7F46-47EE-A182-EEDC7671BE84}"/>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a:extLst>
                    <a:ext uri="{FF2B5EF4-FFF2-40B4-BE49-F238E27FC236}">
                      <a16:creationId xmlns:a16="http://schemas.microsoft.com/office/drawing/2014/main" id="{B2641C79-6356-47FF-A04C-975EFC5BC261}"/>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a:extLst>
                    <a:ext uri="{FF2B5EF4-FFF2-40B4-BE49-F238E27FC236}">
                      <a16:creationId xmlns:a16="http://schemas.microsoft.com/office/drawing/2014/main" id="{C55A7A23-0C58-4770-A615-E9A2CEB20583}"/>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76" name="图形 175">
                <a:extLst>
                  <a:ext uri="{FF2B5EF4-FFF2-40B4-BE49-F238E27FC236}">
                    <a16:creationId xmlns:a16="http://schemas.microsoft.com/office/drawing/2014/main" id="{3BCA95A1-5BA3-4682-BB46-744197EA8B3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610087" y="3216083"/>
                <a:ext cx="921528" cy="557932"/>
              </a:xfrm>
              <a:prstGeom prst="rect">
                <a:avLst/>
              </a:prstGeom>
            </p:spPr>
          </p:pic>
        </p:grpSp>
      </p:grpSp>
      <p:sp>
        <p:nvSpPr>
          <p:cNvPr id="4" name="标题 1">
            <a:extLst>
              <a:ext uri="{FF2B5EF4-FFF2-40B4-BE49-F238E27FC236}">
                <a16:creationId xmlns:a16="http://schemas.microsoft.com/office/drawing/2014/main" id="{EB39E194-01C4-46CF-B8A6-9AD2197F24D4}"/>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zh-CN" altLang="en-US" sz="2800" b="1" dirty="0"/>
              <a:t>更改图示中的</a:t>
            </a:r>
            <a:r>
              <a:rPr lang="zh-CN" altLang="en-US" sz="2800" b="1"/>
              <a:t>插图  </a:t>
            </a:r>
            <a:r>
              <a:rPr lang="en-US" altLang="zh-CN" sz="2800" b="1"/>
              <a:t>Rep</a:t>
            </a:r>
            <a:r>
              <a:rPr lang="en-US" altLang="zh-CN" sz="100" b="1"/>
              <a:t> </a:t>
            </a:r>
            <a:r>
              <a:rPr lang="en-US" altLang="zh-CN" sz="2800" b="1"/>
              <a:t>lace </a:t>
            </a:r>
            <a:r>
              <a:rPr lang="en-US" altLang="zh-CN" sz="2800" b="1" dirty="0"/>
              <a:t>Vectors in Diagram</a:t>
            </a:r>
            <a:endParaRPr lang="zh-CN" altLang="en-US" sz="2800" b="1" dirty="0"/>
          </a:p>
        </p:txBody>
      </p:sp>
      <p:grpSp>
        <p:nvGrpSpPr>
          <p:cNvPr id="11" name="组合 10">
            <a:extLst>
              <a:ext uri="{FF2B5EF4-FFF2-40B4-BE49-F238E27FC236}">
                <a16:creationId xmlns:a16="http://schemas.microsoft.com/office/drawing/2014/main" id="{41340CDE-3267-4179-B203-21C1D373AC7C}"/>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a16="http://schemas.microsoft.com/office/drawing/2014/main"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9" name="组合 8">
              <a:extLst>
                <a:ext uri="{FF2B5EF4-FFF2-40B4-BE49-F238E27FC236}">
                  <a16:creationId xmlns:a16="http://schemas.microsoft.com/office/drawing/2014/main" id="{57827EC8-4212-4214-BEC6-635EE8E79011}"/>
                </a:ext>
              </a:extLst>
            </p:cNvPr>
            <p:cNvGrpSpPr/>
            <p:nvPr/>
          </p:nvGrpSpPr>
          <p:grpSpPr>
            <a:xfrm>
              <a:off x="660400" y="1959178"/>
              <a:ext cx="3493913" cy="2403813"/>
              <a:chOff x="673100" y="1959176"/>
              <a:chExt cx="3493913" cy="2403813"/>
            </a:xfrm>
          </p:grpSpPr>
          <p:grpSp>
            <p:nvGrpSpPr>
              <p:cNvPr id="248" name="组合 247">
                <a:extLst>
                  <a:ext uri="{FF2B5EF4-FFF2-40B4-BE49-F238E27FC236}">
                    <a16:creationId xmlns:a16="http://schemas.microsoft.com/office/drawing/2014/main" id="{7740B1D8-836E-4790-9DD0-E1EA943A1D9C}"/>
                  </a:ext>
                </a:extLst>
              </p:cNvPr>
              <p:cNvGrpSpPr/>
              <p:nvPr/>
            </p:nvGrpSpPr>
            <p:grpSpPr>
              <a:xfrm>
                <a:off x="673100" y="1959176"/>
                <a:ext cx="3493913" cy="2403813"/>
                <a:chOff x="673100" y="1959176"/>
                <a:chExt cx="3493913" cy="2403813"/>
              </a:xfrm>
            </p:grpSpPr>
            <p:sp>
              <p:nvSpPr>
                <p:cNvPr id="249" name="Freeform 6">
                  <a:extLst>
                    <a:ext uri="{FF2B5EF4-FFF2-40B4-BE49-F238E27FC236}">
                      <a16:creationId xmlns:a16="http://schemas.microsoft.com/office/drawing/2014/main" id="{EF67C987-3113-4318-8AC6-E739BB42568A}"/>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50" name="矩形: 圆角 249">
                  <a:extLst>
                    <a:ext uri="{FF2B5EF4-FFF2-40B4-BE49-F238E27FC236}">
                      <a16:creationId xmlns:a16="http://schemas.microsoft.com/office/drawing/2014/main" id="{A0006912-9DA4-43EF-8BD5-EF546FCE3339}"/>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51" name="Rectangle 8">
                  <a:extLst>
                    <a:ext uri="{FF2B5EF4-FFF2-40B4-BE49-F238E27FC236}">
                      <a16:creationId xmlns:a16="http://schemas.microsoft.com/office/drawing/2014/main" id="{556C6F3A-7655-4359-A6CC-0479F824F89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Rectangle 9">
                  <a:extLst>
                    <a:ext uri="{FF2B5EF4-FFF2-40B4-BE49-F238E27FC236}">
                      <a16:creationId xmlns:a16="http://schemas.microsoft.com/office/drawing/2014/main" id="{C6106673-43BC-4DD8-A493-EDA9B6B2D456}"/>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Oval 14">
                  <a:extLst>
                    <a:ext uri="{FF2B5EF4-FFF2-40B4-BE49-F238E27FC236}">
                      <a16:creationId xmlns:a16="http://schemas.microsoft.com/office/drawing/2014/main" id="{1B8CD3B4-C3D2-4456-B988-B5F3C220521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Oval 15">
                  <a:extLst>
                    <a:ext uri="{FF2B5EF4-FFF2-40B4-BE49-F238E27FC236}">
                      <a16:creationId xmlns:a16="http://schemas.microsoft.com/office/drawing/2014/main" id="{3D1BADA4-D749-46AD-8E50-EEA49550C016}"/>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Oval 16">
                  <a:extLst>
                    <a:ext uri="{FF2B5EF4-FFF2-40B4-BE49-F238E27FC236}">
                      <a16:creationId xmlns:a16="http://schemas.microsoft.com/office/drawing/2014/main" id="{C93A76CA-F9DB-4B79-A4FE-0C3902E5B9CF}"/>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18">
                  <a:extLst>
                    <a:ext uri="{FF2B5EF4-FFF2-40B4-BE49-F238E27FC236}">
                      <a16:creationId xmlns:a16="http://schemas.microsoft.com/office/drawing/2014/main" id="{5F916865-589E-4D0F-BACC-2570FF5D044A}"/>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Rectangle 19">
                  <a:extLst>
                    <a:ext uri="{FF2B5EF4-FFF2-40B4-BE49-F238E27FC236}">
                      <a16:creationId xmlns:a16="http://schemas.microsoft.com/office/drawing/2014/main" id="{65AB37D2-4B39-47BE-A62E-7B7BF58E328E}"/>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20">
                  <a:extLst>
                    <a:ext uri="{FF2B5EF4-FFF2-40B4-BE49-F238E27FC236}">
                      <a16:creationId xmlns:a16="http://schemas.microsoft.com/office/drawing/2014/main" id="{BB9DC8A1-3C26-407A-A297-CFB927165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21">
                  <a:extLst>
                    <a:ext uri="{FF2B5EF4-FFF2-40B4-BE49-F238E27FC236}">
                      <a16:creationId xmlns:a16="http://schemas.microsoft.com/office/drawing/2014/main" id="{CBCB1766-A52D-4E2C-9918-788DA4E64C75}"/>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22">
                  <a:extLst>
                    <a:ext uri="{FF2B5EF4-FFF2-40B4-BE49-F238E27FC236}">
                      <a16:creationId xmlns:a16="http://schemas.microsoft.com/office/drawing/2014/main" id="{5DD5BED3-191E-4BD6-9FE9-141C415A5202}"/>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23">
                  <a:extLst>
                    <a:ext uri="{FF2B5EF4-FFF2-40B4-BE49-F238E27FC236}">
                      <a16:creationId xmlns:a16="http://schemas.microsoft.com/office/drawing/2014/main" id="{61B3D93D-CA1C-4835-8048-01774ABDA816}"/>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矩形: 圆角 261">
                  <a:extLst>
                    <a:ext uri="{FF2B5EF4-FFF2-40B4-BE49-F238E27FC236}">
                      <a16:creationId xmlns:a16="http://schemas.microsoft.com/office/drawing/2014/main" id="{41055386-139A-442D-91A8-1B5CD97B491E}"/>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3" name="矩形: 圆角 262">
                  <a:extLst>
                    <a:ext uri="{FF2B5EF4-FFF2-40B4-BE49-F238E27FC236}">
                      <a16:creationId xmlns:a16="http://schemas.microsoft.com/office/drawing/2014/main" id="{F5DC8E02-0625-4CA9-A210-3FA760F32058}"/>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4" name="矩形: 圆角 263">
                  <a:extLst>
                    <a:ext uri="{FF2B5EF4-FFF2-40B4-BE49-F238E27FC236}">
                      <a16:creationId xmlns:a16="http://schemas.microsoft.com/office/drawing/2014/main" id="{174F4A25-7A8F-4CA3-A664-254C0F10638E}"/>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5" name="矩形: 圆角 264">
                  <a:extLst>
                    <a:ext uri="{FF2B5EF4-FFF2-40B4-BE49-F238E27FC236}">
                      <a16:creationId xmlns:a16="http://schemas.microsoft.com/office/drawing/2014/main" id="{41F79B51-FB01-48E2-B2CF-C41B66B2F234}"/>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6" name="矩形: 圆角 265">
                  <a:extLst>
                    <a:ext uri="{FF2B5EF4-FFF2-40B4-BE49-F238E27FC236}">
                      <a16:creationId xmlns:a16="http://schemas.microsoft.com/office/drawing/2014/main" id="{E3E0C10E-F4B3-4762-8F9D-7B6A06EDF4DF}"/>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8" name="组合 7">
                <a:extLst>
                  <a:ext uri="{FF2B5EF4-FFF2-40B4-BE49-F238E27FC236}">
                    <a16:creationId xmlns:a16="http://schemas.microsoft.com/office/drawing/2014/main" id="{ABD70613-6096-41EC-8B8D-800DD72A4ADC}"/>
                  </a:ext>
                </a:extLst>
              </p:cNvPr>
              <p:cNvGrpSpPr/>
              <p:nvPr/>
            </p:nvGrpSpPr>
            <p:grpSpPr>
              <a:xfrm>
                <a:off x="1658305" y="3112822"/>
                <a:ext cx="2142449" cy="735267"/>
                <a:chOff x="1658305" y="3112822"/>
                <a:chExt cx="2142449" cy="735267"/>
              </a:xfrm>
            </p:grpSpPr>
            <p:grpSp>
              <p:nvGrpSpPr>
                <p:cNvPr id="6" name="组合 5">
                  <a:extLst>
                    <a:ext uri="{FF2B5EF4-FFF2-40B4-BE49-F238E27FC236}">
                      <a16:creationId xmlns:a16="http://schemas.microsoft.com/office/drawing/2014/main" id="{8930CAB5-8483-4337-9A7A-AF126B78CB83}"/>
                    </a:ext>
                  </a:extLst>
                </p:cNvPr>
                <p:cNvGrpSpPr/>
                <p:nvPr/>
              </p:nvGrpSpPr>
              <p:grpSpPr>
                <a:xfrm>
                  <a:off x="1658305" y="3180638"/>
                  <a:ext cx="2142449" cy="617507"/>
                  <a:chOff x="1658305" y="3180638"/>
                  <a:chExt cx="2142449" cy="617507"/>
                </a:xfrm>
              </p:grpSpPr>
              <p:sp>
                <p:nvSpPr>
                  <p:cNvPr id="420" name="矩形 419">
                    <a:extLst>
                      <a:ext uri="{FF2B5EF4-FFF2-40B4-BE49-F238E27FC236}">
                        <a16:creationId xmlns:a16="http://schemas.microsoft.com/office/drawing/2014/main"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4" name="组合 143">
                    <a:extLst>
                      <a:ext uri="{FF2B5EF4-FFF2-40B4-BE49-F238E27FC236}">
                        <a16:creationId xmlns:a16="http://schemas.microsoft.com/office/drawing/2014/main" id="{428E477C-F4CA-49FF-BCAA-14A401D6124F}"/>
                      </a:ext>
                    </a:extLst>
                  </p:cNvPr>
                  <p:cNvGrpSpPr/>
                  <p:nvPr/>
                </p:nvGrpSpPr>
                <p:grpSpPr>
                  <a:xfrm>
                    <a:off x="3277302" y="3211004"/>
                    <a:ext cx="508588" cy="587141"/>
                    <a:chOff x="1703214" y="3185928"/>
                    <a:chExt cx="582258" cy="521425"/>
                  </a:xfrm>
                </p:grpSpPr>
                <p:sp>
                  <p:nvSpPr>
                    <p:cNvPr id="145" name="矩形 144">
                      <a:extLst>
                        <a:ext uri="{FF2B5EF4-FFF2-40B4-BE49-F238E27FC236}">
                          <a16:creationId xmlns:a16="http://schemas.microsoft.com/office/drawing/2014/main"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5" name="组合 114">
                    <a:extLst>
                      <a:ext uri="{FF2B5EF4-FFF2-40B4-BE49-F238E27FC236}">
                        <a16:creationId xmlns:a16="http://schemas.microsoft.com/office/drawing/2014/main" id="{6FCD523C-D437-4D55-B9CC-5D9A81B8C342}"/>
                      </a:ext>
                    </a:extLst>
                  </p:cNvPr>
                  <p:cNvGrpSpPr/>
                  <p:nvPr/>
                </p:nvGrpSpPr>
                <p:grpSpPr>
                  <a:xfrm>
                    <a:off x="1658305" y="3211004"/>
                    <a:ext cx="508588" cy="587141"/>
                    <a:chOff x="1703214" y="3185928"/>
                    <a:chExt cx="582258" cy="521425"/>
                  </a:xfrm>
                </p:grpSpPr>
                <p:sp>
                  <p:nvSpPr>
                    <p:cNvPr id="116" name="矩形 115">
                      <a:extLst>
                        <a:ext uri="{FF2B5EF4-FFF2-40B4-BE49-F238E27FC236}">
                          <a16:creationId xmlns:a16="http://schemas.microsoft.com/office/drawing/2014/main" id="{B5D3C64A-AEE1-4FD6-9C15-31AA498B0F1B}"/>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a:extLst>
                        <a:ext uri="{FF2B5EF4-FFF2-40B4-BE49-F238E27FC236}">
                          <a16:creationId xmlns:a16="http://schemas.microsoft.com/office/drawing/2014/main" id="{B2E1FCBE-42A4-437B-8553-EAB3B53856F9}"/>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a:extLst>
                        <a:ext uri="{FF2B5EF4-FFF2-40B4-BE49-F238E27FC236}">
                          <a16:creationId xmlns:a16="http://schemas.microsoft.com/office/drawing/2014/main" id="{7474610A-07F9-4CF1-BC40-89C9BB9BB0CD}"/>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25" name="组合 124">
                  <a:extLst>
                    <a:ext uri="{FF2B5EF4-FFF2-40B4-BE49-F238E27FC236}">
                      <a16:creationId xmlns:a16="http://schemas.microsoft.com/office/drawing/2014/main" id="{D547E991-E245-4756-ABC3-162D239AE546}"/>
                    </a:ext>
                  </a:extLst>
                </p:cNvPr>
                <p:cNvGrpSpPr/>
                <p:nvPr/>
              </p:nvGrpSpPr>
              <p:grpSpPr>
                <a:xfrm>
                  <a:off x="2346134" y="3112822"/>
                  <a:ext cx="735363" cy="735267"/>
                  <a:chOff x="2347940" y="3126117"/>
                  <a:chExt cx="483318" cy="483256"/>
                </a:xfrm>
              </p:grpSpPr>
              <p:grpSp>
                <p:nvGrpSpPr>
                  <p:cNvPr id="148" name="组合 14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792ECA9-35B8-4DAA-8E32-FF776BEFAA8C}"/>
                      </a:ext>
                    </a:extLst>
                  </p:cNvPr>
                  <p:cNvGrpSpPr/>
                  <p:nvPr/>
                </p:nvGrpSpPr>
                <p:grpSpPr>
                  <a:xfrm>
                    <a:off x="2390718" y="3167761"/>
                    <a:ext cx="439014" cy="405868"/>
                    <a:chOff x="3614738" y="1136650"/>
                    <a:chExt cx="4983163" cy="4606926"/>
                  </a:xfrm>
                </p:grpSpPr>
                <p:sp>
                  <p:nvSpPr>
                    <p:cNvPr id="172" name="is1íḍe">
                      <a:extLst>
                        <a:ext uri="{FF2B5EF4-FFF2-40B4-BE49-F238E27FC236}">
                          <a16:creationId xmlns:a16="http://schemas.microsoft.com/office/drawing/2014/main" id="{7300A892-52D6-4FC8-97C8-F014231C6371}"/>
                        </a:ext>
                      </a:extLst>
                    </p:cNvPr>
                    <p:cNvSpPr/>
                    <p:nvPr/>
                  </p:nvSpPr>
                  <p:spPr bwMode="auto">
                    <a:xfrm>
                      <a:off x="3614738" y="2106613"/>
                      <a:ext cx="749300" cy="36369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í$1idè">
                      <a:extLst>
                        <a:ext uri="{FF2B5EF4-FFF2-40B4-BE49-F238E27FC236}">
                          <a16:creationId xmlns:a16="http://schemas.microsoft.com/office/drawing/2014/main" id="{E651A605-77AA-4A19-882D-2205DD97AE5C}"/>
                        </a:ext>
                      </a:extLst>
                    </p:cNvPr>
                    <p:cNvSpPr/>
                    <p:nvPr/>
                  </p:nvSpPr>
                  <p:spPr bwMode="auto">
                    <a:xfrm>
                      <a:off x="3614738" y="2106613"/>
                      <a:ext cx="749300" cy="1123950"/>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šļíḋe">
                      <a:extLst>
                        <a:ext uri="{FF2B5EF4-FFF2-40B4-BE49-F238E27FC236}">
                          <a16:creationId xmlns:a16="http://schemas.microsoft.com/office/drawing/2014/main" id="{93BCA23C-0BFA-4276-A259-9BC068380DFF}"/>
                        </a:ext>
                      </a:extLst>
                    </p:cNvPr>
                    <p:cNvSpPr/>
                    <p:nvPr/>
                  </p:nvSpPr>
                  <p:spPr bwMode="auto">
                    <a:xfrm>
                      <a:off x="4651376" y="2459038"/>
                      <a:ext cx="771525" cy="328453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7" name="îŝ1iḑé">
                      <a:extLst>
                        <a:ext uri="{FF2B5EF4-FFF2-40B4-BE49-F238E27FC236}">
                          <a16:creationId xmlns:a16="http://schemas.microsoft.com/office/drawing/2014/main" id="{10B7CF8B-66AA-467E-8697-5CD2EDB1B7A3}"/>
                        </a:ext>
                      </a:extLst>
                    </p:cNvPr>
                    <p:cNvSpPr/>
                    <p:nvPr/>
                  </p:nvSpPr>
                  <p:spPr bwMode="auto">
                    <a:xfrm>
                      <a:off x="4651376" y="2459038"/>
                      <a:ext cx="771525" cy="5730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8" name="iṥľiďè">
                      <a:extLst>
                        <a:ext uri="{FF2B5EF4-FFF2-40B4-BE49-F238E27FC236}">
                          <a16:creationId xmlns:a16="http://schemas.microsoft.com/office/drawing/2014/main" id="{FE9EF3D1-92DD-492C-98B9-A091F0878257}"/>
                        </a:ext>
                      </a:extLst>
                    </p:cNvPr>
                    <p:cNvSpPr/>
                    <p:nvPr/>
                  </p:nvSpPr>
                  <p:spPr bwMode="auto">
                    <a:xfrm>
                      <a:off x="5708651" y="2833688"/>
                      <a:ext cx="750888" cy="290988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9" name="ïšļiḓè">
                      <a:extLst>
                        <a:ext uri="{FF2B5EF4-FFF2-40B4-BE49-F238E27FC236}">
                          <a16:creationId xmlns:a16="http://schemas.microsoft.com/office/drawing/2014/main" id="{A9986595-E9BD-4DFA-8305-0106C2BBC0C4}"/>
                        </a:ext>
                      </a:extLst>
                    </p:cNvPr>
                    <p:cNvSpPr/>
                    <p:nvPr/>
                  </p:nvSpPr>
                  <p:spPr bwMode="auto">
                    <a:xfrm>
                      <a:off x="5708651" y="2833688"/>
                      <a:ext cx="750888" cy="6619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0" name="î$ḷîdê">
                      <a:extLst>
                        <a:ext uri="{FF2B5EF4-FFF2-40B4-BE49-F238E27FC236}">
                          <a16:creationId xmlns:a16="http://schemas.microsoft.com/office/drawing/2014/main" id="{FDBF8C09-95F1-4988-94D3-41A044816D66}"/>
                        </a:ext>
                      </a:extLst>
                    </p:cNvPr>
                    <p:cNvSpPr/>
                    <p:nvPr/>
                  </p:nvSpPr>
                  <p:spPr bwMode="auto">
                    <a:xfrm>
                      <a:off x="6745288" y="3605213"/>
                      <a:ext cx="750888" cy="21383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ïṡḻïdê">
                      <a:extLst>
                        <a:ext uri="{FF2B5EF4-FFF2-40B4-BE49-F238E27FC236}">
                          <a16:creationId xmlns:a16="http://schemas.microsoft.com/office/drawing/2014/main" id="{583D8013-84F0-4EA1-A878-6EB6329FEE7B}"/>
                        </a:ext>
                      </a:extLst>
                    </p:cNvPr>
                    <p:cNvSpPr/>
                    <p:nvPr/>
                  </p:nvSpPr>
                  <p:spPr bwMode="auto">
                    <a:xfrm>
                      <a:off x="6745288" y="3605213"/>
                      <a:ext cx="750888" cy="396875"/>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ïšľïḑè">
                      <a:extLst>
                        <a:ext uri="{FF2B5EF4-FFF2-40B4-BE49-F238E27FC236}">
                          <a16:creationId xmlns:a16="http://schemas.microsoft.com/office/drawing/2014/main" id="{C2A01DFE-AD94-4D0E-B924-F5607FAAB597}"/>
                        </a:ext>
                      </a:extLst>
                    </p:cNvPr>
                    <p:cNvSpPr/>
                    <p:nvPr/>
                  </p:nvSpPr>
                  <p:spPr bwMode="auto">
                    <a:xfrm>
                      <a:off x="7781926" y="4464050"/>
                      <a:ext cx="771525" cy="1279525"/>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ïSľíḍê">
                      <a:extLst>
                        <a:ext uri="{FF2B5EF4-FFF2-40B4-BE49-F238E27FC236}">
                          <a16:creationId xmlns:a16="http://schemas.microsoft.com/office/drawing/2014/main" id="{95266D5E-A9C5-4F7B-837F-B42E08BB70DE}"/>
                        </a:ext>
                      </a:extLst>
                    </p:cNvPr>
                    <p:cNvSpPr/>
                    <p:nvPr/>
                  </p:nvSpPr>
                  <p:spPr bwMode="auto">
                    <a:xfrm>
                      <a:off x="7781926" y="4464050"/>
                      <a:ext cx="771525" cy="3317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îṡlïḋe">
                      <a:extLst>
                        <a:ext uri="{FF2B5EF4-FFF2-40B4-BE49-F238E27FC236}">
                          <a16:creationId xmlns:a16="http://schemas.microsoft.com/office/drawing/2014/main" id="{67766430-F557-47F5-892F-15130FBD695A}"/>
                        </a:ext>
                      </a:extLst>
                    </p:cNvPr>
                    <p:cNvSpPr/>
                    <p:nvPr/>
                  </p:nvSpPr>
                  <p:spPr bwMode="auto">
                    <a:xfrm>
                      <a:off x="3657601" y="1136650"/>
                      <a:ext cx="4940300" cy="2865438"/>
                    </a:xfrm>
                    <a:custGeom>
                      <a:avLst/>
                      <a:gdLst>
                        <a:gd name="T0" fmla="*/ 3112 w 3112"/>
                        <a:gd name="T1" fmla="*/ 1305 h 1805"/>
                        <a:gd name="T2" fmla="*/ 3112 w 3112"/>
                        <a:gd name="T3" fmla="*/ 1805 h 1805"/>
                        <a:gd name="T4" fmla="*/ 2612 w 3112"/>
                        <a:gd name="T5" fmla="*/ 1624 h 1805"/>
                        <a:gd name="T6" fmla="*/ 2765 w 3112"/>
                        <a:gd name="T7" fmla="*/ 1527 h 1805"/>
                        <a:gd name="T8" fmla="*/ 2515 w 3112"/>
                        <a:gd name="T9" fmla="*/ 1166 h 1805"/>
                        <a:gd name="T10" fmla="*/ 2195 w 3112"/>
                        <a:gd name="T11" fmla="*/ 1222 h 1805"/>
                        <a:gd name="T12" fmla="*/ 1890 w 3112"/>
                        <a:gd name="T13" fmla="*/ 764 h 1805"/>
                        <a:gd name="T14" fmla="*/ 1570 w 3112"/>
                        <a:gd name="T15" fmla="*/ 875 h 1805"/>
                        <a:gd name="T16" fmla="*/ 1084 w 3112"/>
                        <a:gd name="T17" fmla="*/ 417 h 1805"/>
                        <a:gd name="T18" fmla="*/ 848 w 3112"/>
                        <a:gd name="T19" fmla="*/ 556 h 1805"/>
                        <a:gd name="T20" fmla="*/ 0 w 3112"/>
                        <a:gd name="T21" fmla="*/ 236 h 1805"/>
                        <a:gd name="T22" fmla="*/ 84 w 3112"/>
                        <a:gd name="T23" fmla="*/ 0 h 1805"/>
                        <a:gd name="T24" fmla="*/ 820 w 3112"/>
                        <a:gd name="T25" fmla="*/ 278 h 1805"/>
                        <a:gd name="T26" fmla="*/ 1112 w 3112"/>
                        <a:gd name="T27" fmla="*/ 111 h 1805"/>
                        <a:gd name="T28" fmla="*/ 1626 w 3112"/>
                        <a:gd name="T29" fmla="*/ 583 h 1805"/>
                        <a:gd name="T30" fmla="*/ 1987 w 3112"/>
                        <a:gd name="T31" fmla="*/ 458 h 1805"/>
                        <a:gd name="T32" fmla="*/ 2320 w 3112"/>
                        <a:gd name="T33" fmla="*/ 944 h 1805"/>
                        <a:gd name="T34" fmla="*/ 2626 w 3112"/>
                        <a:gd name="T35" fmla="*/ 875 h 1805"/>
                        <a:gd name="T36" fmla="*/ 2973 w 3112"/>
                        <a:gd name="T37" fmla="*/ 1388 h 1805"/>
                        <a:gd name="T38" fmla="*/ 3112 w 3112"/>
                        <a:gd name="T39" fmla="*/ 1305 h 1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2" h="1805">
                          <a:moveTo>
                            <a:pt x="3112" y="1305"/>
                          </a:moveTo>
                          <a:lnTo>
                            <a:pt x="3112" y="1805"/>
                          </a:lnTo>
                          <a:lnTo>
                            <a:pt x="2612" y="1624"/>
                          </a:lnTo>
                          <a:lnTo>
                            <a:pt x="2765" y="1527"/>
                          </a:lnTo>
                          <a:lnTo>
                            <a:pt x="2515" y="1166"/>
                          </a:lnTo>
                          <a:lnTo>
                            <a:pt x="2195" y="1222"/>
                          </a:lnTo>
                          <a:lnTo>
                            <a:pt x="1890" y="764"/>
                          </a:lnTo>
                          <a:lnTo>
                            <a:pt x="1570" y="875"/>
                          </a:lnTo>
                          <a:lnTo>
                            <a:pt x="1084" y="417"/>
                          </a:lnTo>
                          <a:lnTo>
                            <a:pt x="848" y="556"/>
                          </a:lnTo>
                          <a:lnTo>
                            <a:pt x="0" y="236"/>
                          </a:lnTo>
                          <a:lnTo>
                            <a:pt x="84" y="0"/>
                          </a:lnTo>
                          <a:lnTo>
                            <a:pt x="820" y="278"/>
                          </a:lnTo>
                          <a:lnTo>
                            <a:pt x="1112" y="111"/>
                          </a:lnTo>
                          <a:lnTo>
                            <a:pt x="1626" y="583"/>
                          </a:lnTo>
                          <a:lnTo>
                            <a:pt x="1987" y="458"/>
                          </a:lnTo>
                          <a:lnTo>
                            <a:pt x="2320" y="944"/>
                          </a:lnTo>
                          <a:lnTo>
                            <a:pt x="2626" y="875"/>
                          </a:lnTo>
                          <a:lnTo>
                            <a:pt x="2973" y="1388"/>
                          </a:lnTo>
                          <a:lnTo>
                            <a:pt x="3112" y="1305"/>
                          </a:lnTo>
                          <a:close/>
                        </a:path>
                      </a:pathLst>
                    </a:custGeom>
                    <a:solidFill>
                      <a:srgbClr val="FD5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59" name="组合 158">
                    <a:extLst>
                      <a:ext uri="{FF2B5EF4-FFF2-40B4-BE49-F238E27FC236}">
                        <a16:creationId xmlns:a16="http://schemas.microsoft.com/office/drawing/2014/main" id="{6DC6394F-8C5C-496E-9A89-D0217FF2C63E}"/>
                      </a:ext>
                    </a:extLst>
                  </p:cNvPr>
                  <p:cNvGrpSpPr/>
                  <p:nvPr/>
                </p:nvGrpSpPr>
                <p:grpSpPr>
                  <a:xfrm>
                    <a:off x="2347940" y="3126117"/>
                    <a:ext cx="483318" cy="483256"/>
                    <a:chOff x="4992153" y="5058387"/>
                    <a:chExt cx="183315" cy="183292"/>
                  </a:xfrm>
                </p:grpSpPr>
                <p:sp>
                  <p:nvSpPr>
                    <p:cNvPr id="161" name="矩形 160">
                      <a:extLst>
                        <a:ext uri="{FF2B5EF4-FFF2-40B4-BE49-F238E27FC236}">
                          <a16:creationId xmlns:a16="http://schemas.microsoft.com/office/drawing/2014/main" id="{399AFA40-3447-4964-9CEE-0EC831C34235}"/>
                        </a:ext>
                      </a:extLst>
                    </p:cNvPr>
                    <p:cNvSpPr/>
                    <p:nvPr/>
                  </p:nvSpPr>
                  <p:spPr>
                    <a:xfrm>
                      <a:off x="5001989" y="5068223"/>
                      <a:ext cx="164175" cy="164176"/>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2" name="椭圆 161">
                      <a:extLst>
                        <a:ext uri="{FF2B5EF4-FFF2-40B4-BE49-F238E27FC236}">
                          <a16:creationId xmlns:a16="http://schemas.microsoft.com/office/drawing/2014/main" id="{90FDF72F-9763-42E5-A6EE-AB9C8BCED68D}"/>
                        </a:ext>
                      </a:extLst>
                    </p:cNvPr>
                    <p:cNvSpPr/>
                    <p:nvPr/>
                  </p:nvSpPr>
                  <p:spPr>
                    <a:xfrm flipH="1">
                      <a:off x="4992153"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椭圆 162">
                      <a:extLst>
                        <a:ext uri="{FF2B5EF4-FFF2-40B4-BE49-F238E27FC236}">
                          <a16:creationId xmlns:a16="http://schemas.microsoft.com/office/drawing/2014/main" id="{AD2C9A9D-37D3-408E-B9CD-1BB04F798DF5}"/>
                        </a:ext>
                      </a:extLst>
                    </p:cNvPr>
                    <p:cNvSpPr/>
                    <p:nvPr/>
                  </p:nvSpPr>
                  <p:spPr>
                    <a:xfrm flipH="1">
                      <a:off x="5073974"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椭圆 163">
                      <a:extLst>
                        <a:ext uri="{FF2B5EF4-FFF2-40B4-BE49-F238E27FC236}">
                          <a16:creationId xmlns:a16="http://schemas.microsoft.com/office/drawing/2014/main" id="{1D0EE2BC-DF49-481F-929D-8C9BA398BBA2}"/>
                        </a:ext>
                      </a:extLst>
                    </p:cNvPr>
                    <p:cNvSpPr/>
                    <p:nvPr/>
                  </p:nvSpPr>
                  <p:spPr>
                    <a:xfrm flipH="1">
                      <a:off x="5155795"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椭圆 164">
                      <a:extLst>
                        <a:ext uri="{FF2B5EF4-FFF2-40B4-BE49-F238E27FC236}">
                          <a16:creationId xmlns:a16="http://schemas.microsoft.com/office/drawing/2014/main" id="{58EC95FA-8C88-47BC-BD51-4CC7EB60C8BC}"/>
                        </a:ext>
                      </a:extLst>
                    </p:cNvPr>
                    <p:cNvSpPr/>
                    <p:nvPr/>
                  </p:nvSpPr>
                  <p:spPr>
                    <a:xfrm flipH="1">
                      <a:off x="4992153"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椭圆 165">
                      <a:extLst>
                        <a:ext uri="{FF2B5EF4-FFF2-40B4-BE49-F238E27FC236}">
                          <a16:creationId xmlns:a16="http://schemas.microsoft.com/office/drawing/2014/main" id="{10C3AA87-0B53-4E76-AA2E-5646E50538E7}"/>
                        </a:ext>
                      </a:extLst>
                    </p:cNvPr>
                    <p:cNvSpPr/>
                    <p:nvPr/>
                  </p:nvSpPr>
                  <p:spPr>
                    <a:xfrm flipH="1">
                      <a:off x="5073974"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椭圆 168">
                      <a:extLst>
                        <a:ext uri="{FF2B5EF4-FFF2-40B4-BE49-F238E27FC236}">
                          <a16:creationId xmlns:a16="http://schemas.microsoft.com/office/drawing/2014/main" id="{67A30F83-F3C9-43E9-B4A9-E6072FAA88B4}"/>
                        </a:ext>
                      </a:extLst>
                    </p:cNvPr>
                    <p:cNvSpPr/>
                    <p:nvPr/>
                  </p:nvSpPr>
                  <p:spPr>
                    <a:xfrm flipH="1">
                      <a:off x="5155795"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椭圆 169">
                      <a:extLst>
                        <a:ext uri="{FF2B5EF4-FFF2-40B4-BE49-F238E27FC236}">
                          <a16:creationId xmlns:a16="http://schemas.microsoft.com/office/drawing/2014/main" id="{6458C571-B498-46DB-894D-6847927717A2}"/>
                        </a:ext>
                      </a:extLst>
                    </p:cNvPr>
                    <p:cNvSpPr/>
                    <p:nvPr/>
                  </p:nvSpPr>
                  <p:spPr>
                    <a:xfrm flipH="1">
                      <a:off x="4992153"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椭圆 170">
                      <a:extLst>
                        <a:ext uri="{FF2B5EF4-FFF2-40B4-BE49-F238E27FC236}">
                          <a16:creationId xmlns:a16="http://schemas.microsoft.com/office/drawing/2014/main" id="{6E4B5F08-2340-4ECD-8339-403C4F7CEE43}"/>
                        </a:ext>
                      </a:extLst>
                    </p:cNvPr>
                    <p:cNvSpPr/>
                    <p:nvPr/>
                  </p:nvSpPr>
                  <p:spPr>
                    <a:xfrm flipH="1">
                      <a:off x="5155790"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grpSp>
      <p:sp>
        <p:nvSpPr>
          <p:cNvPr id="2" name="矩形 1">
            <a:extLst>
              <a:ext uri="{FF2B5EF4-FFF2-40B4-BE49-F238E27FC236}">
                <a16:creationId xmlns:a16="http://schemas.microsoft.com/office/drawing/2014/main" id="{4B1FB9A7-85C6-45C8-A73A-210A68B9C2B7}"/>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zh-CN" altLang="en-US" sz="800" dirty="0">
                <a:solidFill>
                  <a:schemeClr val="bg1"/>
                </a:solidFill>
              </a:rPr>
              <a:t>本页为说明页，使用时请删除本页内容。</a:t>
            </a:r>
          </a:p>
          <a:p>
            <a:pPr>
              <a:lnSpc>
                <a:spcPct val="120000"/>
              </a:lnSpc>
            </a:pPr>
            <a:r>
              <a:rPr lang="en-US" altLang="zh-CN" sz="800" dirty="0">
                <a:solidFill>
                  <a:schemeClr val="bg1"/>
                </a:solidFill>
              </a:rPr>
              <a:t>This slide </a:t>
            </a:r>
            <a:r>
              <a:rPr lang="en-US" altLang="zh-CN" sz="800">
                <a:solidFill>
                  <a:schemeClr val="bg1"/>
                </a:solidFill>
              </a:rPr>
              <a:t>is a</a:t>
            </a:r>
            <a:r>
              <a:rPr lang="en-US" altLang="zh-CN" sz="100">
                <a:solidFill>
                  <a:schemeClr val="bg1"/>
                </a:solidFill>
              </a:rPr>
              <a:t> </a:t>
            </a:r>
            <a:r>
              <a:rPr lang="en-US" altLang="zh-CN" sz="800">
                <a:solidFill>
                  <a:schemeClr val="bg1"/>
                </a:solidFill>
              </a:rPr>
              <a:t>n </a:t>
            </a:r>
            <a:r>
              <a:rPr lang="en-US" altLang="zh-CN" sz="800" dirty="0">
                <a:solidFill>
                  <a:schemeClr val="bg1"/>
                </a:solidFill>
              </a:rPr>
              <a:t>instruction. Please delete this slide before using it for presentation.</a:t>
            </a:r>
          </a:p>
        </p:txBody>
      </p:sp>
    </p:spTree>
    <p:custDataLst>
      <p:tags r:id="rId1"/>
    </p:custDataLst>
    <p:extLst>
      <p:ext uri="{BB962C8B-B14F-4D97-AF65-F5344CB8AC3E}">
        <p14:creationId xmlns:p14="http://schemas.microsoft.com/office/powerpoint/2010/main" val="3962855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课前热身</a:t>
            </a:r>
          </a:p>
        </p:txBody>
      </p:sp>
      <p:sp>
        <p:nvSpPr>
          <p:cNvPr id="6" name="文本占位符 5"/>
          <p:cNvSpPr>
            <a:spLocks noGrp="1"/>
          </p:cNvSpPr>
          <p:nvPr>
            <p:ph type="body" idx="1"/>
          </p:nvPr>
        </p:nvSpPr>
        <p:spPr/>
        <p:txBody>
          <a:bodyPr/>
          <a:lstStyle/>
          <a:p>
            <a:pPr lvl="0"/>
            <a:r>
              <a:rPr lang="zh-CN" altLang="en-US" dirty="0"/>
              <a:t>通过几个小</a:t>
            </a:r>
            <a:r>
              <a:rPr lang="en-US" altLang="zh-CN" dirty="0"/>
              <a:t>demo</a:t>
            </a:r>
            <a:r>
              <a:rPr lang="zh-CN" altLang="en-US" dirty="0"/>
              <a:t>来初步领略下函数式编程的魅力</a:t>
            </a:r>
          </a:p>
        </p:txBody>
      </p:sp>
    </p:spTree>
    <p:custDataLst>
      <p:tags r:id="rId1"/>
    </p:custDataLst>
    <p:extLst>
      <p:ext uri="{BB962C8B-B14F-4D97-AF65-F5344CB8AC3E}">
        <p14:creationId xmlns:p14="http://schemas.microsoft.com/office/powerpoint/2010/main" val="27536484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47" name="组合 46">
            <a:extLst>
              <a:ext uri="{FF2B5EF4-FFF2-40B4-BE49-F238E27FC236}">
                <a16:creationId xmlns:a16="http://schemas.microsoft.com/office/drawing/2014/main" id="{C3B8E65B-8D23-4A0C-BA0F-4099D6663359}"/>
              </a:ext>
            </a:extLst>
          </p:cNvPr>
          <p:cNvGrpSpPr/>
          <p:nvPr/>
        </p:nvGrpSpPr>
        <p:grpSpPr>
          <a:xfrm>
            <a:off x="5252647" y="0"/>
            <a:ext cx="6939359" cy="6858000"/>
            <a:chOff x="5252643" y="0"/>
            <a:chExt cx="6939358" cy="6858000"/>
          </a:xfrm>
          <a:solidFill>
            <a:srgbClr val="F7F7F7"/>
          </a:solidFill>
        </p:grpSpPr>
        <p:sp>
          <p:nvSpPr>
            <p:cNvPr id="48" name="任意多边形: 形状 47">
              <a:extLst>
                <a:ext uri="{FF2B5EF4-FFF2-40B4-BE49-F238E27FC236}">
                  <a16:creationId xmlns:a16="http://schemas.microsoft.com/office/drawing/2014/main" id="{318E7F1B-E2A0-4D9A-826C-3801FAA34DB1}"/>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49" name="任意多边形: 形状 48">
              <a:extLst>
                <a:ext uri="{FF2B5EF4-FFF2-40B4-BE49-F238E27FC236}">
                  <a16:creationId xmlns:a16="http://schemas.microsoft.com/office/drawing/2014/main" id="{5BB64C10-DD97-4DF8-B000-003D623AC820}"/>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50" name="任意多边形: 形状 49">
              <a:extLst>
                <a:ext uri="{FF2B5EF4-FFF2-40B4-BE49-F238E27FC236}">
                  <a16:creationId xmlns:a16="http://schemas.microsoft.com/office/drawing/2014/main" id="{9968D30F-EFE9-42F5-898F-60E1C5FABD5E}"/>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grpSp>
        <p:nvGrpSpPr>
          <p:cNvPr id="6" name="组合 5">
            <a:extLst>
              <a:ext uri="{FF2B5EF4-FFF2-40B4-BE49-F238E27FC236}">
                <a16:creationId xmlns:a16="http://schemas.microsoft.com/office/drawing/2014/main" id="{FCBBF52A-9743-4508-AB77-11B57E837547}"/>
              </a:ext>
            </a:extLst>
          </p:cNvPr>
          <p:cNvGrpSpPr/>
          <p:nvPr/>
        </p:nvGrpSpPr>
        <p:grpSpPr>
          <a:xfrm>
            <a:off x="660400" y="2340017"/>
            <a:ext cx="2890521" cy="1850256"/>
            <a:chOff x="3422179" y="1150240"/>
            <a:chExt cx="2890521" cy="1850257"/>
          </a:xfrm>
        </p:grpSpPr>
        <p:sp>
          <p:nvSpPr>
            <p:cNvPr id="7" name="矩形 189">
              <a:extLst>
                <a:ext uri="{FF2B5EF4-FFF2-40B4-BE49-F238E27FC236}">
                  <a16:creationId xmlns:a16="http://schemas.microsoft.com/office/drawing/2014/main" id="{63B72852-A360-4EF8-A2F9-3A064EA5CCA7}"/>
                </a:ext>
              </a:extLst>
            </p:cNvPr>
            <p:cNvSpPr/>
            <p:nvPr/>
          </p:nvSpPr>
          <p:spPr>
            <a:xfrm>
              <a:off x="3422179" y="2665341"/>
              <a:ext cx="2890520" cy="335156"/>
            </a:xfrm>
            <a:prstGeom prst="rect">
              <a:avLst/>
            </a:prstGeom>
            <a:noFill/>
            <a:ln>
              <a:noFill/>
            </a:ln>
          </p:spPr>
          <p:txBody>
            <a:bodyPr wrap="square" anchor="ctr">
              <a:spAutoFit/>
            </a:bodyPr>
            <a:lstStyle/>
            <a:p>
              <a:pPr defTabSz="914332">
                <a:lnSpc>
                  <a:spcPct val="150000"/>
                </a:lnSpc>
                <a:defRPr/>
              </a:pPr>
              <a:r>
                <a:rPr lang="en-US" altLang="zh-CN" sz="120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val="tx"/>
                      </a:ext>
                    </a:extLst>
                  </a:hlinkClick>
                </a:rPr>
                <a:t>www.</a:t>
              </a:r>
              <a:r>
                <a:rPr lang="en-US" altLang="zh-CN" sz="10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val="tx"/>
                      </a:ext>
                    </a:extLst>
                  </a:hlinkClick>
                </a:rPr>
                <a:t> </a:t>
              </a:r>
              <a:r>
                <a:rPr lang="en-US" altLang="zh-CN" sz="120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val="tx"/>
                      </a:ext>
                    </a:extLst>
                  </a:hlinkClick>
                </a:rPr>
                <a:t>islide</a:t>
              </a:r>
              <a:r>
                <a:rPr lang="en-US" altLang="zh-CN" sz="1200" dirty="0">
                  <a:solidFill>
                    <a:srgbClr val="F73434"/>
                  </a:solidFill>
                  <a:latin typeface="Arial" panose="020B0604020202020204" pitchFamily="34" charset="0"/>
                  <a:ea typeface="微软雅黑" panose="020B0503020204020204" pitchFamily="34" charset="-122"/>
                  <a:sym typeface="Arial" panose="020B0604020202020204" pitchFamily="34" charset="0"/>
                  <a:hlinkClick r:id="rId3">
                    <a:extLst>
                      <a:ext uri="{A12FA001-AC4F-418D-AE19-62706E023703}">
                        <ahyp:hlinkClr xmlns:ahyp="http://schemas.microsoft.com/office/drawing/2018/hyperlinkcolor" val="tx"/>
                      </a:ext>
                    </a:extLst>
                  </a:hlinkClick>
                </a:rPr>
                <a:t>.cc</a:t>
              </a:r>
              <a:endParaRPr lang="zh-CN" altLang="en-US" sz="1200"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矩形 190">
              <a:extLst>
                <a:ext uri="{FF2B5EF4-FFF2-40B4-BE49-F238E27FC236}">
                  <a16:creationId xmlns:a16="http://schemas.microsoft.com/office/drawing/2014/main" id="{F754BA71-8184-4828-95E4-4301AEC6A769}"/>
                </a:ext>
              </a:extLst>
            </p:cNvPr>
            <p:cNvSpPr/>
            <p:nvPr/>
          </p:nvSpPr>
          <p:spPr>
            <a:xfrm>
              <a:off x="3422180" y="1150240"/>
              <a:ext cx="2890520" cy="1224952"/>
            </a:xfrm>
            <a:prstGeom prst="rect">
              <a:avLst/>
            </a:prstGeom>
            <a:noFill/>
            <a:ln>
              <a:noFill/>
            </a:ln>
          </p:spPr>
          <p:txBody>
            <a:bodyPr wrap="square" anchor="t">
              <a:spAutoFit/>
            </a:bodyPr>
            <a:lstStyle/>
            <a:p>
              <a:pPr defTabSz="914332">
                <a:lnSpc>
                  <a:spcPct val="120000"/>
                </a:lnSpc>
                <a:defRPr/>
              </a:pP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海量原创模版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一键优化功能</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lnSpc>
                  <a:spcPct val="120000"/>
                </a:lnSpc>
                <a:defRPr/>
              </a:pP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让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设计简单起来！</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endParaRPr lang="en-US" altLang="zh-CN" sz="1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One-click Opt</a:t>
              </a:r>
              <a:r>
                <a:rPr lang="en-US" altLang="zh-CN" sz="10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 </a:t>
              </a:r>
              <a:r>
                <a:rPr lang="en-US" altLang="zh-CN" sz="100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imization </a:t>
              </a: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Features &amp; </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Massive Presentation Resources</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Great Presentation Made Easy with iSlide</a:t>
              </a:r>
              <a:endParaRPr lang="zh-CN" altLang="en-US"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a:extLst>
              <a:ext uri="{FF2B5EF4-FFF2-40B4-BE49-F238E27FC236}">
                <a16:creationId xmlns:a16="http://schemas.microsoft.com/office/drawing/2014/main" id="{40A731D2-FA13-40C5-BFF0-59E41A667BE9}"/>
              </a:ext>
            </a:extLst>
          </p:cNvPr>
          <p:cNvGrpSpPr/>
          <p:nvPr/>
        </p:nvGrpSpPr>
        <p:grpSpPr>
          <a:xfrm>
            <a:off x="3937427" y="2352595"/>
            <a:ext cx="7581473" cy="3646763"/>
            <a:chOff x="3898800" y="2179738"/>
            <a:chExt cx="7619676" cy="3466182"/>
          </a:xfrm>
        </p:grpSpPr>
        <p:sp>
          <p:nvSpPr>
            <p:cNvPr id="20" name="矩形 19">
              <a:extLst>
                <a:ext uri="{FF2B5EF4-FFF2-40B4-BE49-F238E27FC236}">
                  <a16:creationId xmlns:a16="http://schemas.microsoft.com/office/drawing/2014/main" id="{5647BAD5-E81A-4998-ACB8-5A097424CA8E}"/>
                </a:ext>
              </a:extLst>
            </p:cNvPr>
            <p:cNvSpPr/>
            <p:nvPr/>
          </p:nvSpPr>
          <p:spPr>
            <a:xfrm>
              <a:off x="3898800" y="2495332"/>
              <a:ext cx="7619676" cy="3150588"/>
            </a:xfrm>
            <a:prstGeom prst="rect">
              <a:avLst/>
            </a:prstGeom>
            <a:ln w="3175">
              <a:noFill/>
            </a:ln>
          </p:spPr>
          <p:txBody>
            <a:bodyPr wrap="square">
              <a:noAutofit/>
            </a:bodyPr>
            <a:lstStyle/>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由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提供</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尊重知识产权并注重保护用户享有的各项权利。</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郑重提醒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本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文件中提供的任何信息内容的所有权、知识产权归其原始权利人或权利受让人所有，您免费</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付费获得的是信息内容的使用权，您的使用行为应当遵循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官方网站（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https://www.islide.cc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的“版权声明”、“用户协议”、“会员协议”等条款的约束。</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1</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将信息内容的全部或部分用于出售，或以出租、出借、发布等其他任何直接获利方式供他人使用；</a:t>
              </a:r>
              <a:b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b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2</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您不可在接入互联网或移动互联网的任何网站、平台、应用或程序上以任何方式为他人提供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工具 </a:t>
              </a:r>
              <a:r>
                <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900" dirty="0">
                  <a:solidFill>
                    <a:srgbClr val="2F2F2F"/>
                  </a:solidFill>
                  <a:latin typeface="Arial" panose="020B0604020202020204" pitchFamily="34" charset="0"/>
                  <a:ea typeface="微软雅黑" panose="020B0503020204020204" pitchFamily="34" charset="-122"/>
                  <a:sym typeface="Arial" panose="020B0604020202020204" pitchFamily="34" charset="0"/>
                </a:rPr>
                <a:t>平台中的资源内容下载。</a:t>
              </a:r>
              <a:endParaRPr lang="en-US" altLang="zh-CN" sz="9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endParaRPr lang="en-US" altLang="zh-CN" sz="9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is presentation file is supplied by iSlide.</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iSlide respects all intellectual property rights </a:t>
              </a:r>
              <a:r>
                <a:rPr lang="en-US" altLang="zh-CN" sz="900">
                  <a:solidFill>
                    <a:srgbClr val="A6A6A6"/>
                  </a:solidFill>
                  <a:latin typeface="Arial" panose="020B0604020202020204" pitchFamily="34" charset="0"/>
                  <a:ea typeface="微软雅黑" panose="020B0503020204020204" pitchFamily="34" charset="-122"/>
                  <a:sym typeface="Arial" panose="020B0604020202020204" pitchFamily="34" charset="0"/>
                </a:rPr>
                <a:t>and pr</a:t>
              </a:r>
              <a:r>
                <a:rPr lang="en-US" altLang="zh-CN" sz="100">
                  <a:solidFill>
                    <a:srgbClr val="A6A6A6"/>
                  </a:solidFill>
                  <a:latin typeface="Arial" panose="020B0604020202020204" pitchFamily="34" charset="0"/>
                  <a:ea typeface="微软雅黑" panose="020B0503020204020204" pitchFamily="34" charset="-122"/>
                  <a:sym typeface="Arial" panose="020B0604020202020204" pitchFamily="34" charset="0"/>
                </a:rPr>
                <a:t> </a:t>
              </a:r>
              <a:r>
                <a:rPr lang="en-US" altLang="zh-CN" sz="900">
                  <a:solidFill>
                    <a:srgbClr val="A6A6A6"/>
                  </a:solidFill>
                  <a:latin typeface="Arial" panose="020B0604020202020204" pitchFamily="34" charset="0"/>
                  <a:ea typeface="微软雅黑" panose="020B0503020204020204" pitchFamily="34" charset="-122"/>
                  <a:sym typeface="Arial" panose="020B0604020202020204" pitchFamily="34" charset="0"/>
                </a:rPr>
                <a:t>otects </a:t>
              </a: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all the rights its users acquired. Here iSlide solemnly reminds you:</a:t>
              </a:r>
            </a:p>
            <a:p>
              <a:pPr>
                <a:lnSpc>
                  <a:spcPct val="150000"/>
                </a:lnSpc>
              </a:pPr>
              <a:endPar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e ownership and intellectual property of any content in this PowerPoint presentation belongs to its owner or the assignee of this ownership. What you purchased or got for free is the right to use the content. The usage should be subject to the terms of “Copyright Notice”, “User License Agreement”, “Premium Agreement” and more Agreements of iSlide official website (https://www.islide.cc ) :</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1.You may not use all or part of the content for sale; or rent, lend; or distribute it in any directly profitable way.</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2.You may not provide the resource of iSlide add-in/platform to any website, platform, application in the Internet or mobile Internet in any way.</a:t>
              </a:r>
            </a:p>
          </p:txBody>
        </p:sp>
        <p:sp>
          <p:nvSpPr>
            <p:cNvPr id="34" name="矩形 33">
              <a:extLst>
                <a:ext uri="{FF2B5EF4-FFF2-40B4-BE49-F238E27FC236}">
                  <a16:creationId xmlns:a16="http://schemas.microsoft.com/office/drawing/2014/main" id="{AE7ED207-8B71-4A21-A9A5-7C044C1FB5F6}"/>
                </a:ext>
              </a:extLst>
            </p:cNvPr>
            <p:cNvSpPr/>
            <p:nvPr/>
          </p:nvSpPr>
          <p:spPr>
            <a:xfrm>
              <a:off x="3898800" y="2179738"/>
              <a:ext cx="2675812" cy="292536"/>
            </a:xfrm>
            <a:prstGeom prst="rect">
              <a:avLst/>
            </a:prstGeom>
          </p:spPr>
          <p:txBody>
            <a:bodyPr wrap="none">
              <a:spAutoFit/>
            </a:bodyPr>
            <a:lstStyle/>
            <a:p>
              <a:r>
                <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重要</a:t>
              </a:r>
              <a:r>
                <a:rPr lang="zh-CN" altLang="en-US" sz="1400" b="1">
                  <a:solidFill>
                    <a:srgbClr val="F73434"/>
                  </a:solidFill>
                  <a:latin typeface="Arial" panose="020B0604020202020204" pitchFamily="34" charset="0"/>
                  <a:ea typeface="微软雅黑" panose="020B0503020204020204" pitchFamily="34" charset="-122"/>
                  <a:sym typeface="Arial" panose="020B0604020202020204" pitchFamily="34" charset="0"/>
                </a:rPr>
                <a:t>提示 </a:t>
              </a:r>
              <a:r>
                <a:rPr lang="en-US" altLang="zh-CN" sz="1400" b="1">
                  <a:solidFill>
                    <a:srgbClr val="F73434"/>
                  </a:solidFill>
                  <a:latin typeface="Arial" panose="020B0604020202020204" pitchFamily="34" charset="0"/>
                  <a:ea typeface="微软雅黑" panose="020B0503020204020204" pitchFamily="34" charset="-122"/>
                  <a:sym typeface="Arial" panose="020B0604020202020204" pitchFamily="34" charset="0"/>
                </a:rPr>
                <a:t>IM</a:t>
              </a:r>
              <a:r>
                <a:rPr lang="en-US" altLang="zh-CN" sz="100" b="1">
                  <a:solidFill>
                    <a:srgbClr val="F73434"/>
                  </a:solidFill>
                  <a:latin typeface="Arial" panose="020B0604020202020204" pitchFamily="34" charset="0"/>
                  <a:ea typeface="微软雅黑" panose="020B0503020204020204" pitchFamily="34" charset="-122"/>
                  <a:sym typeface="Arial" panose="020B0604020202020204" pitchFamily="34" charset="0"/>
                </a:rPr>
                <a:t> </a:t>
              </a:r>
              <a:r>
                <a:rPr lang="en-US" altLang="zh-CN" sz="1400" b="1">
                  <a:solidFill>
                    <a:srgbClr val="F73434"/>
                  </a:solidFill>
                  <a:latin typeface="Arial" panose="020B0604020202020204" pitchFamily="34" charset="0"/>
                  <a:ea typeface="微软雅黑" panose="020B0503020204020204" pitchFamily="34" charset="-122"/>
                  <a:sym typeface="Arial" panose="020B0604020202020204" pitchFamily="34" charset="0"/>
                </a:rPr>
                <a:t>PORTANT </a:t>
              </a:r>
              <a:r>
                <a:rPr lang="en-US" altLang="zh-CN"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NOTE:</a:t>
              </a:r>
              <a:endPar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grpSp>
      <p:pic>
        <p:nvPicPr>
          <p:cNvPr id="130" name="图片 129">
            <a:extLst>
              <a:ext uri="{FF2B5EF4-FFF2-40B4-BE49-F238E27FC236}">
                <a16:creationId xmlns:a16="http://schemas.microsoft.com/office/drawing/2014/main" id="{2AA564AF-9FC3-4787-B325-F00530C1658C}"/>
              </a:ext>
            </a:extLst>
          </p:cNvPr>
          <p:cNvPicPr>
            <a:picLocks/>
          </p:cNvPicPr>
          <p:nvPr/>
        </p:nvPicPr>
        <p:blipFill>
          <a:blip r:embed="rId4">
            <a:extLst>
              <a:ext uri="{28A0092B-C50C-407E-A947-70E740481C1C}">
                <a14:useLocalDpi xmlns:a14="http://schemas.microsoft.com/office/drawing/2010/main" val="0"/>
              </a:ext>
            </a:extLst>
          </a:blip>
          <a:srcRect/>
          <a:stretch/>
        </p:blipFill>
        <p:spPr>
          <a:xfrm>
            <a:off x="660400" y="5031395"/>
            <a:ext cx="1048192" cy="1048192"/>
          </a:xfrm>
          <a:prstGeom prst="rect">
            <a:avLst/>
          </a:prstGeom>
        </p:spPr>
      </p:pic>
      <p:grpSp>
        <p:nvGrpSpPr>
          <p:cNvPr id="14" name="组合 13">
            <a:extLst>
              <a:ext uri="{FF2B5EF4-FFF2-40B4-BE49-F238E27FC236}">
                <a16:creationId xmlns:a16="http://schemas.microsoft.com/office/drawing/2014/main" id="{D6757B43-6712-4BAE-8670-B715B10BFA4C}"/>
              </a:ext>
            </a:extLst>
          </p:cNvPr>
          <p:cNvGrpSpPr/>
          <p:nvPr/>
        </p:nvGrpSpPr>
        <p:grpSpPr>
          <a:xfrm>
            <a:off x="660400" y="1193800"/>
            <a:ext cx="1595567" cy="451484"/>
            <a:chOff x="683269" y="1142808"/>
            <a:chExt cx="1595567" cy="451484"/>
          </a:xfrm>
        </p:grpSpPr>
        <p:grpSp>
          <p:nvGrpSpPr>
            <p:cNvPr id="15" name="图形 2">
              <a:extLst>
                <a:ext uri="{FF2B5EF4-FFF2-40B4-BE49-F238E27FC236}">
                  <a16:creationId xmlns:a16="http://schemas.microsoft.com/office/drawing/2014/main" id="{A540713F-FC29-4BB1-A3F5-C1360CCAFA2B}"/>
                </a:ext>
              </a:extLst>
            </p:cNvPr>
            <p:cNvGrpSpPr/>
            <p:nvPr/>
          </p:nvGrpSpPr>
          <p:grpSpPr>
            <a:xfrm>
              <a:off x="683269" y="1142808"/>
              <a:ext cx="450234" cy="451484"/>
              <a:chOff x="683269" y="1142808"/>
              <a:chExt cx="450234" cy="451484"/>
            </a:xfrm>
          </p:grpSpPr>
          <p:sp>
            <p:nvSpPr>
              <p:cNvPr id="17" name="任意多边形: 形状 16">
                <a:extLst>
                  <a:ext uri="{FF2B5EF4-FFF2-40B4-BE49-F238E27FC236}">
                    <a16:creationId xmlns:a16="http://schemas.microsoft.com/office/drawing/2014/main" id="{B52E13E3-2F81-47A6-9CF9-D29EFF6EC715}"/>
                  </a:ext>
                </a:extLst>
              </p:cNvPr>
              <p:cNvSpPr/>
              <p:nvPr/>
            </p:nvSpPr>
            <p:spPr>
              <a:xfrm>
                <a:off x="683269" y="1142808"/>
                <a:ext cx="450234" cy="451484"/>
              </a:xfrm>
              <a:custGeom>
                <a:avLst/>
                <a:gdLst>
                  <a:gd name="connsiteX0" fmla="*/ 450234 w 450234"/>
                  <a:gd name="connsiteY0" fmla="*/ 225742 h 451484"/>
                  <a:gd name="connsiteX1" fmla="*/ 225117 w 450234"/>
                  <a:gd name="connsiteY1" fmla="*/ 451484 h 451484"/>
                  <a:gd name="connsiteX2" fmla="*/ 0 w 450234"/>
                  <a:gd name="connsiteY2" fmla="*/ 225742 h 451484"/>
                  <a:gd name="connsiteX3" fmla="*/ 225117 w 450234"/>
                  <a:gd name="connsiteY3" fmla="*/ 0 h 451484"/>
                  <a:gd name="connsiteX4" fmla="*/ 450234 w 450234"/>
                  <a:gd name="connsiteY4" fmla="*/ 225742 h 45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34" h="451484">
                    <a:moveTo>
                      <a:pt x="450234" y="225742"/>
                    </a:moveTo>
                    <a:cubicBezTo>
                      <a:pt x="450234" y="350416"/>
                      <a:pt x="349446" y="451484"/>
                      <a:pt x="225117" y="451484"/>
                    </a:cubicBezTo>
                    <a:cubicBezTo>
                      <a:pt x="100788" y="451484"/>
                      <a:pt x="0" y="350416"/>
                      <a:pt x="0" y="225742"/>
                    </a:cubicBezTo>
                    <a:cubicBezTo>
                      <a:pt x="0" y="101068"/>
                      <a:pt x="100788" y="0"/>
                      <a:pt x="225117" y="0"/>
                    </a:cubicBezTo>
                    <a:cubicBezTo>
                      <a:pt x="349446" y="0"/>
                      <a:pt x="450234" y="101068"/>
                      <a:pt x="450234" y="225742"/>
                    </a:cubicBezTo>
                    <a:close/>
                  </a:path>
                </a:pathLst>
              </a:custGeom>
              <a:solidFill>
                <a:srgbClr val="FFFFFF"/>
              </a:solidFill>
              <a:ln w="2462"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id="{2802B983-0393-404D-8EF6-C2BC0F6D1A21}"/>
                  </a:ext>
                </a:extLst>
              </p:cNvPr>
              <p:cNvSpPr/>
              <p:nvPr/>
            </p:nvSpPr>
            <p:spPr>
              <a:xfrm>
                <a:off x="683269" y="1142808"/>
                <a:ext cx="450234" cy="450003"/>
              </a:xfrm>
              <a:custGeom>
                <a:avLst/>
                <a:gdLst>
                  <a:gd name="connsiteX0" fmla="*/ 132059 w 450234"/>
                  <a:gd name="connsiteY0" fmla="*/ 431254 h 450003"/>
                  <a:gd name="connsiteX1" fmla="*/ 0 w 450234"/>
                  <a:gd name="connsiteY1" fmla="*/ 225495 h 450003"/>
                  <a:gd name="connsiteX2" fmla="*/ 225117 w 450234"/>
                  <a:gd name="connsiteY2" fmla="*/ 0 h 450003"/>
                  <a:gd name="connsiteX3" fmla="*/ 450234 w 450234"/>
                  <a:gd name="connsiteY3" fmla="*/ 225495 h 450003"/>
                  <a:gd name="connsiteX4" fmla="*/ 248320 w 450234"/>
                  <a:gd name="connsiteY4" fmla="*/ 450004 h 450003"/>
                  <a:gd name="connsiteX5" fmla="*/ 282384 w 450234"/>
                  <a:gd name="connsiteY5" fmla="*/ 289394 h 450003"/>
                  <a:gd name="connsiteX6" fmla="*/ 274238 w 450234"/>
                  <a:gd name="connsiteY6" fmla="*/ 244986 h 450003"/>
                  <a:gd name="connsiteX7" fmla="*/ 236965 w 450234"/>
                  <a:gd name="connsiteY7" fmla="*/ 219327 h 450003"/>
                  <a:gd name="connsiteX8" fmla="*/ 236719 w 450234"/>
                  <a:gd name="connsiteY8" fmla="*/ 219327 h 450003"/>
                  <a:gd name="connsiteX9" fmla="*/ 192534 w 450234"/>
                  <a:gd name="connsiteY9" fmla="*/ 227469 h 450003"/>
                  <a:gd name="connsiteX10" fmla="*/ 166863 w 450234"/>
                  <a:gd name="connsiteY10" fmla="*/ 264723 h 450003"/>
                  <a:gd name="connsiteX11" fmla="*/ 132059 w 450234"/>
                  <a:gd name="connsiteY11" fmla="*/ 431254 h 450003"/>
                  <a:gd name="connsiteX12" fmla="*/ 255478 w 450234"/>
                  <a:gd name="connsiteY12" fmla="*/ 75741 h 450003"/>
                  <a:gd name="connsiteX13" fmla="*/ 314473 w 450234"/>
                  <a:gd name="connsiteY13" fmla="*/ 134705 h 450003"/>
                  <a:gd name="connsiteX14" fmla="*/ 255478 w 450234"/>
                  <a:gd name="connsiteY14" fmla="*/ 193669 h 450003"/>
                  <a:gd name="connsiteX15" fmla="*/ 196484 w 450234"/>
                  <a:gd name="connsiteY15" fmla="*/ 134705 h 450003"/>
                  <a:gd name="connsiteX16" fmla="*/ 255478 w 450234"/>
                  <a:gd name="connsiteY16" fmla="*/ 75741 h 4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234" h="450003">
                    <a:moveTo>
                      <a:pt x="132059" y="431254"/>
                    </a:moveTo>
                    <a:cubicBezTo>
                      <a:pt x="54058" y="395727"/>
                      <a:pt x="0" y="317026"/>
                      <a:pt x="0" y="225495"/>
                    </a:cubicBezTo>
                    <a:cubicBezTo>
                      <a:pt x="0" y="101152"/>
                      <a:pt x="100957" y="0"/>
                      <a:pt x="225117" y="0"/>
                    </a:cubicBezTo>
                    <a:cubicBezTo>
                      <a:pt x="349277" y="0"/>
                      <a:pt x="450234" y="101152"/>
                      <a:pt x="450234" y="225495"/>
                    </a:cubicBezTo>
                    <a:cubicBezTo>
                      <a:pt x="450234" y="342190"/>
                      <a:pt x="361866" y="438162"/>
                      <a:pt x="248320" y="450004"/>
                    </a:cubicBezTo>
                    <a:lnTo>
                      <a:pt x="282384" y="289394"/>
                    </a:lnTo>
                    <a:cubicBezTo>
                      <a:pt x="285593" y="274098"/>
                      <a:pt x="282631" y="258061"/>
                      <a:pt x="274238" y="244986"/>
                    </a:cubicBezTo>
                    <a:cubicBezTo>
                      <a:pt x="265599" y="231910"/>
                      <a:pt x="252269" y="222535"/>
                      <a:pt x="236965" y="219327"/>
                    </a:cubicBezTo>
                    <a:cubicBezTo>
                      <a:pt x="236965" y="219327"/>
                      <a:pt x="236965" y="219327"/>
                      <a:pt x="236719" y="219327"/>
                    </a:cubicBezTo>
                    <a:cubicBezTo>
                      <a:pt x="221415" y="216120"/>
                      <a:pt x="205370" y="219081"/>
                      <a:pt x="192534" y="227469"/>
                    </a:cubicBezTo>
                    <a:cubicBezTo>
                      <a:pt x="179452" y="236104"/>
                      <a:pt x="170072" y="249426"/>
                      <a:pt x="166863" y="264723"/>
                    </a:cubicBezTo>
                    <a:lnTo>
                      <a:pt x="132059" y="431254"/>
                    </a:lnTo>
                    <a:close/>
                    <a:moveTo>
                      <a:pt x="255478" y="75741"/>
                    </a:moveTo>
                    <a:cubicBezTo>
                      <a:pt x="288061" y="75741"/>
                      <a:pt x="314473" y="102386"/>
                      <a:pt x="314473" y="134705"/>
                    </a:cubicBezTo>
                    <a:cubicBezTo>
                      <a:pt x="314473" y="167024"/>
                      <a:pt x="288061" y="193669"/>
                      <a:pt x="255478" y="193669"/>
                    </a:cubicBezTo>
                    <a:cubicBezTo>
                      <a:pt x="222896" y="193669"/>
                      <a:pt x="196484" y="167024"/>
                      <a:pt x="196484" y="134705"/>
                    </a:cubicBezTo>
                    <a:cubicBezTo>
                      <a:pt x="196484" y="102386"/>
                      <a:pt x="222896" y="75741"/>
                      <a:pt x="255478" y="75741"/>
                    </a:cubicBezTo>
                    <a:close/>
                  </a:path>
                </a:pathLst>
              </a:custGeom>
              <a:gradFill flip="none" rotWithShape="1">
                <a:gsLst>
                  <a:gs pos="0">
                    <a:srgbClr val="F93E36"/>
                  </a:gs>
                  <a:gs pos="100000">
                    <a:srgbClr val="FE6440"/>
                  </a:gs>
                </a:gsLst>
                <a:lin ang="18900000" scaled="1"/>
                <a:tileRect/>
              </a:gradFill>
              <a:ln w="2462" cap="flat">
                <a:noFill/>
                <a:prstDash val="solid"/>
                <a:miter/>
              </a:ln>
            </p:spPr>
            <p:txBody>
              <a:bodyPr rtlCol="0" anchor="ctr"/>
              <a:lstStyle/>
              <a:p>
                <a:endParaRPr lang="zh-CN" altLang="en-US" dirty="0"/>
              </a:p>
            </p:txBody>
          </p:sp>
        </p:grpSp>
        <p:sp>
          <p:nvSpPr>
            <p:cNvPr id="16" name="任意多边形: 形状 15">
              <a:extLst>
                <a:ext uri="{FF2B5EF4-FFF2-40B4-BE49-F238E27FC236}">
                  <a16:creationId xmlns:a16="http://schemas.microsoft.com/office/drawing/2014/main" id="{2C1218BD-82A2-4F82-84D5-EBFDB414ABDB}"/>
                </a:ext>
              </a:extLst>
            </p:cNvPr>
            <p:cNvSpPr/>
            <p:nvPr/>
          </p:nvSpPr>
          <p:spPr>
            <a:xfrm>
              <a:off x="1223599" y="1212380"/>
              <a:ext cx="1055237" cy="315374"/>
            </a:xfrm>
            <a:custGeom>
              <a:avLst/>
              <a:gdLst>
                <a:gd name="connsiteX0" fmla="*/ 952120 w 1055237"/>
                <a:gd name="connsiteY0" fmla="*/ 133688 h 315374"/>
                <a:gd name="connsiteX1" fmla="*/ 916514 w 1055237"/>
                <a:gd name="connsiteY1" fmla="*/ 136186 h 315374"/>
                <a:gd name="connsiteX2" fmla="*/ 874304 w 1055237"/>
                <a:gd name="connsiteY2" fmla="*/ 188982 h 315374"/>
                <a:gd name="connsiteX3" fmla="*/ 982913 w 1055237"/>
                <a:gd name="connsiteY3" fmla="*/ 149508 h 315374"/>
                <a:gd name="connsiteX4" fmla="*/ 952120 w 1055237"/>
                <a:gd name="connsiteY4" fmla="*/ 133688 h 315374"/>
                <a:gd name="connsiteX5" fmla="*/ 657333 w 1055237"/>
                <a:gd name="connsiteY5" fmla="*/ 128044 h 315374"/>
                <a:gd name="connsiteX6" fmla="*/ 588218 w 1055237"/>
                <a:gd name="connsiteY6" fmla="*/ 197123 h 315374"/>
                <a:gd name="connsiteX7" fmla="*/ 657333 w 1055237"/>
                <a:gd name="connsiteY7" fmla="*/ 266203 h 315374"/>
                <a:gd name="connsiteX8" fmla="*/ 726448 w 1055237"/>
                <a:gd name="connsiteY8" fmla="*/ 201071 h 315374"/>
                <a:gd name="connsiteX9" fmla="*/ 726448 w 1055237"/>
                <a:gd name="connsiteY9" fmla="*/ 193423 h 315374"/>
                <a:gd name="connsiteX10" fmla="*/ 657333 w 1055237"/>
                <a:gd name="connsiteY10" fmla="*/ 128044 h 315374"/>
                <a:gd name="connsiteX11" fmla="*/ 944739 w 1055237"/>
                <a:gd name="connsiteY11" fmla="*/ 79018 h 315374"/>
                <a:gd name="connsiteX12" fmla="*/ 1050054 w 1055237"/>
                <a:gd name="connsiteY12" fmla="*/ 156663 h 315374"/>
                <a:gd name="connsiteX13" fmla="*/ 1055237 w 1055237"/>
                <a:gd name="connsiteY13" fmla="*/ 175660 h 315374"/>
                <a:gd name="connsiteX14" fmla="*/ 1004142 w 1055237"/>
                <a:gd name="connsiteY14" fmla="*/ 194163 h 315374"/>
                <a:gd name="connsiteX15" fmla="*/ 887387 w 1055237"/>
                <a:gd name="connsiteY15" fmla="*/ 236598 h 315374"/>
                <a:gd name="connsiteX16" fmla="*/ 960945 w 1055237"/>
                <a:gd name="connsiteY16" fmla="*/ 257815 h 315374"/>
                <a:gd name="connsiteX17" fmla="*/ 1000933 w 1055237"/>
                <a:gd name="connsiteY17" fmla="*/ 215381 h 315374"/>
                <a:gd name="connsiteX18" fmla="*/ 1052275 w 1055237"/>
                <a:gd name="connsiteY18" fmla="*/ 230677 h 315374"/>
                <a:gd name="connsiteX19" fmla="*/ 979211 w 1055237"/>
                <a:gd name="connsiteY19" fmla="*/ 308145 h 315374"/>
                <a:gd name="connsiteX20" fmla="*/ 827405 w 1055237"/>
                <a:gd name="connsiteY20" fmla="*/ 237585 h 315374"/>
                <a:gd name="connsiteX21" fmla="*/ 898248 w 1055237"/>
                <a:gd name="connsiteY21" fmla="*/ 86103 h 315374"/>
                <a:gd name="connsiteX22" fmla="*/ 944739 w 1055237"/>
                <a:gd name="connsiteY22" fmla="*/ 79018 h 315374"/>
                <a:gd name="connsiteX23" fmla="*/ 451469 w 1055237"/>
                <a:gd name="connsiteY23" fmla="*/ 78948 h 315374"/>
                <a:gd name="connsiteX24" fmla="*/ 500837 w 1055237"/>
                <a:gd name="connsiteY24" fmla="*/ 78948 h 315374"/>
                <a:gd name="connsiteX25" fmla="*/ 500837 w 1055237"/>
                <a:gd name="connsiteY25" fmla="*/ 315299 h 315374"/>
                <a:gd name="connsiteX26" fmla="*/ 451469 w 1055237"/>
                <a:gd name="connsiteY26" fmla="*/ 315299 h 315374"/>
                <a:gd name="connsiteX27" fmla="*/ 4937 w 1055237"/>
                <a:gd name="connsiteY27" fmla="*/ 78948 h 315374"/>
                <a:gd name="connsiteX28" fmla="*/ 54305 w 1055237"/>
                <a:gd name="connsiteY28" fmla="*/ 78948 h 315374"/>
                <a:gd name="connsiteX29" fmla="*/ 54305 w 1055237"/>
                <a:gd name="connsiteY29" fmla="*/ 315299 h 315374"/>
                <a:gd name="connsiteX30" fmla="*/ 4937 w 1055237"/>
                <a:gd name="connsiteY30" fmla="*/ 315299 h 315374"/>
                <a:gd name="connsiteX31" fmla="*/ 775815 w 1055237"/>
                <a:gd name="connsiteY31" fmla="*/ 0 h 315374"/>
                <a:gd name="connsiteX32" fmla="*/ 775815 w 1055237"/>
                <a:gd name="connsiteY32" fmla="*/ 315299 h 315374"/>
                <a:gd name="connsiteX33" fmla="*/ 726448 w 1055237"/>
                <a:gd name="connsiteY33" fmla="*/ 315299 h 315374"/>
                <a:gd name="connsiteX34" fmla="*/ 726448 w 1055237"/>
                <a:gd name="connsiteY34" fmla="*/ 293095 h 315374"/>
                <a:gd name="connsiteX35" fmla="*/ 657333 w 1055237"/>
                <a:gd name="connsiteY35" fmla="*/ 315299 h 315374"/>
                <a:gd name="connsiteX36" fmla="*/ 538850 w 1055237"/>
                <a:gd name="connsiteY36" fmla="*/ 197123 h 315374"/>
                <a:gd name="connsiteX37" fmla="*/ 657333 w 1055237"/>
                <a:gd name="connsiteY37" fmla="*/ 78948 h 315374"/>
                <a:gd name="connsiteX38" fmla="*/ 726448 w 1055237"/>
                <a:gd name="connsiteY38" fmla="*/ 101152 h 315374"/>
                <a:gd name="connsiteX39" fmla="*/ 726448 w 1055237"/>
                <a:gd name="connsiteY39" fmla="*/ 247 h 315374"/>
                <a:gd name="connsiteX40" fmla="*/ 476153 w 1055237"/>
                <a:gd name="connsiteY40" fmla="*/ 0 h 315374"/>
                <a:gd name="connsiteX41" fmla="*/ 505773 w 1055237"/>
                <a:gd name="connsiteY41" fmla="*/ 29606 h 315374"/>
                <a:gd name="connsiteX42" fmla="*/ 476153 w 1055237"/>
                <a:gd name="connsiteY42" fmla="*/ 59211 h 315374"/>
                <a:gd name="connsiteX43" fmla="*/ 446532 w 1055237"/>
                <a:gd name="connsiteY43" fmla="*/ 29606 h 315374"/>
                <a:gd name="connsiteX44" fmla="*/ 476153 w 1055237"/>
                <a:gd name="connsiteY44" fmla="*/ 0 h 315374"/>
                <a:gd name="connsiteX45" fmla="*/ 352733 w 1055237"/>
                <a:gd name="connsiteY45" fmla="*/ 0 h 315374"/>
                <a:gd name="connsiteX46" fmla="*/ 402101 w 1055237"/>
                <a:gd name="connsiteY46" fmla="*/ 0 h 315374"/>
                <a:gd name="connsiteX47" fmla="*/ 402101 w 1055237"/>
                <a:gd name="connsiteY47" fmla="*/ 315299 h 315374"/>
                <a:gd name="connsiteX48" fmla="*/ 352733 w 1055237"/>
                <a:gd name="connsiteY48" fmla="*/ 315299 h 315374"/>
                <a:gd name="connsiteX49" fmla="*/ 205370 w 1055237"/>
                <a:gd name="connsiteY49" fmla="*/ 0 h 315374"/>
                <a:gd name="connsiteX50" fmla="*/ 297194 w 1055237"/>
                <a:gd name="connsiteY50" fmla="*/ 29112 h 315374"/>
                <a:gd name="connsiteX51" fmla="*/ 300897 w 1055237"/>
                <a:gd name="connsiteY51" fmla="*/ 32319 h 315374"/>
                <a:gd name="connsiteX52" fmla="*/ 271523 w 1055237"/>
                <a:gd name="connsiteY52" fmla="*/ 67599 h 315374"/>
                <a:gd name="connsiteX53" fmla="*/ 268808 w 1055237"/>
                <a:gd name="connsiteY53" fmla="*/ 65132 h 315374"/>
                <a:gd name="connsiteX54" fmla="*/ 267573 w 1055237"/>
                <a:gd name="connsiteY54" fmla="*/ 63899 h 315374"/>
                <a:gd name="connsiteX55" fmla="*/ 203149 w 1055237"/>
                <a:gd name="connsiteY55" fmla="*/ 44408 h 315374"/>
                <a:gd name="connsiteX56" fmla="*/ 148844 w 1055237"/>
                <a:gd name="connsiteY56" fmla="*/ 90050 h 315374"/>
                <a:gd name="connsiteX57" fmla="*/ 159952 w 1055237"/>
                <a:gd name="connsiteY57" fmla="*/ 116942 h 315374"/>
                <a:gd name="connsiteX58" fmla="*/ 192288 w 1055237"/>
                <a:gd name="connsiteY58" fmla="*/ 130758 h 315374"/>
                <a:gd name="connsiteX59" fmla="*/ 230054 w 1055237"/>
                <a:gd name="connsiteY59" fmla="*/ 136185 h 315374"/>
                <a:gd name="connsiteX60" fmla="*/ 288308 w 1055237"/>
                <a:gd name="connsiteY60" fmla="*/ 159376 h 315374"/>
                <a:gd name="connsiteX61" fmla="*/ 311511 w 1055237"/>
                <a:gd name="connsiteY61" fmla="*/ 223275 h 315374"/>
                <a:gd name="connsiteX62" fmla="*/ 279422 w 1055237"/>
                <a:gd name="connsiteY62" fmla="*/ 291121 h 315374"/>
                <a:gd name="connsiteX63" fmla="*/ 198459 w 1055237"/>
                <a:gd name="connsiteY63" fmla="*/ 315299 h 315374"/>
                <a:gd name="connsiteX64" fmla="*/ 92071 w 1055237"/>
                <a:gd name="connsiteY64" fmla="*/ 280512 h 315374"/>
                <a:gd name="connsiteX65" fmla="*/ 122432 w 1055237"/>
                <a:gd name="connsiteY65" fmla="*/ 244739 h 315374"/>
                <a:gd name="connsiteX66" fmla="*/ 199199 w 1055237"/>
                <a:gd name="connsiteY66" fmla="*/ 269657 h 315374"/>
                <a:gd name="connsiteX67" fmla="*/ 260909 w 1055237"/>
                <a:gd name="connsiteY67" fmla="*/ 225002 h 315374"/>
                <a:gd name="connsiteX68" fmla="*/ 249307 w 1055237"/>
                <a:gd name="connsiteY68" fmla="*/ 194410 h 315374"/>
                <a:gd name="connsiteX69" fmla="*/ 218206 w 1055237"/>
                <a:gd name="connsiteY69" fmla="*/ 181827 h 315374"/>
                <a:gd name="connsiteX70" fmla="*/ 179699 w 1055237"/>
                <a:gd name="connsiteY70" fmla="*/ 176399 h 315374"/>
                <a:gd name="connsiteX71" fmla="*/ 120704 w 1055237"/>
                <a:gd name="connsiteY71" fmla="*/ 151235 h 315374"/>
                <a:gd name="connsiteX72" fmla="*/ 99229 w 1055237"/>
                <a:gd name="connsiteY72" fmla="*/ 91777 h 315374"/>
                <a:gd name="connsiteX73" fmla="*/ 205370 w 1055237"/>
                <a:gd name="connsiteY73" fmla="*/ 0 h 315374"/>
                <a:gd name="connsiteX74" fmla="*/ 29621 w 1055237"/>
                <a:gd name="connsiteY74" fmla="*/ 0 h 315374"/>
                <a:gd name="connsiteX75" fmla="*/ 59241 w 1055237"/>
                <a:gd name="connsiteY75" fmla="*/ 29606 h 315374"/>
                <a:gd name="connsiteX76" fmla="*/ 29621 w 1055237"/>
                <a:gd name="connsiteY76" fmla="*/ 59211 h 315374"/>
                <a:gd name="connsiteX77" fmla="*/ 0 w 1055237"/>
                <a:gd name="connsiteY77" fmla="*/ 29606 h 315374"/>
                <a:gd name="connsiteX78" fmla="*/ 29621 w 1055237"/>
                <a:gd name="connsiteY78" fmla="*/ 0 h 3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55237" h="315374">
                  <a:moveTo>
                    <a:pt x="952120" y="133688"/>
                  </a:moveTo>
                  <a:cubicBezTo>
                    <a:pt x="940642" y="131252"/>
                    <a:pt x="928362" y="131869"/>
                    <a:pt x="916514" y="136186"/>
                  </a:cubicBezTo>
                  <a:cubicBezTo>
                    <a:pt x="892817" y="144821"/>
                    <a:pt x="877266" y="165791"/>
                    <a:pt x="874304" y="188982"/>
                  </a:cubicBezTo>
                  <a:lnTo>
                    <a:pt x="982913" y="149508"/>
                  </a:lnTo>
                  <a:cubicBezTo>
                    <a:pt x="974274" y="141614"/>
                    <a:pt x="963598" y="136124"/>
                    <a:pt x="952120" y="133688"/>
                  </a:cubicBezTo>
                  <a:close/>
                  <a:moveTo>
                    <a:pt x="657333" y="128044"/>
                  </a:moveTo>
                  <a:cubicBezTo>
                    <a:pt x="619073" y="128044"/>
                    <a:pt x="588218" y="158883"/>
                    <a:pt x="588218" y="197123"/>
                  </a:cubicBezTo>
                  <a:cubicBezTo>
                    <a:pt x="588218" y="235364"/>
                    <a:pt x="619319" y="266203"/>
                    <a:pt x="657333" y="266203"/>
                  </a:cubicBezTo>
                  <a:cubicBezTo>
                    <a:pt x="694359" y="266203"/>
                    <a:pt x="724473" y="237338"/>
                    <a:pt x="726448" y="201071"/>
                  </a:cubicBezTo>
                  <a:lnTo>
                    <a:pt x="726448" y="193423"/>
                  </a:lnTo>
                  <a:cubicBezTo>
                    <a:pt x="724473" y="156909"/>
                    <a:pt x="694359" y="128044"/>
                    <a:pt x="657333" y="128044"/>
                  </a:cubicBezTo>
                  <a:close/>
                  <a:moveTo>
                    <a:pt x="944739" y="79018"/>
                  </a:moveTo>
                  <a:cubicBezTo>
                    <a:pt x="990813" y="81308"/>
                    <a:pt x="1033207" y="110590"/>
                    <a:pt x="1050054" y="156663"/>
                  </a:cubicBezTo>
                  <a:cubicBezTo>
                    <a:pt x="1052275" y="162831"/>
                    <a:pt x="1054003" y="169245"/>
                    <a:pt x="1055237" y="175660"/>
                  </a:cubicBezTo>
                  <a:lnTo>
                    <a:pt x="1004142" y="194163"/>
                  </a:lnTo>
                  <a:lnTo>
                    <a:pt x="887387" y="236598"/>
                  </a:lnTo>
                  <a:cubicBezTo>
                    <a:pt x="904172" y="258309"/>
                    <a:pt x="933792" y="267684"/>
                    <a:pt x="960945" y="257815"/>
                  </a:cubicBezTo>
                  <a:cubicBezTo>
                    <a:pt x="980198" y="250907"/>
                    <a:pt x="995009" y="235118"/>
                    <a:pt x="1000933" y="215381"/>
                  </a:cubicBezTo>
                  <a:lnTo>
                    <a:pt x="1052275" y="230677"/>
                  </a:lnTo>
                  <a:cubicBezTo>
                    <a:pt x="1041661" y="266697"/>
                    <a:pt x="1014509" y="295315"/>
                    <a:pt x="979211" y="308145"/>
                  </a:cubicBezTo>
                  <a:cubicBezTo>
                    <a:pt x="917748" y="330595"/>
                    <a:pt x="849867" y="299016"/>
                    <a:pt x="827405" y="237585"/>
                  </a:cubicBezTo>
                  <a:cubicBezTo>
                    <a:pt x="804942" y="176400"/>
                    <a:pt x="836785" y="108307"/>
                    <a:pt x="898248" y="86103"/>
                  </a:cubicBezTo>
                  <a:cubicBezTo>
                    <a:pt x="913614" y="80490"/>
                    <a:pt x="929381" y="78255"/>
                    <a:pt x="944739" y="79018"/>
                  </a:cubicBezTo>
                  <a:close/>
                  <a:moveTo>
                    <a:pt x="451469" y="78948"/>
                  </a:moveTo>
                  <a:lnTo>
                    <a:pt x="500837" y="78948"/>
                  </a:lnTo>
                  <a:lnTo>
                    <a:pt x="500837" y="315299"/>
                  </a:lnTo>
                  <a:lnTo>
                    <a:pt x="451469" y="315299"/>
                  </a:lnTo>
                  <a:close/>
                  <a:moveTo>
                    <a:pt x="4937" y="78948"/>
                  </a:moveTo>
                  <a:lnTo>
                    <a:pt x="54305" y="78948"/>
                  </a:lnTo>
                  <a:lnTo>
                    <a:pt x="54305" y="315299"/>
                  </a:lnTo>
                  <a:lnTo>
                    <a:pt x="4937" y="315299"/>
                  </a:lnTo>
                  <a:close/>
                  <a:moveTo>
                    <a:pt x="775815" y="0"/>
                  </a:moveTo>
                  <a:lnTo>
                    <a:pt x="775815" y="315299"/>
                  </a:lnTo>
                  <a:lnTo>
                    <a:pt x="726448" y="315299"/>
                  </a:lnTo>
                  <a:lnTo>
                    <a:pt x="726448" y="293095"/>
                  </a:lnTo>
                  <a:cubicBezTo>
                    <a:pt x="706947" y="307157"/>
                    <a:pt x="683004" y="315299"/>
                    <a:pt x="657333" y="315299"/>
                  </a:cubicBezTo>
                  <a:cubicBezTo>
                    <a:pt x="591920" y="315299"/>
                    <a:pt x="538850" y="262255"/>
                    <a:pt x="538850" y="197123"/>
                  </a:cubicBezTo>
                  <a:cubicBezTo>
                    <a:pt x="538850" y="131991"/>
                    <a:pt x="591920" y="78948"/>
                    <a:pt x="657333" y="78948"/>
                  </a:cubicBezTo>
                  <a:cubicBezTo>
                    <a:pt x="683004" y="78948"/>
                    <a:pt x="706947" y="87090"/>
                    <a:pt x="726448" y="101152"/>
                  </a:cubicBezTo>
                  <a:lnTo>
                    <a:pt x="726448" y="247"/>
                  </a:lnTo>
                  <a:close/>
                  <a:moveTo>
                    <a:pt x="476153" y="0"/>
                  </a:moveTo>
                  <a:cubicBezTo>
                    <a:pt x="492444" y="0"/>
                    <a:pt x="505773" y="13322"/>
                    <a:pt x="505773" y="29606"/>
                  </a:cubicBezTo>
                  <a:cubicBezTo>
                    <a:pt x="505773" y="45889"/>
                    <a:pt x="492444" y="59211"/>
                    <a:pt x="476153" y="59211"/>
                  </a:cubicBezTo>
                  <a:cubicBezTo>
                    <a:pt x="459861" y="59211"/>
                    <a:pt x="446532" y="45889"/>
                    <a:pt x="446532" y="29606"/>
                  </a:cubicBezTo>
                  <a:cubicBezTo>
                    <a:pt x="446532" y="13322"/>
                    <a:pt x="459861" y="0"/>
                    <a:pt x="476153" y="0"/>
                  </a:cubicBezTo>
                  <a:close/>
                  <a:moveTo>
                    <a:pt x="352733" y="0"/>
                  </a:moveTo>
                  <a:lnTo>
                    <a:pt x="402101" y="0"/>
                  </a:lnTo>
                  <a:lnTo>
                    <a:pt x="402101" y="315299"/>
                  </a:lnTo>
                  <a:lnTo>
                    <a:pt x="352733" y="315299"/>
                  </a:lnTo>
                  <a:close/>
                  <a:moveTo>
                    <a:pt x="205370" y="0"/>
                  </a:moveTo>
                  <a:cubicBezTo>
                    <a:pt x="245111" y="0"/>
                    <a:pt x="273004" y="8882"/>
                    <a:pt x="297194" y="29112"/>
                  </a:cubicBezTo>
                  <a:lnTo>
                    <a:pt x="300897" y="32319"/>
                  </a:lnTo>
                  <a:lnTo>
                    <a:pt x="271523" y="67599"/>
                  </a:lnTo>
                  <a:cubicBezTo>
                    <a:pt x="271523" y="67599"/>
                    <a:pt x="269795" y="66119"/>
                    <a:pt x="268808" y="65132"/>
                  </a:cubicBezTo>
                  <a:cubicBezTo>
                    <a:pt x="268314" y="64639"/>
                    <a:pt x="267820" y="63899"/>
                    <a:pt x="267573" y="63899"/>
                  </a:cubicBezTo>
                  <a:cubicBezTo>
                    <a:pt x="246839" y="46875"/>
                    <a:pt x="222402" y="44408"/>
                    <a:pt x="203149" y="44408"/>
                  </a:cubicBezTo>
                  <a:cubicBezTo>
                    <a:pt x="163161" y="44408"/>
                    <a:pt x="148844" y="69080"/>
                    <a:pt x="148844" y="90050"/>
                  </a:cubicBezTo>
                  <a:cubicBezTo>
                    <a:pt x="148844" y="100412"/>
                    <a:pt x="152793" y="110034"/>
                    <a:pt x="159952" y="116942"/>
                  </a:cubicBezTo>
                  <a:cubicBezTo>
                    <a:pt x="167604" y="124096"/>
                    <a:pt x="179205" y="129031"/>
                    <a:pt x="192288" y="130758"/>
                  </a:cubicBezTo>
                  <a:lnTo>
                    <a:pt x="230054" y="136185"/>
                  </a:lnTo>
                  <a:cubicBezTo>
                    <a:pt x="256466" y="139886"/>
                    <a:pt x="274485" y="147041"/>
                    <a:pt x="288308" y="159376"/>
                  </a:cubicBezTo>
                  <a:cubicBezTo>
                    <a:pt x="303612" y="173932"/>
                    <a:pt x="311264" y="195396"/>
                    <a:pt x="311511" y="223275"/>
                  </a:cubicBezTo>
                  <a:cubicBezTo>
                    <a:pt x="311511" y="251153"/>
                    <a:pt x="300403" y="274591"/>
                    <a:pt x="279422" y="291121"/>
                  </a:cubicBezTo>
                  <a:cubicBezTo>
                    <a:pt x="259428" y="306664"/>
                    <a:pt x="230548" y="315299"/>
                    <a:pt x="198459" y="315299"/>
                  </a:cubicBezTo>
                  <a:cubicBezTo>
                    <a:pt x="151066" y="315299"/>
                    <a:pt x="118730" y="304690"/>
                    <a:pt x="92071" y="280512"/>
                  </a:cubicBezTo>
                  <a:lnTo>
                    <a:pt x="122432" y="244739"/>
                  </a:lnTo>
                  <a:cubicBezTo>
                    <a:pt x="141192" y="261515"/>
                    <a:pt x="166369" y="269657"/>
                    <a:pt x="199199" y="269657"/>
                  </a:cubicBezTo>
                  <a:cubicBezTo>
                    <a:pt x="252763" y="269657"/>
                    <a:pt x="260909" y="241778"/>
                    <a:pt x="260909" y="225002"/>
                  </a:cubicBezTo>
                  <a:cubicBezTo>
                    <a:pt x="260909" y="212173"/>
                    <a:pt x="256959" y="201811"/>
                    <a:pt x="249307" y="194410"/>
                  </a:cubicBezTo>
                  <a:cubicBezTo>
                    <a:pt x="241902" y="187502"/>
                    <a:pt x="233757" y="184294"/>
                    <a:pt x="218206" y="181827"/>
                  </a:cubicBezTo>
                  <a:lnTo>
                    <a:pt x="179699" y="176399"/>
                  </a:lnTo>
                  <a:cubicBezTo>
                    <a:pt x="153534" y="172452"/>
                    <a:pt x="134034" y="164311"/>
                    <a:pt x="120704" y="151235"/>
                  </a:cubicBezTo>
                  <a:cubicBezTo>
                    <a:pt x="106388" y="136679"/>
                    <a:pt x="99229" y="117188"/>
                    <a:pt x="99229" y="91777"/>
                  </a:cubicBezTo>
                  <a:cubicBezTo>
                    <a:pt x="99476" y="36020"/>
                    <a:pt x="140945" y="0"/>
                    <a:pt x="205370" y="0"/>
                  </a:cubicBezTo>
                  <a:close/>
                  <a:moveTo>
                    <a:pt x="29621" y="0"/>
                  </a:moveTo>
                  <a:cubicBezTo>
                    <a:pt x="45980" y="0"/>
                    <a:pt x="59241" y="13255"/>
                    <a:pt x="59241" y="29606"/>
                  </a:cubicBezTo>
                  <a:cubicBezTo>
                    <a:pt x="59241" y="45956"/>
                    <a:pt x="45980" y="59211"/>
                    <a:pt x="29621" y="59211"/>
                  </a:cubicBezTo>
                  <a:cubicBezTo>
                    <a:pt x="13262" y="59211"/>
                    <a:pt x="0" y="45956"/>
                    <a:pt x="0" y="29606"/>
                  </a:cubicBezTo>
                  <a:cubicBezTo>
                    <a:pt x="0" y="13255"/>
                    <a:pt x="13262" y="0"/>
                    <a:pt x="29621" y="0"/>
                  </a:cubicBezTo>
                  <a:close/>
                </a:path>
              </a:pathLst>
            </a:custGeom>
            <a:solidFill>
              <a:srgbClr val="2F2F2F"/>
            </a:solidFill>
            <a:ln w="2462" cap="flat">
              <a:noFill/>
              <a:prstDash val="solid"/>
              <a:miter/>
            </a:ln>
          </p:spPr>
          <p:txBody>
            <a:bodyPr rtlCol="0" anchor="ctr"/>
            <a:lstStyle/>
            <a:p>
              <a:endParaRPr lang="zh-CN" altLang="en-US"/>
            </a:p>
          </p:txBody>
        </p:sp>
      </p:grpSp>
    </p:spTree>
    <p:custDataLst>
      <p:tags r:id="rId1"/>
    </p:custDataLst>
    <p:extLst>
      <p:ext uri="{BB962C8B-B14F-4D97-AF65-F5344CB8AC3E}">
        <p14:creationId xmlns:p14="http://schemas.microsoft.com/office/powerpoint/2010/main" val="12371926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106687" y="3203039"/>
            <a:ext cx="3546362" cy="895350"/>
          </a:xfrm>
        </p:spPr>
        <p:txBody>
          <a:bodyPr>
            <a:normAutofit/>
          </a:bodyPr>
          <a:lstStyle/>
          <a:p>
            <a:r>
              <a:rPr lang="en-US" altLang="zh-CN" sz="3600" dirty="0"/>
              <a:t>lambda</a:t>
            </a:r>
            <a:r>
              <a:rPr lang="zh-CN" altLang="en-US" sz="3600" dirty="0"/>
              <a:t>表达式</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639609" y="320928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959357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6311BD63-527E-4AFF-A6A2-D41513998706}"/>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4" name="灯片编号占位符 3">
            <a:extLst>
              <a:ext uri="{FF2B5EF4-FFF2-40B4-BE49-F238E27FC236}">
                <a16:creationId xmlns:a16="http://schemas.microsoft.com/office/drawing/2014/main" id="{471D17DA-AB79-45E8-9FF6-A834668BB173}"/>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grpSp>
        <p:nvGrpSpPr>
          <p:cNvPr id="5" name="#239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07B39C0-43FA-45CD-9D16-C6F35E955AB8}"/>
              </a:ext>
            </a:extLst>
          </p:cNvPr>
          <p:cNvGrpSpPr>
            <a:grpSpLocks noChangeAspect="1"/>
          </p:cNvGrpSpPr>
          <p:nvPr>
            <p:custDataLst>
              <p:tags r:id="rId2"/>
            </p:custDataLst>
          </p:nvPr>
        </p:nvGrpSpPr>
        <p:grpSpPr>
          <a:xfrm>
            <a:off x="1161467" y="1770954"/>
            <a:ext cx="6979670" cy="3809766"/>
            <a:chOff x="1161467" y="1770954"/>
            <a:chExt cx="6979670" cy="3809766"/>
          </a:xfrm>
        </p:grpSpPr>
        <p:grpSp>
          <p:nvGrpSpPr>
            <p:cNvPr id="6" name="îṡlidê">
              <a:extLst>
                <a:ext uri="{FF2B5EF4-FFF2-40B4-BE49-F238E27FC236}">
                  <a16:creationId xmlns:a16="http://schemas.microsoft.com/office/drawing/2014/main" id="{8B9FD305-B7C3-4274-8EC3-B4A48D0EA73E}"/>
                </a:ext>
              </a:extLst>
            </p:cNvPr>
            <p:cNvGrpSpPr/>
            <p:nvPr/>
          </p:nvGrpSpPr>
          <p:grpSpPr>
            <a:xfrm>
              <a:off x="4707573" y="2091989"/>
              <a:ext cx="3179769" cy="3488731"/>
              <a:chOff x="4474765" y="2107318"/>
              <a:chExt cx="3462362" cy="3798783"/>
            </a:xfrm>
            <a:effectLst>
              <a:outerShdw blurRad="152400" dist="76200" dir="5400000" sx="90000" sy="-19000" rotWithShape="0">
                <a:prstClr val="black">
                  <a:alpha val="5000"/>
                </a:prstClr>
              </a:outerShdw>
            </a:effectLst>
          </p:grpSpPr>
          <p:sp>
            <p:nvSpPr>
              <p:cNvPr id="35" name="îsḷiḍê">
                <a:extLst>
                  <a:ext uri="{FF2B5EF4-FFF2-40B4-BE49-F238E27FC236}">
                    <a16:creationId xmlns:a16="http://schemas.microsoft.com/office/drawing/2014/main" id="{E0E58285-7E59-456A-92A5-C230F7EBAFC0}"/>
                  </a:ext>
                </a:extLst>
              </p:cNvPr>
              <p:cNvSpPr/>
              <p:nvPr/>
            </p:nvSpPr>
            <p:spPr bwMode="auto">
              <a:xfrm rot="19890794">
                <a:off x="5447058" y="2122743"/>
                <a:ext cx="1233488" cy="3379788"/>
              </a:xfrm>
              <a:prstGeom prst="ellipse">
                <a:avLst/>
              </a:prstGeom>
              <a:gradFill>
                <a:gsLst>
                  <a:gs pos="0">
                    <a:schemeClr val="accent1">
                      <a:lumMod val="50000"/>
                    </a:schemeClr>
                  </a:gs>
                  <a:gs pos="100000">
                    <a:schemeClr val="accent1">
                      <a:lumMod val="75000"/>
                    </a:schemeClr>
                  </a:gs>
                </a:gsLst>
                <a:lin ang="5400000" scaled="1"/>
              </a:gradFill>
              <a:ln>
                <a:noFill/>
              </a:ln>
            </p:spPr>
            <p:txBody>
              <a:bodyPr wrap="square" lIns="91440" tIns="45720" rIns="91440" bIns="45720" anchor="ctr">
                <a:normAutofit/>
              </a:bodyPr>
              <a:lstStyle/>
              <a:p>
                <a:pPr algn="ctr"/>
                <a:endParaRPr/>
              </a:p>
            </p:txBody>
          </p:sp>
          <p:sp>
            <p:nvSpPr>
              <p:cNvPr id="36" name="ïšḷíḍè">
                <a:extLst>
                  <a:ext uri="{FF2B5EF4-FFF2-40B4-BE49-F238E27FC236}">
                    <a16:creationId xmlns:a16="http://schemas.microsoft.com/office/drawing/2014/main" id="{36851ADD-5377-46F4-910B-F1E94458A543}"/>
                  </a:ext>
                </a:extLst>
              </p:cNvPr>
              <p:cNvSpPr/>
              <p:nvPr/>
            </p:nvSpPr>
            <p:spPr bwMode="auto">
              <a:xfrm rot="19890794">
                <a:off x="5534347" y="3081979"/>
                <a:ext cx="2035175" cy="960438"/>
              </a:xfrm>
              <a:custGeom>
                <a:avLst/>
                <a:gdLst>
                  <a:gd name="T0" fmla="*/ 1043 w 1309"/>
                  <a:gd name="T1" fmla="*/ 95 h 618"/>
                  <a:gd name="T2" fmla="*/ 602 w 1309"/>
                  <a:gd name="T3" fmla="*/ 0 h 618"/>
                  <a:gd name="T4" fmla="*/ 0 w 1309"/>
                  <a:gd name="T5" fmla="*/ 602 h 618"/>
                  <a:gd name="T6" fmla="*/ 301 w 1309"/>
                  <a:gd name="T7" fmla="*/ 618 h 618"/>
                  <a:gd name="T8" fmla="*/ 1043 w 1309"/>
                  <a:gd name="T9" fmla="*/ 506 h 618"/>
                  <a:gd name="T10" fmla="*/ 1309 w 1309"/>
                  <a:gd name="T11" fmla="*/ 301 h 618"/>
                  <a:gd name="T12" fmla="*/ 1043 w 1309"/>
                  <a:gd name="T13" fmla="*/ 95 h 618"/>
                </a:gdLst>
                <a:ahLst/>
                <a:cxnLst>
                  <a:cxn ang="0">
                    <a:pos x="T0" y="T1"/>
                  </a:cxn>
                  <a:cxn ang="0">
                    <a:pos x="T2" y="T3"/>
                  </a:cxn>
                  <a:cxn ang="0">
                    <a:pos x="T4" y="T5"/>
                  </a:cxn>
                  <a:cxn ang="0">
                    <a:pos x="T6" y="T7"/>
                  </a:cxn>
                  <a:cxn ang="0">
                    <a:pos x="T8" y="T9"/>
                  </a:cxn>
                  <a:cxn ang="0">
                    <a:pos x="T10" y="T11"/>
                  </a:cxn>
                  <a:cxn ang="0">
                    <a:pos x="T12" y="T13"/>
                  </a:cxn>
                </a:cxnLst>
                <a:rect l="0" t="0" r="r" b="b"/>
                <a:pathLst>
                  <a:path w="1309" h="618">
                    <a:moveTo>
                      <a:pt x="1043" y="95"/>
                    </a:moveTo>
                    <a:cubicBezTo>
                      <a:pt x="918" y="50"/>
                      <a:pt x="767" y="18"/>
                      <a:pt x="602" y="0"/>
                    </a:cubicBezTo>
                    <a:cubicBezTo>
                      <a:pt x="0" y="602"/>
                      <a:pt x="0" y="602"/>
                      <a:pt x="0" y="602"/>
                    </a:cubicBezTo>
                    <a:cubicBezTo>
                      <a:pt x="97" y="612"/>
                      <a:pt x="198" y="618"/>
                      <a:pt x="301" y="618"/>
                    </a:cubicBezTo>
                    <a:cubicBezTo>
                      <a:pt x="583" y="618"/>
                      <a:pt x="846" y="578"/>
                      <a:pt x="1043" y="506"/>
                    </a:cubicBezTo>
                    <a:cubicBezTo>
                      <a:pt x="1239" y="435"/>
                      <a:pt x="1309" y="353"/>
                      <a:pt x="1309" y="301"/>
                    </a:cubicBezTo>
                    <a:cubicBezTo>
                      <a:pt x="1309" y="248"/>
                      <a:pt x="1239" y="167"/>
                      <a:pt x="1043" y="95"/>
                    </a:cubicBezTo>
                    <a:close/>
                  </a:path>
                </a:pathLst>
              </a:custGeom>
              <a:gradFill>
                <a:gsLst>
                  <a:gs pos="38000">
                    <a:schemeClr val="accent4"/>
                  </a:gs>
                  <a:gs pos="100000">
                    <a:schemeClr val="accent4">
                      <a:lumMod val="75000"/>
                    </a:schemeClr>
                  </a:gs>
                </a:gsLst>
                <a:lin ang="13500000" scaled="1"/>
              </a:gradFill>
              <a:ln>
                <a:noFill/>
              </a:ln>
            </p:spPr>
            <p:txBody>
              <a:bodyPr wrap="square" lIns="91440" tIns="45720" rIns="91440" bIns="45720" anchor="ctr">
                <a:normAutofit/>
              </a:bodyPr>
              <a:lstStyle/>
              <a:p>
                <a:pPr algn="ctr"/>
                <a:endParaRPr/>
              </a:p>
            </p:txBody>
          </p:sp>
          <p:sp>
            <p:nvSpPr>
              <p:cNvPr id="37" name="íšḻïďe">
                <a:extLst>
                  <a:ext uri="{FF2B5EF4-FFF2-40B4-BE49-F238E27FC236}">
                    <a16:creationId xmlns:a16="http://schemas.microsoft.com/office/drawing/2014/main" id="{EDC05982-DC8A-45E0-8412-8425923A7F91}"/>
                  </a:ext>
                </a:extLst>
              </p:cNvPr>
              <p:cNvSpPr/>
              <p:nvPr/>
            </p:nvSpPr>
            <p:spPr bwMode="auto">
              <a:xfrm rot="19890794">
                <a:off x="5664173" y="2107318"/>
                <a:ext cx="1443038" cy="1574800"/>
              </a:xfrm>
              <a:custGeom>
                <a:avLst/>
                <a:gdLst>
                  <a:gd name="T0" fmla="*/ 552 w 928"/>
                  <a:gd name="T1" fmla="*/ 303 h 1013"/>
                  <a:gd name="T2" fmla="*/ 816 w 928"/>
                  <a:gd name="T3" fmla="*/ 1013 h 1013"/>
                  <a:gd name="T4" fmla="*/ 927 w 928"/>
                  <a:gd name="T5" fmla="*/ 927 h 1013"/>
                  <a:gd name="T6" fmla="*/ 928 w 928"/>
                  <a:gd name="T7" fmla="*/ 927 h 1013"/>
                  <a:gd name="T8" fmla="*/ 656 w 928"/>
                  <a:gd name="T9" fmla="*/ 271 h 1013"/>
                  <a:gd name="T10" fmla="*/ 0 w 928"/>
                  <a:gd name="T11" fmla="*/ 0 h 1013"/>
                  <a:gd name="T12" fmla="*/ 552 w 928"/>
                  <a:gd name="T13" fmla="*/ 303 h 1013"/>
                </a:gdLst>
                <a:ahLst/>
                <a:cxnLst>
                  <a:cxn ang="0">
                    <a:pos x="T0" y="T1"/>
                  </a:cxn>
                  <a:cxn ang="0">
                    <a:pos x="T2" y="T3"/>
                  </a:cxn>
                  <a:cxn ang="0">
                    <a:pos x="T4" y="T5"/>
                  </a:cxn>
                  <a:cxn ang="0">
                    <a:pos x="T6" y="T7"/>
                  </a:cxn>
                  <a:cxn ang="0">
                    <a:pos x="T8" y="T9"/>
                  </a:cxn>
                  <a:cxn ang="0">
                    <a:pos x="T10" y="T11"/>
                  </a:cxn>
                  <a:cxn ang="0">
                    <a:pos x="T12" y="T13"/>
                  </a:cxn>
                </a:cxnLst>
                <a:rect l="0" t="0" r="r" b="b"/>
                <a:pathLst>
                  <a:path w="928" h="1013">
                    <a:moveTo>
                      <a:pt x="552" y="303"/>
                    </a:moveTo>
                    <a:cubicBezTo>
                      <a:pt x="703" y="499"/>
                      <a:pt x="816" y="766"/>
                      <a:pt x="816" y="1013"/>
                    </a:cubicBezTo>
                    <a:cubicBezTo>
                      <a:pt x="891" y="974"/>
                      <a:pt x="920" y="941"/>
                      <a:pt x="927" y="927"/>
                    </a:cubicBezTo>
                    <a:cubicBezTo>
                      <a:pt x="928" y="927"/>
                      <a:pt x="928" y="927"/>
                      <a:pt x="928" y="927"/>
                    </a:cubicBezTo>
                    <a:cubicBezTo>
                      <a:pt x="928" y="679"/>
                      <a:pt x="831" y="446"/>
                      <a:pt x="656" y="271"/>
                    </a:cubicBezTo>
                    <a:cubicBezTo>
                      <a:pt x="481" y="96"/>
                      <a:pt x="248" y="0"/>
                      <a:pt x="0" y="0"/>
                    </a:cubicBezTo>
                    <a:cubicBezTo>
                      <a:pt x="248" y="0"/>
                      <a:pt x="503" y="239"/>
                      <a:pt x="552" y="303"/>
                    </a:cubicBezTo>
                    <a:close/>
                  </a:path>
                </a:pathLst>
              </a:custGeom>
              <a:gradFill>
                <a:gsLst>
                  <a:gs pos="38000">
                    <a:schemeClr val="accent2"/>
                  </a:gs>
                  <a:gs pos="100000">
                    <a:schemeClr val="accent2">
                      <a:lumMod val="60000"/>
                      <a:lumOff val="40000"/>
                    </a:schemeClr>
                  </a:gs>
                </a:gsLst>
                <a:lin ang="18900000" scaled="1"/>
              </a:gradFill>
              <a:ln>
                <a:noFill/>
              </a:ln>
            </p:spPr>
            <p:txBody>
              <a:bodyPr wrap="square" lIns="91440" tIns="45720" rIns="91440" bIns="45720" anchor="ctr">
                <a:normAutofit/>
              </a:bodyPr>
              <a:lstStyle/>
              <a:p>
                <a:pPr algn="ctr"/>
                <a:endParaRPr/>
              </a:p>
            </p:txBody>
          </p:sp>
          <p:sp>
            <p:nvSpPr>
              <p:cNvPr id="38" name="iṧlíďê">
                <a:extLst>
                  <a:ext uri="{FF2B5EF4-FFF2-40B4-BE49-F238E27FC236}">
                    <a16:creationId xmlns:a16="http://schemas.microsoft.com/office/drawing/2014/main" id="{5CCF1DF6-CC46-493B-8E82-231EF9B144FF}"/>
                  </a:ext>
                </a:extLst>
              </p:cNvPr>
              <p:cNvSpPr/>
              <p:nvPr/>
            </p:nvSpPr>
            <p:spPr bwMode="auto">
              <a:xfrm rot="19890794">
                <a:off x="5674744" y="2148962"/>
                <a:ext cx="1268413" cy="1574800"/>
              </a:xfrm>
              <a:custGeom>
                <a:avLst/>
                <a:gdLst>
                  <a:gd name="T0" fmla="*/ 0 w 816"/>
                  <a:gd name="T1" fmla="*/ 0 h 1013"/>
                  <a:gd name="T2" fmla="*/ 0 w 816"/>
                  <a:gd name="T3" fmla="*/ 927 h 1013"/>
                  <a:gd name="T4" fmla="*/ 816 w 816"/>
                  <a:gd name="T5" fmla="*/ 1013 h 1013"/>
                  <a:gd name="T6" fmla="*/ 552 w 816"/>
                  <a:gd name="T7" fmla="*/ 285 h 1013"/>
                  <a:gd name="T8" fmla="*/ 0 w 816"/>
                  <a:gd name="T9" fmla="*/ 0 h 1013"/>
                </a:gdLst>
                <a:ahLst/>
                <a:cxnLst>
                  <a:cxn ang="0">
                    <a:pos x="T0" y="T1"/>
                  </a:cxn>
                  <a:cxn ang="0">
                    <a:pos x="T2" y="T3"/>
                  </a:cxn>
                  <a:cxn ang="0">
                    <a:pos x="T4" y="T5"/>
                  </a:cxn>
                  <a:cxn ang="0">
                    <a:pos x="T6" y="T7"/>
                  </a:cxn>
                  <a:cxn ang="0">
                    <a:pos x="T8" y="T9"/>
                  </a:cxn>
                </a:cxnLst>
                <a:rect l="0" t="0" r="r" b="b"/>
                <a:pathLst>
                  <a:path w="816" h="1013">
                    <a:moveTo>
                      <a:pt x="0" y="0"/>
                    </a:moveTo>
                    <a:cubicBezTo>
                      <a:pt x="0" y="927"/>
                      <a:pt x="0" y="927"/>
                      <a:pt x="0" y="927"/>
                    </a:cubicBezTo>
                    <a:cubicBezTo>
                      <a:pt x="816" y="1013"/>
                      <a:pt x="816" y="1013"/>
                      <a:pt x="816" y="1013"/>
                    </a:cubicBezTo>
                    <a:cubicBezTo>
                      <a:pt x="816" y="766"/>
                      <a:pt x="727" y="461"/>
                      <a:pt x="552" y="285"/>
                    </a:cubicBezTo>
                    <a:cubicBezTo>
                      <a:pt x="412" y="145"/>
                      <a:pt x="248" y="0"/>
                      <a:pt x="0" y="0"/>
                    </a:cubicBezTo>
                    <a:close/>
                  </a:path>
                </a:pathLst>
              </a:custGeom>
              <a:gradFill>
                <a:gsLst>
                  <a:gs pos="38000">
                    <a:schemeClr val="accent2">
                      <a:lumMod val="75000"/>
                    </a:schemeClr>
                  </a:gs>
                  <a:gs pos="100000">
                    <a:schemeClr val="accent2">
                      <a:lumMod val="50000"/>
                    </a:schemeClr>
                  </a:gs>
                </a:gsLst>
                <a:lin ang="18900000" scaled="1"/>
              </a:gradFill>
              <a:ln>
                <a:noFill/>
              </a:ln>
            </p:spPr>
            <p:txBody>
              <a:bodyPr wrap="square" lIns="91440" tIns="45720" rIns="91440" bIns="45720" anchor="ctr">
                <a:normAutofit/>
              </a:bodyPr>
              <a:lstStyle/>
              <a:p>
                <a:pPr algn="ctr"/>
                <a:endParaRPr/>
              </a:p>
            </p:txBody>
          </p:sp>
          <p:sp>
            <p:nvSpPr>
              <p:cNvPr id="39" name="îŝḷïďè">
                <a:extLst>
                  <a:ext uri="{FF2B5EF4-FFF2-40B4-BE49-F238E27FC236}">
                    <a16:creationId xmlns:a16="http://schemas.microsoft.com/office/drawing/2014/main" id="{2672A0A9-C685-4B71-B116-1AE23C671581}"/>
                  </a:ext>
                </a:extLst>
              </p:cNvPr>
              <p:cNvSpPr/>
              <p:nvPr/>
            </p:nvSpPr>
            <p:spPr bwMode="auto">
              <a:xfrm rot="19890794">
                <a:off x="5532930" y="2437593"/>
                <a:ext cx="1247775" cy="1498600"/>
              </a:xfrm>
              <a:custGeom>
                <a:avLst/>
                <a:gdLst>
                  <a:gd name="T0" fmla="*/ 803 w 803"/>
                  <a:gd name="T1" fmla="*/ 876 h 964"/>
                  <a:gd name="T2" fmla="*/ 589 w 803"/>
                  <a:gd name="T3" fmla="*/ 279 h 964"/>
                  <a:gd name="T4" fmla="*/ 156 w 803"/>
                  <a:gd name="T5" fmla="*/ 0 h 964"/>
                  <a:gd name="T6" fmla="*/ 101 w 803"/>
                  <a:gd name="T7" fmla="*/ 120 h 964"/>
                  <a:gd name="T8" fmla="*/ 4 w 803"/>
                  <a:gd name="T9" fmla="*/ 654 h 964"/>
                  <a:gd name="T10" fmla="*/ 0 w 803"/>
                  <a:gd name="T11" fmla="*/ 807 h 964"/>
                  <a:gd name="T12" fmla="*/ 4 w 803"/>
                  <a:gd name="T13" fmla="*/ 959 h 964"/>
                  <a:gd name="T14" fmla="*/ 156 w 803"/>
                  <a:gd name="T15" fmla="*/ 964 h 964"/>
                  <a:gd name="T16" fmla="*/ 309 w 803"/>
                  <a:gd name="T17" fmla="*/ 959 h 964"/>
                  <a:gd name="T18" fmla="*/ 803 w 803"/>
                  <a:gd name="T19" fmla="*/ 876 h 964"/>
                  <a:gd name="T20" fmla="*/ 803 w 803"/>
                  <a:gd name="T21" fmla="*/ 876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3" h="964">
                    <a:moveTo>
                      <a:pt x="803" y="876"/>
                    </a:moveTo>
                    <a:cubicBezTo>
                      <a:pt x="784" y="654"/>
                      <a:pt x="705" y="419"/>
                      <a:pt x="589" y="279"/>
                    </a:cubicBezTo>
                    <a:cubicBezTo>
                      <a:pt x="455" y="120"/>
                      <a:pt x="322" y="25"/>
                      <a:pt x="156" y="0"/>
                    </a:cubicBezTo>
                    <a:cubicBezTo>
                      <a:pt x="140" y="27"/>
                      <a:pt x="121" y="66"/>
                      <a:pt x="101" y="120"/>
                    </a:cubicBezTo>
                    <a:cubicBezTo>
                      <a:pt x="49" y="265"/>
                      <a:pt x="15" y="450"/>
                      <a:pt x="4" y="654"/>
                    </a:cubicBezTo>
                    <a:cubicBezTo>
                      <a:pt x="1" y="704"/>
                      <a:pt x="0" y="755"/>
                      <a:pt x="0" y="807"/>
                    </a:cubicBezTo>
                    <a:cubicBezTo>
                      <a:pt x="0" y="859"/>
                      <a:pt x="1" y="910"/>
                      <a:pt x="4" y="959"/>
                    </a:cubicBezTo>
                    <a:cubicBezTo>
                      <a:pt x="54" y="962"/>
                      <a:pt x="105" y="964"/>
                      <a:pt x="156" y="964"/>
                    </a:cubicBezTo>
                    <a:cubicBezTo>
                      <a:pt x="208" y="964"/>
                      <a:pt x="259" y="962"/>
                      <a:pt x="309" y="959"/>
                    </a:cubicBezTo>
                    <a:cubicBezTo>
                      <a:pt x="495" y="949"/>
                      <a:pt x="665" y="920"/>
                      <a:pt x="803" y="876"/>
                    </a:cubicBezTo>
                    <a:cubicBezTo>
                      <a:pt x="803" y="876"/>
                      <a:pt x="803" y="876"/>
                      <a:pt x="803" y="876"/>
                    </a:cubicBezTo>
                    <a:close/>
                  </a:path>
                </a:pathLst>
              </a:custGeom>
              <a:gradFill>
                <a:gsLst>
                  <a:gs pos="38000">
                    <a:schemeClr val="accent3"/>
                  </a:gs>
                  <a:gs pos="100000">
                    <a:schemeClr val="accent3">
                      <a:lumMod val="60000"/>
                      <a:lumOff val="40000"/>
                    </a:schemeClr>
                  </a:gs>
                </a:gsLst>
                <a:lin ang="18900000" scaled="1"/>
              </a:gradFill>
              <a:ln>
                <a:noFill/>
              </a:ln>
            </p:spPr>
            <p:txBody>
              <a:bodyPr wrap="square" lIns="91440" tIns="45720" rIns="91440" bIns="45720" anchor="ctr">
                <a:normAutofit/>
              </a:bodyPr>
              <a:lstStyle/>
              <a:p>
                <a:pPr algn="ctr"/>
                <a:endParaRPr/>
              </a:p>
            </p:txBody>
          </p:sp>
          <p:sp>
            <p:nvSpPr>
              <p:cNvPr id="40" name="î$1íḑê">
                <a:extLst>
                  <a:ext uri="{FF2B5EF4-FFF2-40B4-BE49-F238E27FC236}">
                    <a16:creationId xmlns:a16="http://schemas.microsoft.com/office/drawing/2014/main" id="{125F7C34-E778-4543-97E5-8955367BA0EC}"/>
                  </a:ext>
                </a:extLst>
              </p:cNvPr>
              <p:cNvSpPr/>
              <p:nvPr/>
            </p:nvSpPr>
            <p:spPr bwMode="auto">
              <a:xfrm rot="19890794">
                <a:off x="4474765" y="2526313"/>
                <a:ext cx="1690688" cy="3379788"/>
              </a:xfrm>
              <a:custGeom>
                <a:avLst/>
                <a:gdLst>
                  <a:gd name="T0" fmla="*/ 1087 w 1087"/>
                  <a:gd name="T1" fmla="*/ 0 h 2174"/>
                  <a:gd name="T2" fmla="*/ 0 w 1087"/>
                  <a:gd name="T3" fmla="*/ 1087 h 2174"/>
                  <a:gd name="T4" fmla="*/ 1087 w 1087"/>
                  <a:gd name="T5" fmla="*/ 2174 h 2174"/>
                  <a:gd name="T6" fmla="*/ 1087 w 1087"/>
                  <a:gd name="T7" fmla="*/ 2174 h 2174"/>
                  <a:gd name="T8" fmla="*/ 691 w 1087"/>
                  <a:gd name="T9" fmla="*/ 1087 h 2174"/>
                  <a:gd name="T10" fmla="*/ 1087 w 1087"/>
                  <a:gd name="T11" fmla="*/ 0 h 2174"/>
                </a:gdLst>
                <a:ahLst/>
                <a:cxnLst>
                  <a:cxn ang="0">
                    <a:pos x="T0" y="T1"/>
                  </a:cxn>
                  <a:cxn ang="0">
                    <a:pos x="T2" y="T3"/>
                  </a:cxn>
                  <a:cxn ang="0">
                    <a:pos x="T4" y="T5"/>
                  </a:cxn>
                  <a:cxn ang="0">
                    <a:pos x="T6" y="T7"/>
                  </a:cxn>
                  <a:cxn ang="0">
                    <a:pos x="T8" y="T9"/>
                  </a:cxn>
                  <a:cxn ang="0">
                    <a:pos x="T10" y="T11"/>
                  </a:cxn>
                </a:cxnLst>
                <a:rect l="0" t="0" r="r" b="b"/>
                <a:pathLst>
                  <a:path w="1087" h="2174">
                    <a:moveTo>
                      <a:pt x="1087" y="0"/>
                    </a:moveTo>
                    <a:cubicBezTo>
                      <a:pt x="487" y="0"/>
                      <a:pt x="0" y="486"/>
                      <a:pt x="0" y="1087"/>
                    </a:cubicBezTo>
                    <a:cubicBezTo>
                      <a:pt x="0" y="1687"/>
                      <a:pt x="487" y="2174"/>
                      <a:pt x="1087" y="2174"/>
                    </a:cubicBezTo>
                    <a:cubicBezTo>
                      <a:pt x="1087" y="2174"/>
                      <a:pt x="1087" y="2174"/>
                      <a:pt x="1087" y="2174"/>
                    </a:cubicBezTo>
                    <a:cubicBezTo>
                      <a:pt x="868" y="2174"/>
                      <a:pt x="691" y="1687"/>
                      <a:pt x="691" y="1087"/>
                    </a:cubicBezTo>
                    <a:cubicBezTo>
                      <a:pt x="691" y="486"/>
                      <a:pt x="868" y="0"/>
                      <a:pt x="1087" y="0"/>
                    </a:cubicBezTo>
                    <a:close/>
                  </a:path>
                </a:pathLst>
              </a:custGeom>
              <a:gradFill flip="none" rotWithShape="1">
                <a:gsLst>
                  <a:gs pos="38000">
                    <a:schemeClr val="accent1"/>
                  </a:gs>
                  <a:gs pos="100000">
                    <a:schemeClr val="accent1">
                      <a:lumMod val="60000"/>
                      <a:lumOff val="40000"/>
                    </a:schemeClr>
                  </a:gs>
                </a:gsLst>
                <a:lin ang="18900000" scaled="1"/>
                <a:tileRect/>
              </a:gradFill>
              <a:ln>
                <a:noFill/>
              </a:ln>
            </p:spPr>
            <p:txBody>
              <a:bodyPr wrap="square" lIns="91440" tIns="45720" rIns="91440" bIns="45720" anchor="ctr">
                <a:normAutofit/>
              </a:bodyPr>
              <a:lstStyle/>
              <a:p>
                <a:pPr algn="ctr"/>
                <a:endParaRPr dirty="0"/>
              </a:p>
            </p:txBody>
          </p:sp>
          <p:sp>
            <p:nvSpPr>
              <p:cNvPr id="41" name="îşḻïḋè">
                <a:extLst>
                  <a:ext uri="{FF2B5EF4-FFF2-40B4-BE49-F238E27FC236}">
                    <a16:creationId xmlns:a16="http://schemas.microsoft.com/office/drawing/2014/main" id="{A2EE7C9E-774E-44BD-B74F-4B55E38DD997}"/>
                  </a:ext>
                </a:extLst>
              </p:cNvPr>
              <p:cNvSpPr/>
              <p:nvPr/>
            </p:nvSpPr>
            <p:spPr bwMode="auto">
              <a:xfrm rot="19890794">
                <a:off x="5901952" y="3456977"/>
                <a:ext cx="2035175" cy="1565275"/>
              </a:xfrm>
              <a:custGeom>
                <a:avLst/>
                <a:gdLst>
                  <a:gd name="T0" fmla="*/ 1309 w 1309"/>
                  <a:gd name="T1" fmla="*/ 0 h 1007"/>
                  <a:gd name="T2" fmla="*/ 1043 w 1309"/>
                  <a:gd name="T3" fmla="*/ 205 h 1007"/>
                  <a:gd name="T4" fmla="*/ 301 w 1309"/>
                  <a:gd name="T5" fmla="*/ 317 h 1007"/>
                  <a:gd name="T6" fmla="*/ 0 w 1309"/>
                  <a:gd name="T7" fmla="*/ 301 h 1007"/>
                  <a:gd name="T8" fmla="*/ 96 w 1309"/>
                  <a:gd name="T9" fmla="*/ 741 h 1007"/>
                  <a:gd name="T10" fmla="*/ 301 w 1309"/>
                  <a:gd name="T11" fmla="*/ 1007 h 1007"/>
                  <a:gd name="T12" fmla="*/ 301 w 1309"/>
                  <a:gd name="T13" fmla="*/ 1007 h 1007"/>
                  <a:gd name="T14" fmla="*/ 1013 w 1309"/>
                  <a:gd name="T15" fmla="*/ 712 h 1007"/>
                  <a:gd name="T16" fmla="*/ 1309 w 1309"/>
                  <a:gd name="T17" fmla="*/ 0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9" h="1007">
                    <a:moveTo>
                      <a:pt x="1309" y="0"/>
                    </a:moveTo>
                    <a:cubicBezTo>
                      <a:pt x="1308" y="52"/>
                      <a:pt x="1238" y="134"/>
                      <a:pt x="1043" y="205"/>
                    </a:cubicBezTo>
                    <a:cubicBezTo>
                      <a:pt x="846" y="277"/>
                      <a:pt x="583" y="317"/>
                      <a:pt x="301" y="317"/>
                    </a:cubicBezTo>
                    <a:cubicBezTo>
                      <a:pt x="198" y="317"/>
                      <a:pt x="97" y="311"/>
                      <a:pt x="0" y="301"/>
                    </a:cubicBezTo>
                    <a:cubicBezTo>
                      <a:pt x="18" y="466"/>
                      <a:pt x="51" y="617"/>
                      <a:pt x="96" y="741"/>
                    </a:cubicBezTo>
                    <a:cubicBezTo>
                      <a:pt x="167" y="937"/>
                      <a:pt x="249" y="1007"/>
                      <a:pt x="301" y="1007"/>
                    </a:cubicBezTo>
                    <a:cubicBezTo>
                      <a:pt x="301" y="1007"/>
                      <a:pt x="301" y="1007"/>
                      <a:pt x="301" y="1007"/>
                    </a:cubicBezTo>
                    <a:cubicBezTo>
                      <a:pt x="570" y="1007"/>
                      <a:pt x="823" y="902"/>
                      <a:pt x="1013" y="712"/>
                    </a:cubicBezTo>
                    <a:cubicBezTo>
                      <a:pt x="1204" y="522"/>
                      <a:pt x="1308" y="269"/>
                      <a:pt x="1309" y="0"/>
                    </a:cubicBezTo>
                    <a:close/>
                  </a:path>
                </a:pathLst>
              </a:custGeom>
              <a:gradFill flip="none" rotWithShape="1">
                <a:gsLst>
                  <a:gs pos="38000">
                    <a:schemeClr val="accent4"/>
                  </a:gs>
                  <a:gs pos="100000">
                    <a:schemeClr val="accent4">
                      <a:lumMod val="60000"/>
                      <a:lumOff val="40000"/>
                    </a:schemeClr>
                  </a:gs>
                </a:gsLst>
                <a:lin ang="13500000" scaled="1"/>
                <a:tileRect/>
              </a:gradFill>
              <a:ln>
                <a:noFill/>
              </a:ln>
            </p:spPr>
            <p:txBody>
              <a:bodyPr wrap="square" lIns="91440" tIns="45720" rIns="91440" bIns="45720" anchor="ctr">
                <a:normAutofit/>
              </a:bodyPr>
              <a:lstStyle/>
              <a:p>
                <a:pPr algn="ctr"/>
                <a:endParaRPr/>
              </a:p>
            </p:txBody>
          </p:sp>
        </p:grpSp>
        <p:cxnSp>
          <p:nvCxnSpPr>
            <p:cNvPr id="7" name="直接连接符 6">
              <a:extLst>
                <a:ext uri="{FF2B5EF4-FFF2-40B4-BE49-F238E27FC236}">
                  <a16:creationId xmlns:a16="http://schemas.microsoft.com/office/drawing/2014/main" id="{A69A35B5-5843-46E3-AA30-7421EB00002B}"/>
                </a:ext>
              </a:extLst>
            </p:cNvPr>
            <p:cNvCxnSpPr/>
            <p:nvPr/>
          </p:nvCxnSpPr>
          <p:spPr>
            <a:xfrm flipV="1">
              <a:off x="6768589" y="2094633"/>
              <a:ext cx="459155" cy="459155"/>
            </a:xfrm>
            <a:prstGeom prst="line">
              <a:avLst/>
            </a:prstGeom>
            <a:ln w="19050">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8" name="直接箭头连接符 7">
              <a:extLst>
                <a:ext uri="{FF2B5EF4-FFF2-40B4-BE49-F238E27FC236}">
                  <a16:creationId xmlns:a16="http://schemas.microsoft.com/office/drawing/2014/main" id="{7772B7A6-D265-4478-8845-C0BC3FD49733}"/>
                </a:ext>
              </a:extLst>
            </p:cNvPr>
            <p:cNvCxnSpPr/>
            <p:nvPr/>
          </p:nvCxnSpPr>
          <p:spPr>
            <a:xfrm>
              <a:off x="7223369" y="2095792"/>
              <a:ext cx="917768" cy="0"/>
            </a:xfrm>
            <a:prstGeom prst="straightConnector1">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CE746A7D-834B-4BE0-9109-9E5F5DF69322}"/>
                </a:ext>
              </a:extLst>
            </p:cNvPr>
            <p:cNvCxnSpPr/>
            <p:nvPr/>
          </p:nvCxnSpPr>
          <p:spPr>
            <a:xfrm rot="10800000" flipV="1">
              <a:off x="4445587" y="4261483"/>
              <a:ext cx="459155" cy="459155"/>
            </a:xfrm>
            <a:prstGeom prst="line">
              <a:avLst/>
            </a:prstGeom>
            <a:ln w="19050">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10" name="直接箭头连接符 9">
              <a:extLst>
                <a:ext uri="{FF2B5EF4-FFF2-40B4-BE49-F238E27FC236}">
                  <a16:creationId xmlns:a16="http://schemas.microsoft.com/office/drawing/2014/main" id="{691F390F-8FCC-4AC0-8F9D-1D526F4AE945}"/>
                </a:ext>
              </a:extLst>
            </p:cNvPr>
            <p:cNvCxnSpPr/>
            <p:nvPr/>
          </p:nvCxnSpPr>
          <p:spPr>
            <a:xfrm rot="8100000">
              <a:off x="4141688" y="4590669"/>
              <a:ext cx="257618" cy="257618"/>
            </a:xfrm>
            <a:prstGeom prst="straightConnector1">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EBA94593-9087-4E88-B1CA-4A00D5292054}"/>
                </a:ext>
              </a:extLst>
            </p:cNvPr>
            <p:cNvCxnSpPr/>
            <p:nvPr/>
          </p:nvCxnSpPr>
          <p:spPr>
            <a:xfrm flipH="1" flipV="1">
              <a:off x="5131728" y="2119742"/>
              <a:ext cx="629557" cy="629557"/>
            </a:xfrm>
            <a:prstGeom prst="line">
              <a:avLst/>
            </a:prstGeom>
            <a:ln w="19050">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12" name="直接箭头连接符 11">
              <a:extLst>
                <a:ext uri="{FF2B5EF4-FFF2-40B4-BE49-F238E27FC236}">
                  <a16:creationId xmlns:a16="http://schemas.microsoft.com/office/drawing/2014/main" id="{E734107A-7F47-4052-B7E0-8D79E1A8B6EB}"/>
                </a:ext>
              </a:extLst>
            </p:cNvPr>
            <p:cNvCxnSpPr/>
            <p:nvPr/>
          </p:nvCxnSpPr>
          <p:spPr>
            <a:xfrm flipH="1">
              <a:off x="3879355" y="2121330"/>
              <a:ext cx="1258371" cy="0"/>
            </a:xfrm>
            <a:prstGeom prst="straightConnector1">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A7E1D5A3-E219-4C68-8E5B-4F7968874B33}"/>
                </a:ext>
              </a:extLst>
            </p:cNvPr>
            <p:cNvCxnSpPr/>
            <p:nvPr/>
          </p:nvCxnSpPr>
          <p:spPr>
            <a:xfrm rot="10800000" flipH="1" flipV="1">
              <a:off x="7300727" y="4127408"/>
              <a:ext cx="459155" cy="459155"/>
            </a:xfrm>
            <a:prstGeom prst="line">
              <a:avLst/>
            </a:prstGeom>
            <a:ln w="19050">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14" name="直接箭头连接符 13">
              <a:extLst>
                <a:ext uri="{FF2B5EF4-FFF2-40B4-BE49-F238E27FC236}">
                  <a16:creationId xmlns:a16="http://schemas.microsoft.com/office/drawing/2014/main" id="{3479C7A6-BC3A-4B1E-A654-D8CB600A3A28}"/>
                </a:ext>
              </a:extLst>
            </p:cNvPr>
            <p:cNvCxnSpPr/>
            <p:nvPr/>
          </p:nvCxnSpPr>
          <p:spPr>
            <a:xfrm rot="13500000" flipH="1">
              <a:off x="7806162" y="4456595"/>
              <a:ext cx="257618" cy="257618"/>
            </a:xfrm>
            <a:prstGeom prst="straightConnector1">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cxnSp>
        <p:sp>
          <p:nvSpPr>
            <p:cNvPr id="17" name="îslïḑê">
              <a:extLst>
                <a:ext uri="{FF2B5EF4-FFF2-40B4-BE49-F238E27FC236}">
                  <a16:creationId xmlns:a16="http://schemas.microsoft.com/office/drawing/2014/main" id="{4B0820A6-BEDF-416B-95EF-F8CD620187B0}"/>
                </a:ext>
              </a:extLst>
            </p:cNvPr>
            <p:cNvSpPr txBox="1"/>
            <p:nvPr/>
          </p:nvSpPr>
          <p:spPr>
            <a:xfrm>
              <a:off x="1161467" y="1770954"/>
              <a:ext cx="2622187" cy="966709"/>
            </a:xfrm>
            <a:prstGeom prst="rect">
              <a:avLst/>
            </a:prstGeom>
            <a:noFill/>
          </p:spPr>
          <p:txBody>
            <a:bodyPr wrap="square" lIns="91440" tIns="45720" rIns="91440" bIns="45720">
              <a:normAutofit/>
            </a:bodyPr>
            <a:lstStyle/>
            <a:p>
              <a:r>
                <a:rPr lang="en-US" altLang="zh-CN" sz="2000" b="1" dirty="0"/>
                <a:t>1. lambda</a:t>
              </a:r>
              <a:r>
                <a:rPr lang="zh-CN" altLang="en-US" sz="2000" b="1" dirty="0"/>
                <a:t>表达式是定义函数的最简语法</a:t>
              </a:r>
            </a:p>
          </p:txBody>
        </p:sp>
      </p:grpSp>
      <p:sp>
        <p:nvSpPr>
          <p:cNvPr id="43" name="îslïḑê">
            <a:extLst>
              <a:ext uri="{FF2B5EF4-FFF2-40B4-BE49-F238E27FC236}">
                <a16:creationId xmlns:a16="http://schemas.microsoft.com/office/drawing/2014/main" id="{5D047DC9-2D6B-4948-A93F-6C365AEF4C7D}"/>
              </a:ext>
            </a:extLst>
          </p:cNvPr>
          <p:cNvSpPr txBox="1"/>
          <p:nvPr/>
        </p:nvSpPr>
        <p:spPr>
          <a:xfrm>
            <a:off x="1389640" y="4402750"/>
            <a:ext cx="2622187" cy="966709"/>
          </a:xfrm>
          <a:prstGeom prst="rect">
            <a:avLst/>
          </a:prstGeom>
          <a:noFill/>
        </p:spPr>
        <p:txBody>
          <a:bodyPr wrap="square" lIns="91440" tIns="45720" rIns="91440" bIns="45720">
            <a:normAutofit/>
          </a:bodyPr>
          <a:lstStyle/>
          <a:p>
            <a:r>
              <a:rPr lang="en-US" altLang="zh-CN" sz="2000" b="1" dirty="0"/>
              <a:t>2. lambda</a:t>
            </a:r>
            <a:r>
              <a:rPr lang="zh-CN" altLang="en-US" sz="2000" b="1" dirty="0"/>
              <a:t>表达式产生的是函数</a:t>
            </a:r>
          </a:p>
          <a:p>
            <a:pPr algn="r"/>
            <a:endParaRPr lang="zh-CN" altLang="en-US" sz="2000" b="1" dirty="0"/>
          </a:p>
        </p:txBody>
      </p:sp>
      <p:sp>
        <p:nvSpPr>
          <p:cNvPr id="45" name="îslïḑê">
            <a:extLst>
              <a:ext uri="{FF2B5EF4-FFF2-40B4-BE49-F238E27FC236}">
                <a16:creationId xmlns:a16="http://schemas.microsoft.com/office/drawing/2014/main" id="{59B3EF2F-F6F1-4BBF-A04E-A2CD7160BD97}"/>
              </a:ext>
            </a:extLst>
          </p:cNvPr>
          <p:cNvSpPr txBox="1"/>
          <p:nvPr/>
        </p:nvSpPr>
        <p:spPr>
          <a:xfrm>
            <a:off x="8272809" y="1770953"/>
            <a:ext cx="2622187" cy="966709"/>
          </a:xfrm>
          <a:prstGeom prst="rect">
            <a:avLst/>
          </a:prstGeom>
          <a:noFill/>
        </p:spPr>
        <p:txBody>
          <a:bodyPr wrap="square" lIns="91440" tIns="45720" rIns="91440" bIns="45720">
            <a:normAutofit lnSpcReduction="10000"/>
          </a:bodyPr>
          <a:lstStyle/>
          <a:p>
            <a:r>
              <a:rPr lang="en-US" altLang="zh-CN" sz="2000" b="1" dirty="0"/>
              <a:t>3.</a:t>
            </a:r>
            <a:r>
              <a:rPr lang="zh-CN" altLang="en-US" sz="2000" b="1" dirty="0"/>
              <a:t>在</a:t>
            </a:r>
            <a:r>
              <a:rPr lang="en-US" altLang="zh-CN" sz="2000" b="1" dirty="0"/>
              <a:t>JVM</a:t>
            </a:r>
            <a:r>
              <a:rPr lang="zh-CN" altLang="en-US" sz="2000" b="1" dirty="0"/>
              <a:t>中，</a:t>
            </a:r>
            <a:r>
              <a:rPr lang="en-US" altLang="zh-CN" sz="2000" b="1" dirty="0"/>
              <a:t>lambda</a:t>
            </a:r>
            <a:r>
              <a:rPr lang="zh-CN" altLang="en-US" sz="2000" b="1" dirty="0"/>
              <a:t>是比匿名内部类更高效的类</a:t>
            </a:r>
          </a:p>
          <a:p>
            <a:endParaRPr lang="zh-CN" altLang="en-US" sz="2000" b="1" dirty="0"/>
          </a:p>
          <a:p>
            <a:pPr algn="r"/>
            <a:endParaRPr lang="zh-CN" altLang="en-US" sz="2000" b="1" dirty="0"/>
          </a:p>
        </p:txBody>
      </p:sp>
      <p:sp>
        <p:nvSpPr>
          <p:cNvPr id="47" name="îslïḑê">
            <a:extLst>
              <a:ext uri="{FF2B5EF4-FFF2-40B4-BE49-F238E27FC236}">
                <a16:creationId xmlns:a16="http://schemas.microsoft.com/office/drawing/2014/main" id="{F84415D1-EC1A-4ED8-A7EB-90747C455339}"/>
              </a:ext>
            </a:extLst>
          </p:cNvPr>
          <p:cNvSpPr txBox="1"/>
          <p:nvPr/>
        </p:nvSpPr>
        <p:spPr>
          <a:xfrm>
            <a:off x="8117012" y="4400031"/>
            <a:ext cx="2622187" cy="966709"/>
          </a:xfrm>
          <a:prstGeom prst="rect">
            <a:avLst/>
          </a:prstGeom>
          <a:noFill/>
        </p:spPr>
        <p:txBody>
          <a:bodyPr wrap="square" lIns="91440" tIns="45720" rIns="91440" bIns="45720">
            <a:normAutofit/>
          </a:bodyPr>
          <a:lstStyle/>
          <a:p>
            <a:r>
              <a:rPr lang="en-US" altLang="zh-CN" sz="2000" b="1" dirty="0"/>
              <a:t>4.</a:t>
            </a:r>
            <a:r>
              <a:rPr lang="zh-CN" altLang="en-US" sz="2000" b="1" dirty="0"/>
              <a:t>不要将</a:t>
            </a:r>
            <a:r>
              <a:rPr lang="en-US" altLang="zh-CN" sz="2000" b="1" dirty="0"/>
              <a:t>lambda</a:t>
            </a:r>
            <a:r>
              <a:rPr lang="zh-CN" altLang="en-US" sz="2000" b="1" dirty="0"/>
              <a:t>表达式作为类去看待</a:t>
            </a:r>
          </a:p>
        </p:txBody>
      </p:sp>
      <p:sp>
        <p:nvSpPr>
          <p:cNvPr id="48" name="标题 1">
            <a:extLst>
              <a:ext uri="{FF2B5EF4-FFF2-40B4-BE49-F238E27FC236}">
                <a16:creationId xmlns:a16="http://schemas.microsoft.com/office/drawing/2014/main" id="{51C7ADCB-FCFD-4E40-BF2B-CFB7B9A298C3}"/>
              </a:ext>
            </a:extLst>
          </p:cNvPr>
          <p:cNvSpPr>
            <a:spLocks noGrp="1"/>
          </p:cNvSpPr>
          <p:nvPr>
            <p:ph type="title"/>
          </p:nvPr>
        </p:nvSpPr>
        <p:spPr>
          <a:xfrm>
            <a:off x="669924" y="1"/>
            <a:ext cx="10850563" cy="1028699"/>
          </a:xfrm>
        </p:spPr>
        <p:txBody>
          <a:bodyPr/>
          <a:lstStyle/>
          <a:p>
            <a:r>
              <a:rPr lang="en-US" altLang="zh-CN" dirty="0"/>
              <a:t>1. lambda</a:t>
            </a:r>
            <a:r>
              <a:rPr lang="zh-CN" altLang="en-US" dirty="0"/>
              <a:t>表达式</a:t>
            </a:r>
          </a:p>
        </p:txBody>
      </p:sp>
    </p:spTree>
    <p:custDataLst>
      <p:tags r:id="rId1"/>
    </p:custDataLst>
    <p:extLst>
      <p:ext uri="{BB962C8B-B14F-4D97-AF65-F5344CB8AC3E}">
        <p14:creationId xmlns:p14="http://schemas.microsoft.com/office/powerpoint/2010/main" val="3306810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106687" y="3203039"/>
            <a:ext cx="3546362" cy="895350"/>
          </a:xfrm>
        </p:spPr>
        <p:txBody>
          <a:bodyPr>
            <a:normAutofit/>
          </a:bodyPr>
          <a:lstStyle/>
          <a:p>
            <a:r>
              <a:rPr lang="zh-CN" altLang="en-US" sz="3600" dirty="0"/>
              <a:t>方法引用</a:t>
            </a:r>
          </a:p>
        </p:txBody>
      </p:sp>
      <p:sp>
        <p:nvSpPr>
          <p:cNvPr id="9" name="文本框 8">
            <a:extLst>
              <a:ext uri="{FF2B5EF4-FFF2-40B4-BE49-F238E27FC236}">
                <a16:creationId xmlns:a16="http://schemas.microsoft.com/office/drawing/2014/main" id="{04F69230-F3A6-4586-9371-A858F4763E9F}"/>
              </a:ext>
            </a:extLst>
          </p:cNvPr>
          <p:cNvSpPr txBox="1"/>
          <p:nvPr/>
        </p:nvSpPr>
        <p:spPr>
          <a:xfrm>
            <a:off x="1639609" y="320928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a:t>
            </a:r>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435338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HEME" val="#277094"/>
</p:tagLst>
</file>

<file path=ppt/tags/tag1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DIAGRAM" val="#2391;"/>
</p:tagLst>
</file>

<file path=ppt/tags/tag13.xml><?xml version="1.0" encoding="utf-8"?>
<p:tagLst xmlns:a="http://schemas.openxmlformats.org/drawingml/2006/main" xmlns:r="http://schemas.openxmlformats.org/officeDocument/2006/relationships" xmlns:p="http://schemas.openxmlformats.org/presentationml/2006/main">
  <p:tag name="ISLIDE.DIAGRAM" val="#2391"/>
</p:tagLst>
</file>

<file path=ppt/tags/tag1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DIAGRAM" val="#185696;"/>
</p:tagLst>
</file>

<file path=ppt/tags/tag16.xml><?xml version="1.0" encoding="utf-8"?>
<p:tagLst xmlns:a="http://schemas.openxmlformats.org/drawingml/2006/main" xmlns:r="http://schemas.openxmlformats.org/officeDocument/2006/relationships" xmlns:p="http://schemas.openxmlformats.org/presentationml/2006/main">
  <p:tag name="ISLIDE.DIAGRAM" val="#185696"/>
</p:tagLst>
</file>

<file path=ppt/tags/tag17.xml><?xml version="1.0" encoding="utf-8"?>
<p:tagLst xmlns:a="http://schemas.openxmlformats.org/drawingml/2006/main" xmlns:r="http://schemas.openxmlformats.org/officeDocument/2006/relationships" xmlns:p="http://schemas.openxmlformats.org/presentationml/2006/main">
  <p:tag name="ISLIDE.THEME" val="https://www.islide.cc;"/>
  <p:tag name="ISLIDE.VECTOR" val="#220373;"/>
</p:tagLst>
</file>

<file path=ppt/tags/tag18.xml><?xml version="1.0" encoding="utf-8"?>
<p:tagLst xmlns:a="http://schemas.openxmlformats.org/drawingml/2006/main" xmlns:r="http://schemas.openxmlformats.org/officeDocument/2006/relationships" xmlns:p="http://schemas.openxmlformats.org/presentationml/2006/main">
  <p:tag name="ISLIDE.VECTOR" val="b67488b9-9081-420b-9299-a187616de819"/>
</p:tagLst>
</file>

<file path=ppt/tags/tag1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 name="ISLIDE.ICON" val="#403740;"/>
</p:tagLst>
</file>

<file path=ppt/tags/tag20.xml><?xml version="1.0" encoding="utf-8"?>
<p:tagLst xmlns:a="http://schemas.openxmlformats.org/drawingml/2006/main" xmlns:r="http://schemas.openxmlformats.org/officeDocument/2006/relationships" xmlns:p="http://schemas.openxmlformats.org/presentationml/2006/main">
  <p:tag name="ISLIDE.THEME" val="https://www.islide.cc;"/>
  <p:tag name="ISLIDE.VECTOR" val="#220373;#379315;"/>
</p:tagLst>
</file>

<file path=ppt/tags/tag21.xml><?xml version="1.0" encoding="utf-8"?>
<p:tagLst xmlns:a="http://schemas.openxmlformats.org/drawingml/2006/main" xmlns:r="http://schemas.openxmlformats.org/officeDocument/2006/relationships" xmlns:p="http://schemas.openxmlformats.org/presentationml/2006/main">
  <p:tag name="ISLIDE.VECTOR" val="fad7ec86-620f-4471-af1b-bd52339dc0f3"/>
</p:tagLst>
</file>

<file path=ppt/tags/tag22.xml><?xml version="1.0" encoding="utf-8"?>
<p:tagLst xmlns:a="http://schemas.openxmlformats.org/drawingml/2006/main" xmlns:r="http://schemas.openxmlformats.org/officeDocument/2006/relationships" xmlns:p="http://schemas.openxmlformats.org/presentationml/2006/main">
  <p:tag name="ISLIDE.VECTOR" val="#185570;#418507;"/>
</p:tagLst>
</file>

<file path=ppt/tags/tag23.xml><?xml version="1.0" encoding="utf-8"?>
<p:tagLst xmlns:a="http://schemas.openxmlformats.org/drawingml/2006/main" xmlns:r="http://schemas.openxmlformats.org/officeDocument/2006/relationships" xmlns:p="http://schemas.openxmlformats.org/presentationml/2006/main">
  <p:tag name="ISLIDE.VECTOR" val="09c452b4-502c-4255-b442-928c6d181bbb"/>
</p:tagLst>
</file>

<file path=ppt/tags/tag24.xml><?xml version="1.0" encoding="utf-8"?>
<p:tagLst xmlns:a="http://schemas.openxmlformats.org/drawingml/2006/main" xmlns:r="http://schemas.openxmlformats.org/officeDocument/2006/relationships" xmlns:p="http://schemas.openxmlformats.org/presentationml/2006/main">
  <p:tag name="ISLIDE.DIAGRAM" val="#234769;"/>
</p:tagLst>
</file>

<file path=ppt/tags/tag25.xml><?xml version="1.0" encoding="utf-8"?>
<p:tagLst xmlns:a="http://schemas.openxmlformats.org/drawingml/2006/main" xmlns:r="http://schemas.openxmlformats.org/officeDocument/2006/relationships" xmlns:p="http://schemas.openxmlformats.org/presentationml/2006/main">
  <p:tag name="ISLIDE.DIAGRAM" val="#234769"/>
</p:tagLst>
</file>

<file path=ppt/tags/tag26.xml><?xml version="1.0" encoding="utf-8"?>
<p:tagLst xmlns:a="http://schemas.openxmlformats.org/drawingml/2006/main" xmlns:r="http://schemas.openxmlformats.org/officeDocument/2006/relationships" xmlns:p="http://schemas.openxmlformats.org/presentationml/2006/main">
  <p:tag name="ISLIDE.THEME" val="https://www.islide.cc;"/>
  <p:tag name="ISLIDE.VECTOR" val="#220373;#203082;"/>
</p:tagLst>
</file>

<file path=ppt/tags/tag27.xml><?xml version="1.0" encoding="utf-8"?>
<p:tagLst xmlns:a="http://schemas.openxmlformats.org/drawingml/2006/main" xmlns:r="http://schemas.openxmlformats.org/officeDocument/2006/relationships" xmlns:p="http://schemas.openxmlformats.org/presentationml/2006/main">
  <p:tag name="ISLIDE.VECTOR" val="fabdcdd9-df7c-4532-8346-6514c12940fa"/>
</p:tagLst>
</file>

<file path=ppt/tags/tag2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9.xml><?xml version="1.0" encoding="utf-8"?>
<p:tagLst xmlns:a="http://schemas.openxmlformats.org/drawingml/2006/main" xmlns:r="http://schemas.openxmlformats.org/officeDocument/2006/relationships" xmlns:p="http://schemas.openxmlformats.org/presentationml/2006/main">
  <p:tag name="ISLIDE.THEME" val="https://www.islide.cc;"/>
  <p:tag name="ISLIDE.VECTOR" val="#220373;#379315;#184493;"/>
</p:tagLst>
</file>

<file path=ppt/tags/tag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0.xml><?xml version="1.0" encoding="utf-8"?>
<p:tagLst xmlns:a="http://schemas.openxmlformats.org/drawingml/2006/main" xmlns:r="http://schemas.openxmlformats.org/officeDocument/2006/relationships" xmlns:p="http://schemas.openxmlformats.org/presentationml/2006/main">
  <p:tag name="ISLIDE.VECTOR" val="c280bf6e-09aa-4b99-8527-6c1fe19e0131"/>
</p:tagLst>
</file>

<file path=ppt/tags/tag3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2.xml><?xml version="1.0" encoding="utf-8"?>
<p:tagLst xmlns:a="http://schemas.openxmlformats.org/drawingml/2006/main" xmlns:r="http://schemas.openxmlformats.org/officeDocument/2006/relationships" xmlns:p="http://schemas.openxmlformats.org/presentationml/2006/main">
  <p:tag name="ISLIDE.THEME" val="https://www.islide.cc;"/>
  <p:tag name="ISLIDE.VECTOR" val="#220373;#379315;#184493;#267782;"/>
</p:tagLst>
</file>

<file path=ppt/tags/tag33.xml><?xml version="1.0" encoding="utf-8"?>
<p:tagLst xmlns:a="http://schemas.openxmlformats.org/drawingml/2006/main" xmlns:r="http://schemas.openxmlformats.org/officeDocument/2006/relationships" xmlns:p="http://schemas.openxmlformats.org/presentationml/2006/main">
  <p:tag name="ISLIDE.VECTOR" val="15009ccf-4d77-4add-ae32-62f30a3dff95"/>
</p:tagLst>
</file>

<file path=ppt/tags/tag34.xml><?xml version="1.0" encoding="utf-8"?>
<p:tagLst xmlns:a="http://schemas.openxmlformats.org/drawingml/2006/main" xmlns:r="http://schemas.openxmlformats.org/officeDocument/2006/relationships" xmlns:p="http://schemas.openxmlformats.org/presentationml/2006/main">
  <p:tag name="ISLIDE.THEME" val="https://www.islide.cc;"/>
  <p:tag name="ISLIDE.VECTOR" val="#220373;#379315;#184493;#267782;"/>
</p:tagLst>
</file>

<file path=ppt/tags/tag3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36.xml><?xml version="1.0" encoding="utf-8"?>
<p:tagLst xmlns:a="http://schemas.openxmlformats.org/drawingml/2006/main" xmlns:r="http://schemas.openxmlformats.org/officeDocument/2006/relationships" xmlns:p="http://schemas.openxmlformats.org/presentationml/2006/main">
  <p:tag name="ISLIDE.THEME" val="https://www.islide.cc;"/>
  <p:tag name="ISLIDE.VECTOR" val="#220373;#379315;#184493;#267782;"/>
</p:tagLst>
</file>

<file path=ppt/tags/tag37.xml><?xml version="1.0" encoding="utf-8"?>
<p:tagLst xmlns:a="http://schemas.openxmlformats.org/drawingml/2006/main" xmlns:r="http://schemas.openxmlformats.org/officeDocument/2006/relationships" xmlns:p="http://schemas.openxmlformats.org/presentationml/2006/main">
  <p:tag name="ISLIDE.DIAGRAM" val="#361118;"/>
  <p:tag name="ISLIDE.VECTOR" val="#379100;"/>
</p:tagLst>
</file>

<file path=ppt/tags/tag38.xml><?xml version="1.0" encoding="utf-8"?>
<p:tagLst xmlns:a="http://schemas.openxmlformats.org/drawingml/2006/main" xmlns:r="http://schemas.openxmlformats.org/officeDocument/2006/relationships" xmlns:p="http://schemas.openxmlformats.org/presentationml/2006/main">
  <p:tag name="ISLIDE.VECTOR" val="e688544b-9924-4d9e-b498-c52495deba7b"/>
</p:tagLst>
</file>

<file path=ppt/tags/tag3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DIAGRAM" val="#234761;"/>
</p:tagLst>
</file>

<file path=ppt/tags/tag4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1.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3.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4.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5.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6.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7.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8.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49.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DIAGRAM" val="#234761"/>
</p:tagLst>
</file>

<file path=ppt/tags/tag50.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DIAGRAM" val="#361120;"/>
</p:tagLst>
</file>

<file path=ppt/tags/tag7.xml><?xml version="1.0" encoding="utf-8"?>
<p:tagLst xmlns:a="http://schemas.openxmlformats.org/drawingml/2006/main" xmlns:r="http://schemas.openxmlformats.org/officeDocument/2006/relationships" xmlns:p="http://schemas.openxmlformats.org/presentationml/2006/main">
  <p:tag name="ISLIDE.VECTOR" val="4be0b19b-c454-43c0-9d59-3b5a4949b204"/>
</p:tagLst>
</file>

<file path=ppt/tags/tag8.xml><?xml version="1.0" encoding="utf-8"?>
<p:tagLst xmlns:a="http://schemas.openxmlformats.org/drawingml/2006/main" xmlns:r="http://schemas.openxmlformats.org/officeDocument/2006/relationships" xmlns:p="http://schemas.openxmlformats.org/presentationml/2006/main">
  <p:tag name="ISLIDE.DIAGRAM" val="#361117;"/>
  <p:tag name="ISLIDE.VECTOR" val="#275523;"/>
</p:tagLst>
</file>

<file path=ppt/tags/tag9.xml><?xml version="1.0" encoding="utf-8"?>
<p:tagLst xmlns:a="http://schemas.openxmlformats.org/drawingml/2006/main" xmlns:r="http://schemas.openxmlformats.org/officeDocument/2006/relationships" xmlns:p="http://schemas.openxmlformats.org/presentationml/2006/main">
  <p:tag name="ISLIDE.VECTOR" val="f6076cd9-4f07-4238-a8fa-5335d9ac5273"/>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29245B"/>
      </a:accent1>
      <a:accent2>
        <a:srgbClr val="3E3D99"/>
      </a:accent2>
      <a:accent3>
        <a:srgbClr val="812990"/>
      </a:accent3>
      <a:accent4>
        <a:srgbClr val="DC3F15"/>
      </a:accent4>
      <a:accent5>
        <a:srgbClr val="F5942B"/>
      </a:accent5>
      <a:accent6>
        <a:srgbClr val="49B7E5"/>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29245B"/>
    </a:accent1>
    <a:accent2>
      <a:srgbClr val="3E3D99"/>
    </a:accent2>
    <a:accent3>
      <a:srgbClr val="812990"/>
    </a:accent3>
    <a:accent4>
      <a:srgbClr val="DC3F15"/>
    </a:accent4>
    <a:accent5>
      <a:srgbClr val="F5942B"/>
    </a:accent5>
    <a:accent6>
      <a:srgbClr val="49B7E5"/>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9245B"/>
    </a:accent1>
    <a:accent2>
      <a:srgbClr val="3E3D99"/>
    </a:accent2>
    <a:accent3>
      <a:srgbClr val="812990"/>
    </a:accent3>
    <a:accent4>
      <a:srgbClr val="DC3F15"/>
    </a:accent4>
    <a:accent5>
      <a:srgbClr val="F5942B"/>
    </a:accent5>
    <a:accent6>
      <a:srgbClr val="49B7E5"/>
    </a:accent6>
    <a:hlink>
      <a:srgbClr val="4472C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29245B"/>
    </a:accent1>
    <a:accent2>
      <a:srgbClr val="3E3D99"/>
    </a:accent2>
    <a:accent3>
      <a:srgbClr val="812990"/>
    </a:accent3>
    <a:accent4>
      <a:srgbClr val="DC3F15"/>
    </a:accent4>
    <a:accent5>
      <a:srgbClr val="F5942B"/>
    </a:accent5>
    <a:accent6>
      <a:srgbClr val="49B7E5"/>
    </a:accent6>
    <a:hlink>
      <a:srgbClr val="4472C4"/>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29245B"/>
    </a:accent1>
    <a:accent2>
      <a:srgbClr val="3E3D99"/>
    </a:accent2>
    <a:accent3>
      <a:srgbClr val="812990"/>
    </a:accent3>
    <a:accent4>
      <a:srgbClr val="DC3F15"/>
    </a:accent4>
    <a:accent5>
      <a:srgbClr val="F5942B"/>
    </a:accent5>
    <a:accent6>
      <a:srgbClr val="49B7E5"/>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360</TotalTime>
  <Words>3676</Words>
  <Application>Microsoft Office PowerPoint</Application>
  <PresentationFormat>宽屏</PresentationFormat>
  <Paragraphs>457</Paragraphs>
  <Slides>60</Slides>
  <Notes>34</Notes>
  <HiddenSlides>7</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60</vt:i4>
      </vt:variant>
    </vt:vector>
  </HeadingPairs>
  <TitlesOfParts>
    <vt:vector size="68" baseType="lpstr">
      <vt:lpstr>等线</vt:lpstr>
      <vt:lpstr>微软雅黑</vt:lpstr>
      <vt:lpstr>Arial</vt:lpstr>
      <vt:lpstr>Arial Black</vt:lpstr>
      <vt:lpstr>Calibri</vt:lpstr>
      <vt:lpstr>Impact</vt:lpstr>
      <vt:lpstr>主题5</vt:lpstr>
      <vt:lpstr>think-cell Slide</vt:lpstr>
      <vt:lpstr>Java 8 函数式编程入门</vt:lpstr>
      <vt:lpstr>PowerPoint 演示文稿</vt:lpstr>
      <vt:lpstr>为什么要讲函数式编程?</vt:lpstr>
      <vt:lpstr>简介</vt:lpstr>
      <vt:lpstr>区别</vt:lpstr>
      <vt:lpstr>课前热身</vt:lpstr>
      <vt:lpstr>lambda表达式</vt:lpstr>
      <vt:lpstr>1. lambda表达式</vt:lpstr>
      <vt:lpstr>方法引用</vt:lpstr>
      <vt:lpstr>2. 方法引用</vt:lpstr>
      <vt:lpstr>思考</vt:lpstr>
      <vt:lpstr>函数类型</vt:lpstr>
      <vt:lpstr>3. 函数类型</vt:lpstr>
      <vt:lpstr>3.1使用java.util.function包[1]</vt:lpstr>
      <vt:lpstr>3.2自定义函数类型</vt:lpstr>
      <vt:lpstr>3.3概念区分[1]</vt:lpstr>
      <vt:lpstr>闭包</vt:lpstr>
      <vt:lpstr>4. 闭包[1]</vt:lpstr>
      <vt:lpstr>高阶函数</vt:lpstr>
      <vt:lpstr>5. 高阶函数 [1]</vt:lpstr>
      <vt:lpstr>5.1 组合函数 [1]</vt:lpstr>
      <vt:lpstr>流</vt:lpstr>
      <vt:lpstr>6.1 Java集合类框架</vt:lpstr>
      <vt:lpstr>流的利弊</vt:lpstr>
      <vt:lpstr>感谢 各位同事的聆听</vt:lpstr>
      <vt:lpstr>Java集合类</vt:lpstr>
      <vt:lpstr>6. 流(Stream)[1]</vt:lpstr>
      <vt:lpstr>6.1 特点</vt:lpstr>
      <vt:lpstr>6.1 创建流[1]</vt:lpstr>
      <vt:lpstr>6.2 中间操作</vt:lpstr>
      <vt:lpstr>6.2.1 map() [1]</vt:lpstr>
      <vt:lpstr>6.2.2 filter() [1] [2]</vt:lpstr>
      <vt:lpstr>6.2.3 distinct() [1]</vt:lpstr>
      <vt:lpstr>6.2.4 flapMap()</vt:lpstr>
      <vt:lpstr>6.2.2 其他</vt:lpstr>
      <vt:lpstr>6.3 结束操作</vt:lpstr>
      <vt:lpstr>知识补充</vt:lpstr>
      <vt:lpstr>6.3.1 Optional</vt:lpstr>
      <vt:lpstr>6.3.2 forEach()[1]</vt:lpstr>
      <vt:lpstr>6.3.3 reduce()[1]</vt:lpstr>
      <vt:lpstr>PowerPoint 演示文稿</vt:lpstr>
      <vt:lpstr>6.3.4 collect()[1]</vt:lpstr>
      <vt:lpstr>6.3.4.1 Collectors还可以做更多</vt:lpstr>
      <vt:lpstr>6.4思考</vt:lpstr>
      <vt:lpstr>6.4.1 你认为的流实现原理</vt:lpstr>
      <vt:lpstr>6.4.2 实际的流实现原理</vt:lpstr>
      <vt:lpstr>7.IDEA调试流</vt:lpstr>
      <vt:lpstr>流的利弊</vt:lpstr>
      <vt:lpstr>结语</vt:lpstr>
      <vt:lpstr>PowerPoint 演示文稿</vt:lpstr>
      <vt:lpstr>Section Hea der Here</vt:lpstr>
      <vt:lpstr>Use "Title On ly" Layout</vt:lpstr>
      <vt:lpstr>Thanks And Your Slogan He re</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hello</cp:lastModifiedBy>
  <cp:revision>164</cp:revision>
  <cp:lastPrinted>2019-05-23T16:00:00Z</cp:lastPrinted>
  <dcterms:created xsi:type="dcterms:W3CDTF">2019-05-23T16:00:00Z</dcterms:created>
  <dcterms:modified xsi:type="dcterms:W3CDTF">2020-09-26T14:5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